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6.xml" ContentType="application/vnd.openxmlformats-officedocument.theme+xml"/>
  <Override PartName="/ppt/slideLayouts/slideLayout73.xml" ContentType="application/vnd.openxmlformats-officedocument.presentationml.slideLayout+xml"/>
  <Override PartName="/ppt/theme/theme7.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8.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9.xml" ContentType="application/vnd.openxmlformats-officedocument.theme+xml"/>
  <Override PartName="/ppt/slideLayouts/slideLayout79.xml" ContentType="application/vnd.openxmlformats-officedocument.presentationml.slideLayout+xml"/>
  <Override PartName="/ppt/theme/theme10.xml" ContentType="application/vnd.openxmlformats-officedocument.theme+xml"/>
  <Override PartName="/ppt/slideLayouts/slideLayout80.xml" ContentType="application/vnd.openxmlformats-officedocument.presentationml.slideLayout+xml"/>
  <Override PartName="/ppt/theme/theme11.xml" ContentType="application/vnd.openxmlformats-officedocument.theme+xml"/>
  <Override PartName="/ppt/slideLayouts/slideLayout81.xml" ContentType="application/vnd.openxmlformats-officedocument.presentationml.slideLayout+xml"/>
  <Override PartName="/ppt/theme/theme12.xml" ContentType="application/vnd.openxmlformats-officedocument.theme+xml"/>
  <Override PartName="/ppt/slideLayouts/slideLayout82.xml" ContentType="application/vnd.openxmlformats-officedocument.presentationml.slideLayout+xml"/>
  <Override PartName="/ppt/theme/theme13.xml" ContentType="application/vnd.openxmlformats-officedocument.theme+xml"/>
  <Override PartName="/ppt/slideLayouts/slideLayout83.xml" ContentType="application/vnd.openxmlformats-officedocument.presentationml.slideLayout+xml"/>
  <Override PartName="/ppt/theme/theme14.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5.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16.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17.xml" ContentType="application/vnd.openxmlformats-officedocument.theme+xml"/>
  <Override PartName="/ppt/tags/tag1.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2.xml" ContentType="application/vnd.openxmlformats-officedocument.presentationml.notesSlide+xml"/>
  <Override PartName="/ppt/tags/tag2.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omments/comment1.xml" ContentType="application/vnd.openxmlformats-officedocument.presentationml.comment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694" r:id="rId4"/>
    <p:sldMasterId id="2147484701" r:id="rId5"/>
    <p:sldMasterId id="2147484301" r:id="rId6"/>
    <p:sldMasterId id="2147484685" r:id="rId7"/>
    <p:sldMasterId id="2147484411" r:id="rId8"/>
    <p:sldMasterId id="2147483660" r:id="rId9"/>
    <p:sldMasterId id="2147483787" r:id="rId10"/>
    <p:sldMasterId id="2147484480" r:id="rId11"/>
    <p:sldMasterId id="2147484657" r:id="rId12"/>
    <p:sldMasterId id="2147484683" r:id="rId13"/>
    <p:sldMasterId id="2147484337" r:id="rId14"/>
    <p:sldMasterId id="2147484365" r:id="rId15"/>
    <p:sldMasterId id="2147484308" r:id="rId16"/>
    <p:sldMasterId id="2147484229" r:id="rId17"/>
    <p:sldMasterId id="2147483665" r:id="rId18"/>
    <p:sldMasterId id="2147484709" r:id="rId19"/>
    <p:sldMasterId id="2147484711" r:id="rId20"/>
    <p:sldMasterId id="2147484821" r:id="rId21"/>
  </p:sldMasterIdLst>
  <p:notesMasterIdLst>
    <p:notesMasterId r:id="rId108"/>
  </p:notesMasterIdLst>
  <p:sldIdLst>
    <p:sldId id="456" r:id="rId22"/>
    <p:sldId id="430" r:id="rId23"/>
    <p:sldId id="500" r:id="rId24"/>
    <p:sldId id="499" r:id="rId25"/>
    <p:sldId id="353" r:id="rId26"/>
    <p:sldId id="504" r:id="rId27"/>
    <p:sldId id="505" r:id="rId28"/>
    <p:sldId id="506" r:id="rId29"/>
    <p:sldId id="507" r:id="rId30"/>
    <p:sldId id="508" r:id="rId31"/>
    <p:sldId id="509" r:id="rId32"/>
    <p:sldId id="358" r:id="rId33"/>
    <p:sldId id="359" r:id="rId34"/>
    <p:sldId id="360" r:id="rId35"/>
    <p:sldId id="361" r:id="rId36"/>
    <p:sldId id="362" r:id="rId37"/>
    <p:sldId id="364" r:id="rId38"/>
    <p:sldId id="432" r:id="rId39"/>
    <p:sldId id="503" r:id="rId40"/>
    <p:sldId id="374" r:id="rId41"/>
    <p:sldId id="375" r:id="rId42"/>
    <p:sldId id="433" r:id="rId43"/>
    <p:sldId id="510" r:id="rId44"/>
    <p:sldId id="363" r:id="rId45"/>
    <p:sldId id="434" r:id="rId46"/>
    <p:sldId id="436" r:id="rId47"/>
    <p:sldId id="511" r:id="rId48"/>
    <p:sldId id="455" r:id="rId49"/>
    <p:sldId id="330" r:id="rId50"/>
    <p:sldId id="263" r:id="rId51"/>
    <p:sldId id="365" r:id="rId52"/>
    <p:sldId id="381" r:id="rId53"/>
    <p:sldId id="382" r:id="rId54"/>
    <p:sldId id="386" r:id="rId55"/>
    <p:sldId id="387" r:id="rId56"/>
    <p:sldId id="388" r:id="rId57"/>
    <p:sldId id="389" r:id="rId58"/>
    <p:sldId id="390" r:id="rId59"/>
    <p:sldId id="391" r:id="rId60"/>
    <p:sldId id="437" r:id="rId61"/>
    <p:sldId id="376" r:id="rId62"/>
    <p:sldId id="377" r:id="rId63"/>
    <p:sldId id="512" r:id="rId64"/>
    <p:sldId id="379" r:id="rId65"/>
    <p:sldId id="380" r:id="rId66"/>
    <p:sldId id="438" r:id="rId67"/>
    <p:sldId id="439" r:id="rId68"/>
    <p:sldId id="513" r:id="rId69"/>
    <p:sldId id="514" r:id="rId70"/>
    <p:sldId id="426" r:id="rId71"/>
    <p:sldId id="515" r:id="rId72"/>
    <p:sldId id="428" r:id="rId73"/>
    <p:sldId id="429" r:id="rId74"/>
    <p:sldId id="440" r:id="rId75"/>
    <p:sldId id="343" r:id="rId76"/>
    <p:sldId id="516" r:id="rId77"/>
    <p:sldId id="517" r:id="rId78"/>
    <p:sldId id="422" r:id="rId79"/>
    <p:sldId id="423" r:id="rId80"/>
    <p:sldId id="424" r:id="rId81"/>
    <p:sldId id="441" r:id="rId82"/>
    <p:sldId id="394" r:id="rId83"/>
    <p:sldId id="395" r:id="rId84"/>
    <p:sldId id="396" r:id="rId85"/>
    <p:sldId id="397" r:id="rId86"/>
    <p:sldId id="398" r:id="rId87"/>
    <p:sldId id="399" r:id="rId88"/>
    <p:sldId id="400" r:id="rId89"/>
    <p:sldId id="401" r:id="rId90"/>
    <p:sldId id="402" r:id="rId91"/>
    <p:sldId id="403" r:id="rId92"/>
    <p:sldId id="404" r:id="rId93"/>
    <p:sldId id="405" r:id="rId94"/>
    <p:sldId id="406" r:id="rId95"/>
    <p:sldId id="408" r:id="rId96"/>
    <p:sldId id="409" r:id="rId97"/>
    <p:sldId id="410" r:id="rId98"/>
    <p:sldId id="518" r:id="rId99"/>
    <p:sldId id="345" r:id="rId100"/>
    <p:sldId id="411" r:id="rId101"/>
    <p:sldId id="414" r:id="rId102"/>
    <p:sldId id="415" r:id="rId103"/>
    <p:sldId id="416" r:id="rId104"/>
    <p:sldId id="419" r:id="rId105"/>
    <p:sldId id="519" r:id="rId106"/>
    <p:sldId id="346" r:id="rId10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ris Anderson (ZUMO)" initials="CA(" lastIdx="4"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68" autoAdjust="0"/>
    <p:restoredTop sz="84820" autoAdjust="0"/>
  </p:normalViewPr>
  <p:slideViewPr>
    <p:cSldViewPr snapToGrid="0">
      <p:cViewPr varScale="1">
        <p:scale>
          <a:sx n="100" d="100"/>
          <a:sy n="100" d="100"/>
        </p:scale>
        <p:origin x="184" y="384"/>
      </p:cViewPr>
      <p:guideLst/>
    </p:cSldViewPr>
  </p:slideViewPr>
  <p:notesTextViewPr>
    <p:cViewPr>
      <p:scale>
        <a:sx n="1" d="1"/>
        <a:sy n="1" d="1"/>
      </p:scale>
      <p:origin x="0" y="0"/>
    </p:cViewPr>
  </p:notesTextViewPr>
  <p:sorterViewPr>
    <p:cViewPr>
      <p:scale>
        <a:sx n="100" d="100"/>
        <a:sy n="100" d="100"/>
      </p:scale>
      <p:origin x="0" y="-13911"/>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5.xml"/><Relationship Id="rId21" Type="http://schemas.openxmlformats.org/officeDocument/2006/relationships/slideMaster" Target="slideMasters/slideMaster18.xml"/><Relationship Id="rId42" Type="http://schemas.openxmlformats.org/officeDocument/2006/relationships/slide" Target="slides/slide21.xml"/><Relationship Id="rId47" Type="http://schemas.openxmlformats.org/officeDocument/2006/relationships/slide" Target="slides/slide26.xml"/><Relationship Id="rId63" Type="http://schemas.openxmlformats.org/officeDocument/2006/relationships/slide" Target="slides/slide42.xml"/><Relationship Id="rId68" Type="http://schemas.openxmlformats.org/officeDocument/2006/relationships/slide" Target="slides/slide47.xml"/><Relationship Id="rId84" Type="http://schemas.openxmlformats.org/officeDocument/2006/relationships/slide" Target="slides/slide63.xml"/><Relationship Id="rId89" Type="http://schemas.openxmlformats.org/officeDocument/2006/relationships/slide" Target="slides/slide68.xml"/><Relationship Id="rId112" Type="http://schemas.openxmlformats.org/officeDocument/2006/relationships/theme" Target="theme/theme1.xml"/><Relationship Id="rId16" Type="http://schemas.openxmlformats.org/officeDocument/2006/relationships/slideMaster" Target="slideMasters/slideMaster13.xml"/><Relationship Id="rId107" Type="http://schemas.openxmlformats.org/officeDocument/2006/relationships/slide" Target="slides/slide86.xml"/><Relationship Id="rId11" Type="http://schemas.openxmlformats.org/officeDocument/2006/relationships/slideMaster" Target="slideMasters/slideMaster8.xml"/><Relationship Id="rId32" Type="http://schemas.openxmlformats.org/officeDocument/2006/relationships/slide" Target="slides/slide11.xml"/><Relationship Id="rId37" Type="http://schemas.openxmlformats.org/officeDocument/2006/relationships/slide" Target="slides/slide16.xml"/><Relationship Id="rId53" Type="http://schemas.openxmlformats.org/officeDocument/2006/relationships/slide" Target="slides/slide32.xml"/><Relationship Id="rId58" Type="http://schemas.openxmlformats.org/officeDocument/2006/relationships/slide" Target="slides/slide37.xml"/><Relationship Id="rId74" Type="http://schemas.openxmlformats.org/officeDocument/2006/relationships/slide" Target="slides/slide53.xml"/><Relationship Id="rId79" Type="http://schemas.openxmlformats.org/officeDocument/2006/relationships/slide" Target="slides/slide58.xml"/><Relationship Id="rId102" Type="http://schemas.openxmlformats.org/officeDocument/2006/relationships/slide" Target="slides/slide81.xml"/><Relationship Id="rId5" Type="http://schemas.openxmlformats.org/officeDocument/2006/relationships/slideMaster" Target="slideMasters/slideMaster2.xml"/><Relationship Id="rId90" Type="http://schemas.openxmlformats.org/officeDocument/2006/relationships/slide" Target="slides/slide69.xml"/><Relationship Id="rId95" Type="http://schemas.openxmlformats.org/officeDocument/2006/relationships/slide" Target="slides/slide74.xml"/><Relationship Id="rId22" Type="http://schemas.openxmlformats.org/officeDocument/2006/relationships/slide" Target="slides/slide1.xml"/><Relationship Id="rId27" Type="http://schemas.openxmlformats.org/officeDocument/2006/relationships/slide" Target="slides/slide6.xml"/><Relationship Id="rId43" Type="http://schemas.openxmlformats.org/officeDocument/2006/relationships/slide" Target="slides/slide22.xml"/><Relationship Id="rId48" Type="http://schemas.openxmlformats.org/officeDocument/2006/relationships/slide" Target="slides/slide27.xml"/><Relationship Id="rId64" Type="http://schemas.openxmlformats.org/officeDocument/2006/relationships/slide" Target="slides/slide43.xml"/><Relationship Id="rId69" Type="http://schemas.openxmlformats.org/officeDocument/2006/relationships/slide" Target="slides/slide48.xml"/><Relationship Id="rId113" Type="http://schemas.openxmlformats.org/officeDocument/2006/relationships/tableStyles" Target="tableStyles.xml"/><Relationship Id="rId80" Type="http://schemas.openxmlformats.org/officeDocument/2006/relationships/slide" Target="slides/slide59.xml"/><Relationship Id="rId85" Type="http://schemas.openxmlformats.org/officeDocument/2006/relationships/slide" Target="slides/slide6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12.xml"/><Relationship Id="rId38" Type="http://schemas.openxmlformats.org/officeDocument/2006/relationships/slide" Target="slides/slide17.xml"/><Relationship Id="rId59" Type="http://schemas.openxmlformats.org/officeDocument/2006/relationships/slide" Target="slides/slide38.xml"/><Relationship Id="rId103" Type="http://schemas.openxmlformats.org/officeDocument/2006/relationships/slide" Target="slides/slide82.xml"/><Relationship Id="rId108" Type="http://schemas.openxmlformats.org/officeDocument/2006/relationships/notesMaster" Target="notesMasters/notesMaster1.xml"/><Relationship Id="rId54" Type="http://schemas.openxmlformats.org/officeDocument/2006/relationships/slide" Target="slides/slide33.xml"/><Relationship Id="rId70" Type="http://schemas.openxmlformats.org/officeDocument/2006/relationships/slide" Target="slides/slide49.xml"/><Relationship Id="rId75" Type="http://schemas.openxmlformats.org/officeDocument/2006/relationships/slide" Target="slides/slide54.xml"/><Relationship Id="rId91" Type="http://schemas.openxmlformats.org/officeDocument/2006/relationships/slide" Target="slides/slide70.xml"/><Relationship Id="rId96" Type="http://schemas.openxmlformats.org/officeDocument/2006/relationships/slide" Target="slides/slide75.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106" Type="http://schemas.openxmlformats.org/officeDocument/2006/relationships/slide" Target="slides/slide85.xml"/><Relationship Id="rId10" Type="http://schemas.openxmlformats.org/officeDocument/2006/relationships/slideMaster" Target="slideMasters/slideMaster7.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slide" Target="slides/slide44.xml"/><Relationship Id="rId73" Type="http://schemas.openxmlformats.org/officeDocument/2006/relationships/slide" Target="slides/slide52.xml"/><Relationship Id="rId78" Type="http://schemas.openxmlformats.org/officeDocument/2006/relationships/slide" Target="slides/slide57.xml"/><Relationship Id="rId81" Type="http://schemas.openxmlformats.org/officeDocument/2006/relationships/slide" Target="slides/slide60.xml"/><Relationship Id="rId86" Type="http://schemas.openxmlformats.org/officeDocument/2006/relationships/slide" Target="slides/slide65.xml"/><Relationship Id="rId94" Type="http://schemas.openxmlformats.org/officeDocument/2006/relationships/slide" Target="slides/slide73.xml"/><Relationship Id="rId99" Type="http://schemas.openxmlformats.org/officeDocument/2006/relationships/slide" Target="slides/slide78.xml"/><Relationship Id="rId101" Type="http://schemas.openxmlformats.org/officeDocument/2006/relationships/slide" Target="slides/slide80.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8.xml"/><Relationship Id="rId109" Type="http://schemas.openxmlformats.org/officeDocument/2006/relationships/commentAuthors" Target="commentAuthors.xml"/><Relationship Id="rId34" Type="http://schemas.openxmlformats.org/officeDocument/2006/relationships/slide" Target="slides/slide13.xml"/><Relationship Id="rId50" Type="http://schemas.openxmlformats.org/officeDocument/2006/relationships/slide" Target="slides/slide29.xml"/><Relationship Id="rId55" Type="http://schemas.openxmlformats.org/officeDocument/2006/relationships/slide" Target="slides/slide34.xml"/><Relationship Id="rId76" Type="http://schemas.openxmlformats.org/officeDocument/2006/relationships/slide" Target="slides/slide55.xml"/><Relationship Id="rId97" Type="http://schemas.openxmlformats.org/officeDocument/2006/relationships/slide" Target="slides/slide76.xml"/><Relationship Id="rId104" Type="http://schemas.openxmlformats.org/officeDocument/2006/relationships/slide" Target="slides/slide83.xml"/><Relationship Id="rId7" Type="http://schemas.openxmlformats.org/officeDocument/2006/relationships/slideMaster" Target="slideMasters/slideMaster4.xml"/><Relationship Id="rId71" Type="http://schemas.openxmlformats.org/officeDocument/2006/relationships/slide" Target="slides/slide50.xml"/><Relationship Id="rId92" Type="http://schemas.openxmlformats.org/officeDocument/2006/relationships/slide" Target="slides/slide71.xml"/><Relationship Id="rId2" Type="http://schemas.openxmlformats.org/officeDocument/2006/relationships/customXml" Target="../customXml/item2.xml"/><Relationship Id="rId29" Type="http://schemas.openxmlformats.org/officeDocument/2006/relationships/slide" Target="slides/slide8.xml"/><Relationship Id="rId24" Type="http://schemas.openxmlformats.org/officeDocument/2006/relationships/slide" Target="slides/slide3.xml"/><Relationship Id="rId40" Type="http://schemas.openxmlformats.org/officeDocument/2006/relationships/slide" Target="slides/slide19.xml"/><Relationship Id="rId45" Type="http://schemas.openxmlformats.org/officeDocument/2006/relationships/slide" Target="slides/slide24.xml"/><Relationship Id="rId66" Type="http://schemas.openxmlformats.org/officeDocument/2006/relationships/slide" Target="slides/slide45.xml"/><Relationship Id="rId87" Type="http://schemas.openxmlformats.org/officeDocument/2006/relationships/slide" Target="slides/slide66.xml"/><Relationship Id="rId110" Type="http://schemas.openxmlformats.org/officeDocument/2006/relationships/presProps" Target="presProps.xml"/><Relationship Id="rId61" Type="http://schemas.openxmlformats.org/officeDocument/2006/relationships/slide" Target="slides/slide40.xml"/><Relationship Id="rId82" Type="http://schemas.openxmlformats.org/officeDocument/2006/relationships/slide" Target="slides/slide61.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9.xml"/><Relationship Id="rId35" Type="http://schemas.openxmlformats.org/officeDocument/2006/relationships/slide" Target="slides/slide14.xml"/><Relationship Id="rId56" Type="http://schemas.openxmlformats.org/officeDocument/2006/relationships/slide" Target="slides/slide35.xml"/><Relationship Id="rId77" Type="http://schemas.openxmlformats.org/officeDocument/2006/relationships/slide" Target="slides/slide56.xml"/><Relationship Id="rId100" Type="http://schemas.openxmlformats.org/officeDocument/2006/relationships/slide" Target="slides/slide79.xml"/><Relationship Id="rId105" Type="http://schemas.openxmlformats.org/officeDocument/2006/relationships/slide" Target="slides/slide84.xml"/><Relationship Id="rId8" Type="http://schemas.openxmlformats.org/officeDocument/2006/relationships/slideMaster" Target="slideMasters/slideMaster5.xml"/><Relationship Id="rId51" Type="http://schemas.openxmlformats.org/officeDocument/2006/relationships/slide" Target="slides/slide30.xml"/><Relationship Id="rId72" Type="http://schemas.openxmlformats.org/officeDocument/2006/relationships/slide" Target="slides/slide51.xml"/><Relationship Id="rId93" Type="http://schemas.openxmlformats.org/officeDocument/2006/relationships/slide" Target="slides/slide72.xml"/><Relationship Id="rId98" Type="http://schemas.openxmlformats.org/officeDocument/2006/relationships/slide" Target="slides/slide77.xml"/><Relationship Id="rId3" Type="http://schemas.openxmlformats.org/officeDocument/2006/relationships/customXml" Target="../customXml/item3.xml"/><Relationship Id="rId25" Type="http://schemas.openxmlformats.org/officeDocument/2006/relationships/slide" Target="slides/slide4.xml"/><Relationship Id="rId46" Type="http://schemas.openxmlformats.org/officeDocument/2006/relationships/slide" Target="slides/slide25.xml"/><Relationship Id="rId67" Type="http://schemas.openxmlformats.org/officeDocument/2006/relationships/slide" Target="slides/slide46.xml"/><Relationship Id="rId20" Type="http://schemas.openxmlformats.org/officeDocument/2006/relationships/slideMaster" Target="slideMasters/slideMaster17.xml"/><Relationship Id="rId41" Type="http://schemas.openxmlformats.org/officeDocument/2006/relationships/slide" Target="slides/slide20.xml"/><Relationship Id="rId62" Type="http://schemas.openxmlformats.org/officeDocument/2006/relationships/slide" Target="slides/slide41.xml"/><Relationship Id="rId83" Type="http://schemas.openxmlformats.org/officeDocument/2006/relationships/slide" Target="slides/slide62.xml"/><Relationship Id="rId88" Type="http://schemas.openxmlformats.org/officeDocument/2006/relationships/slide" Target="slides/slide67.xml"/><Relationship Id="rId111" Type="http://schemas.openxmlformats.org/officeDocument/2006/relationships/viewProps" Target="viewProp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6-05-26T20:05:11.253" idx="4">
    <p:pos x="10" y="10"/>
    <p:text>Show code snippet, and annotate trigger, input, output</p:text>
    <p:extLst>
      <p:ext uri="{C676402C-5697-4E1C-873F-D02D1690AC5C}">
        <p15:threadingInfo xmlns:p15="http://schemas.microsoft.com/office/powerpoint/2012/main" timeZoneBias="240"/>
      </p:ext>
    </p:extLst>
  </p:cm>
</p:cmLst>
</file>

<file path=ppt/diagrams/_rels/data2.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image" Target="../media/image25.svg"/><Relationship Id="rId1" Type="http://schemas.openxmlformats.org/officeDocument/2006/relationships/image" Target="../media/image24.png"/><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svg"/><Relationship Id="rId4" Type="http://schemas.openxmlformats.org/officeDocument/2006/relationships/image" Target="../media/image27.svg"/><Relationship Id="rId9" Type="http://schemas.openxmlformats.org/officeDocument/2006/relationships/image" Target="../media/image32.png"/></Relationships>
</file>

<file path=ppt/diagrams/_rels/data3.xml.rels><?xml version="1.0" encoding="UTF-8" standalone="yes"?>
<Relationships xmlns="http://schemas.openxmlformats.org/package/2006/relationships"><Relationship Id="rId8" Type="http://schemas.openxmlformats.org/officeDocument/2006/relationships/image" Target="../media/image81.svg"/><Relationship Id="rId3" Type="http://schemas.openxmlformats.org/officeDocument/2006/relationships/image" Target="../media/image76.png"/><Relationship Id="rId7" Type="http://schemas.openxmlformats.org/officeDocument/2006/relationships/image" Target="../media/image80.png"/><Relationship Id="rId12" Type="http://schemas.openxmlformats.org/officeDocument/2006/relationships/image" Target="../media/image85.svg"/><Relationship Id="rId2" Type="http://schemas.openxmlformats.org/officeDocument/2006/relationships/image" Target="../media/image75.svg"/><Relationship Id="rId1" Type="http://schemas.openxmlformats.org/officeDocument/2006/relationships/image" Target="../media/image74.png"/><Relationship Id="rId6" Type="http://schemas.openxmlformats.org/officeDocument/2006/relationships/image" Target="../media/image79.svg"/><Relationship Id="rId11" Type="http://schemas.openxmlformats.org/officeDocument/2006/relationships/image" Target="../media/image84.png"/><Relationship Id="rId5" Type="http://schemas.openxmlformats.org/officeDocument/2006/relationships/image" Target="../media/image78.png"/><Relationship Id="rId10" Type="http://schemas.openxmlformats.org/officeDocument/2006/relationships/image" Target="../media/image83.svg"/><Relationship Id="rId4" Type="http://schemas.openxmlformats.org/officeDocument/2006/relationships/image" Target="../media/image77.svg"/><Relationship Id="rId9" Type="http://schemas.openxmlformats.org/officeDocument/2006/relationships/image" Target="../media/image82.png"/></Relationships>
</file>

<file path=ppt/diagrams/_rels/data4.xml.rels><?xml version="1.0" encoding="UTF-8" standalone="yes"?>
<Relationships xmlns="http://schemas.openxmlformats.org/package/2006/relationships"><Relationship Id="rId8" Type="http://schemas.openxmlformats.org/officeDocument/2006/relationships/image" Target="../media/image98.svg"/><Relationship Id="rId13" Type="http://schemas.openxmlformats.org/officeDocument/2006/relationships/image" Target="../media/image103.png"/><Relationship Id="rId3" Type="http://schemas.openxmlformats.org/officeDocument/2006/relationships/image" Target="../media/image93.png"/><Relationship Id="rId7" Type="http://schemas.openxmlformats.org/officeDocument/2006/relationships/image" Target="../media/image97.png"/><Relationship Id="rId12" Type="http://schemas.openxmlformats.org/officeDocument/2006/relationships/image" Target="../media/image102.svg"/><Relationship Id="rId2" Type="http://schemas.openxmlformats.org/officeDocument/2006/relationships/image" Target="../media/image92.svg"/><Relationship Id="rId1" Type="http://schemas.openxmlformats.org/officeDocument/2006/relationships/image" Target="../media/image91.png"/><Relationship Id="rId6" Type="http://schemas.openxmlformats.org/officeDocument/2006/relationships/image" Target="../media/image96.svg"/><Relationship Id="rId11" Type="http://schemas.openxmlformats.org/officeDocument/2006/relationships/image" Target="../media/image101.png"/><Relationship Id="rId5" Type="http://schemas.openxmlformats.org/officeDocument/2006/relationships/image" Target="../media/image95.png"/><Relationship Id="rId10" Type="http://schemas.openxmlformats.org/officeDocument/2006/relationships/image" Target="../media/image100.svg"/><Relationship Id="rId4" Type="http://schemas.openxmlformats.org/officeDocument/2006/relationships/image" Target="../media/image94.svg"/><Relationship Id="rId9" Type="http://schemas.openxmlformats.org/officeDocument/2006/relationships/image" Target="../media/image99.png"/><Relationship Id="rId14" Type="http://schemas.openxmlformats.org/officeDocument/2006/relationships/image" Target="../media/image104.svg"/></Relationships>
</file>

<file path=ppt/diagrams/_rels/data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svg"/><Relationship Id="rId1" Type="http://schemas.openxmlformats.org/officeDocument/2006/relationships/image" Target="../media/image105.png"/><Relationship Id="rId6" Type="http://schemas.openxmlformats.org/officeDocument/2006/relationships/image" Target="../media/image110.svg"/><Relationship Id="rId5" Type="http://schemas.openxmlformats.org/officeDocument/2006/relationships/image" Target="../media/image109.png"/><Relationship Id="rId4" Type="http://schemas.openxmlformats.org/officeDocument/2006/relationships/image" Target="../media/image108.svg"/></Relationships>
</file>

<file path=ppt/diagrams/_rels/drawing2.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image" Target="../media/image25.svg"/><Relationship Id="rId1" Type="http://schemas.openxmlformats.org/officeDocument/2006/relationships/image" Target="../media/image24.png"/><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svg"/><Relationship Id="rId4" Type="http://schemas.openxmlformats.org/officeDocument/2006/relationships/image" Target="../media/image27.svg"/><Relationship Id="rId9" Type="http://schemas.openxmlformats.org/officeDocument/2006/relationships/image" Target="../media/image32.png"/></Relationships>
</file>

<file path=ppt/diagrams/_rels/drawing3.xml.rels><?xml version="1.0" encoding="UTF-8" standalone="yes"?>
<Relationships xmlns="http://schemas.openxmlformats.org/package/2006/relationships"><Relationship Id="rId8" Type="http://schemas.openxmlformats.org/officeDocument/2006/relationships/image" Target="../media/image81.svg"/><Relationship Id="rId3" Type="http://schemas.openxmlformats.org/officeDocument/2006/relationships/image" Target="../media/image76.png"/><Relationship Id="rId7" Type="http://schemas.openxmlformats.org/officeDocument/2006/relationships/image" Target="../media/image80.png"/><Relationship Id="rId12" Type="http://schemas.openxmlformats.org/officeDocument/2006/relationships/image" Target="../media/image85.svg"/><Relationship Id="rId2" Type="http://schemas.openxmlformats.org/officeDocument/2006/relationships/image" Target="../media/image75.svg"/><Relationship Id="rId1" Type="http://schemas.openxmlformats.org/officeDocument/2006/relationships/image" Target="../media/image74.png"/><Relationship Id="rId6" Type="http://schemas.openxmlformats.org/officeDocument/2006/relationships/image" Target="../media/image79.svg"/><Relationship Id="rId11" Type="http://schemas.openxmlformats.org/officeDocument/2006/relationships/image" Target="../media/image84.png"/><Relationship Id="rId5" Type="http://schemas.openxmlformats.org/officeDocument/2006/relationships/image" Target="../media/image78.png"/><Relationship Id="rId10" Type="http://schemas.openxmlformats.org/officeDocument/2006/relationships/image" Target="../media/image83.svg"/><Relationship Id="rId4" Type="http://schemas.openxmlformats.org/officeDocument/2006/relationships/image" Target="../media/image77.svg"/><Relationship Id="rId9" Type="http://schemas.openxmlformats.org/officeDocument/2006/relationships/image" Target="../media/image82.png"/></Relationships>
</file>

<file path=ppt/diagrams/_rels/drawing4.xml.rels><?xml version="1.0" encoding="UTF-8" standalone="yes"?>
<Relationships xmlns="http://schemas.openxmlformats.org/package/2006/relationships"><Relationship Id="rId8" Type="http://schemas.openxmlformats.org/officeDocument/2006/relationships/image" Target="../media/image98.svg"/><Relationship Id="rId13" Type="http://schemas.openxmlformats.org/officeDocument/2006/relationships/image" Target="../media/image103.png"/><Relationship Id="rId3" Type="http://schemas.openxmlformats.org/officeDocument/2006/relationships/image" Target="../media/image93.png"/><Relationship Id="rId7" Type="http://schemas.openxmlformats.org/officeDocument/2006/relationships/image" Target="../media/image97.png"/><Relationship Id="rId12" Type="http://schemas.openxmlformats.org/officeDocument/2006/relationships/image" Target="../media/image102.svg"/><Relationship Id="rId2" Type="http://schemas.openxmlformats.org/officeDocument/2006/relationships/image" Target="../media/image92.svg"/><Relationship Id="rId1" Type="http://schemas.openxmlformats.org/officeDocument/2006/relationships/image" Target="../media/image91.png"/><Relationship Id="rId6" Type="http://schemas.openxmlformats.org/officeDocument/2006/relationships/image" Target="../media/image96.svg"/><Relationship Id="rId11" Type="http://schemas.openxmlformats.org/officeDocument/2006/relationships/image" Target="../media/image101.png"/><Relationship Id="rId5" Type="http://schemas.openxmlformats.org/officeDocument/2006/relationships/image" Target="../media/image95.png"/><Relationship Id="rId10" Type="http://schemas.openxmlformats.org/officeDocument/2006/relationships/image" Target="../media/image100.svg"/><Relationship Id="rId4" Type="http://schemas.openxmlformats.org/officeDocument/2006/relationships/image" Target="../media/image94.svg"/><Relationship Id="rId9" Type="http://schemas.openxmlformats.org/officeDocument/2006/relationships/image" Target="../media/image99.png"/><Relationship Id="rId14" Type="http://schemas.openxmlformats.org/officeDocument/2006/relationships/image" Target="../media/image104.svg"/></Relationships>
</file>

<file path=ppt/diagrams/_rels/drawing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svg"/><Relationship Id="rId1" Type="http://schemas.openxmlformats.org/officeDocument/2006/relationships/image" Target="../media/image105.png"/><Relationship Id="rId6" Type="http://schemas.openxmlformats.org/officeDocument/2006/relationships/image" Target="../media/image110.svg"/><Relationship Id="rId5" Type="http://schemas.openxmlformats.org/officeDocument/2006/relationships/image" Target="../media/image109.png"/><Relationship Id="rId4" Type="http://schemas.openxmlformats.org/officeDocument/2006/relationships/image" Target="../media/image108.sv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bg_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a:alpha val="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18/5/colors/Iconchunking_neutralicon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bg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18/5/colors/Iconchunking_neutralicon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bg1"/>
    </dgm:txFillClrLst>
    <dgm:txEffectClrLst/>
  </dgm:styleLbl>
</dgm:colorsDef>
</file>

<file path=ppt/diagrams/data1.xml><?xml version="1.0" encoding="utf-8"?>
<dgm:dataModel xmlns:dgm="http://schemas.openxmlformats.org/drawingml/2006/diagram" xmlns:a="http://schemas.openxmlformats.org/drawingml/2006/main">
  <dgm:ptLst>
    <dgm:pt modelId="{E7D64F57-B398-4C8B-9040-5F3F1D04B163}" type="doc">
      <dgm:prSet loTypeId="urn:microsoft.com/office/officeart/2008/layout/LinedList" loCatId="list" qsTypeId="urn:microsoft.com/office/officeart/2005/8/quickstyle/simple1" qsCatId="simple" csTypeId="urn:microsoft.com/office/officeart/2005/8/colors/colorful2" csCatId="colorful"/>
      <dgm:spPr/>
      <dgm:t>
        <a:bodyPr/>
        <a:lstStyle/>
        <a:p>
          <a:endParaRPr lang="en-US"/>
        </a:p>
      </dgm:t>
    </dgm:pt>
    <dgm:pt modelId="{592AF320-BCC7-4924-8E53-D0A84DD5C385}">
      <dgm:prSet/>
      <dgm:spPr/>
      <dgm:t>
        <a:bodyPr/>
        <a:lstStyle/>
        <a:p>
          <a:r>
            <a:rPr lang="en-US"/>
            <a:t>“We would like to make sure our database isn’t overtaxed, have the ability of updating the website automatically when we check in, have the application scale up/down when needed, have a fast response time to improve customer experience”</a:t>
          </a:r>
        </a:p>
      </dgm:t>
    </dgm:pt>
    <dgm:pt modelId="{4F3FAF91-D9C5-402D-B745-3C898193AEF3}" type="parTrans" cxnId="{05E7739E-A449-483A-BC42-EC2BC6347FD3}">
      <dgm:prSet/>
      <dgm:spPr/>
      <dgm:t>
        <a:bodyPr/>
        <a:lstStyle/>
        <a:p>
          <a:endParaRPr lang="en-US"/>
        </a:p>
      </dgm:t>
    </dgm:pt>
    <dgm:pt modelId="{6B9DBA93-0E00-43EA-95AA-7DBDAAB2063D}" type="sibTrans" cxnId="{05E7739E-A449-483A-BC42-EC2BC6347FD3}">
      <dgm:prSet/>
      <dgm:spPr/>
      <dgm:t>
        <a:bodyPr/>
        <a:lstStyle/>
        <a:p>
          <a:endParaRPr lang="en-US"/>
        </a:p>
      </dgm:t>
    </dgm:pt>
    <dgm:pt modelId="{6993764B-48E3-4B2C-9355-28DB0D37D1DB}">
      <dgm:prSet/>
      <dgm:spPr/>
      <dgm:t>
        <a:bodyPr/>
        <a:lstStyle/>
        <a:p>
          <a:r>
            <a:rPr lang="en-US"/>
            <a:t>“Can you help us do this?”</a:t>
          </a:r>
        </a:p>
      </dgm:t>
    </dgm:pt>
    <dgm:pt modelId="{A1A52A94-2889-42C3-9C60-0BC108C18839}" type="parTrans" cxnId="{3F7BDD54-1218-4740-BDD4-C3CCCB4D4247}">
      <dgm:prSet/>
      <dgm:spPr/>
      <dgm:t>
        <a:bodyPr/>
        <a:lstStyle/>
        <a:p>
          <a:endParaRPr lang="en-US"/>
        </a:p>
      </dgm:t>
    </dgm:pt>
    <dgm:pt modelId="{35B99532-9728-4821-9C40-5A6B248EFC41}" type="sibTrans" cxnId="{3F7BDD54-1218-4740-BDD4-C3CCCB4D4247}">
      <dgm:prSet/>
      <dgm:spPr/>
      <dgm:t>
        <a:bodyPr/>
        <a:lstStyle/>
        <a:p>
          <a:endParaRPr lang="en-US"/>
        </a:p>
      </dgm:t>
    </dgm:pt>
    <dgm:pt modelId="{1E2F9F9D-D07E-C549-99EB-5B805D074C0C}" type="pres">
      <dgm:prSet presAssocID="{E7D64F57-B398-4C8B-9040-5F3F1D04B163}" presName="vert0" presStyleCnt="0">
        <dgm:presLayoutVars>
          <dgm:dir/>
          <dgm:animOne val="branch"/>
          <dgm:animLvl val="lvl"/>
        </dgm:presLayoutVars>
      </dgm:prSet>
      <dgm:spPr/>
    </dgm:pt>
    <dgm:pt modelId="{EBCD7389-75F0-F94B-9A11-2992508AFCDE}" type="pres">
      <dgm:prSet presAssocID="{592AF320-BCC7-4924-8E53-D0A84DD5C385}" presName="thickLine" presStyleLbl="alignNode1" presStyleIdx="0" presStyleCnt="2"/>
      <dgm:spPr/>
    </dgm:pt>
    <dgm:pt modelId="{8451B3DE-3911-5947-A866-6B889B251D53}" type="pres">
      <dgm:prSet presAssocID="{592AF320-BCC7-4924-8E53-D0A84DD5C385}" presName="horz1" presStyleCnt="0"/>
      <dgm:spPr/>
    </dgm:pt>
    <dgm:pt modelId="{B8E446E2-6CD4-7D4D-AB22-EBDA9DB3420D}" type="pres">
      <dgm:prSet presAssocID="{592AF320-BCC7-4924-8E53-D0A84DD5C385}" presName="tx1" presStyleLbl="revTx" presStyleIdx="0" presStyleCnt="2"/>
      <dgm:spPr/>
    </dgm:pt>
    <dgm:pt modelId="{1475F3E1-DD7A-BC4F-B86D-2CC64F1F5C0F}" type="pres">
      <dgm:prSet presAssocID="{592AF320-BCC7-4924-8E53-D0A84DD5C385}" presName="vert1" presStyleCnt="0"/>
      <dgm:spPr/>
    </dgm:pt>
    <dgm:pt modelId="{647A7B5A-BBC8-7149-B59A-97BC6EC00613}" type="pres">
      <dgm:prSet presAssocID="{6993764B-48E3-4B2C-9355-28DB0D37D1DB}" presName="thickLine" presStyleLbl="alignNode1" presStyleIdx="1" presStyleCnt="2"/>
      <dgm:spPr/>
    </dgm:pt>
    <dgm:pt modelId="{07E36116-79F2-A949-8C4D-DE688850D313}" type="pres">
      <dgm:prSet presAssocID="{6993764B-48E3-4B2C-9355-28DB0D37D1DB}" presName="horz1" presStyleCnt="0"/>
      <dgm:spPr/>
    </dgm:pt>
    <dgm:pt modelId="{CFEA74E4-E51D-5F48-9A95-32A2BFB218F6}" type="pres">
      <dgm:prSet presAssocID="{6993764B-48E3-4B2C-9355-28DB0D37D1DB}" presName="tx1" presStyleLbl="revTx" presStyleIdx="1" presStyleCnt="2"/>
      <dgm:spPr/>
    </dgm:pt>
    <dgm:pt modelId="{F7710F3D-7578-A64E-95E4-5CD6514AE6BA}" type="pres">
      <dgm:prSet presAssocID="{6993764B-48E3-4B2C-9355-28DB0D37D1DB}" presName="vert1" presStyleCnt="0"/>
      <dgm:spPr/>
    </dgm:pt>
  </dgm:ptLst>
  <dgm:cxnLst>
    <dgm:cxn modelId="{E75E9238-E1AD-8C45-B5F0-8A56BB4199F7}" type="presOf" srcId="{E7D64F57-B398-4C8B-9040-5F3F1D04B163}" destId="{1E2F9F9D-D07E-C549-99EB-5B805D074C0C}" srcOrd="0" destOrd="0" presId="urn:microsoft.com/office/officeart/2008/layout/LinedList"/>
    <dgm:cxn modelId="{3F7BDD54-1218-4740-BDD4-C3CCCB4D4247}" srcId="{E7D64F57-B398-4C8B-9040-5F3F1D04B163}" destId="{6993764B-48E3-4B2C-9355-28DB0D37D1DB}" srcOrd="1" destOrd="0" parTransId="{A1A52A94-2889-42C3-9C60-0BC108C18839}" sibTransId="{35B99532-9728-4821-9C40-5A6B248EFC41}"/>
    <dgm:cxn modelId="{10724598-78FA-364F-A4BA-1EDD067B480C}" type="presOf" srcId="{6993764B-48E3-4B2C-9355-28DB0D37D1DB}" destId="{CFEA74E4-E51D-5F48-9A95-32A2BFB218F6}" srcOrd="0" destOrd="0" presId="urn:microsoft.com/office/officeart/2008/layout/LinedList"/>
    <dgm:cxn modelId="{05E7739E-A449-483A-BC42-EC2BC6347FD3}" srcId="{E7D64F57-B398-4C8B-9040-5F3F1D04B163}" destId="{592AF320-BCC7-4924-8E53-D0A84DD5C385}" srcOrd="0" destOrd="0" parTransId="{4F3FAF91-D9C5-402D-B745-3C898193AEF3}" sibTransId="{6B9DBA93-0E00-43EA-95AA-7DBDAAB2063D}"/>
    <dgm:cxn modelId="{2838E7E9-05D8-9849-AF4F-2A9D873090DA}" type="presOf" srcId="{592AF320-BCC7-4924-8E53-D0A84DD5C385}" destId="{B8E446E2-6CD4-7D4D-AB22-EBDA9DB3420D}" srcOrd="0" destOrd="0" presId="urn:microsoft.com/office/officeart/2008/layout/LinedList"/>
    <dgm:cxn modelId="{DAD8F6EC-3E93-3047-9EDC-D40EAEAF2CC7}" type="presParOf" srcId="{1E2F9F9D-D07E-C549-99EB-5B805D074C0C}" destId="{EBCD7389-75F0-F94B-9A11-2992508AFCDE}" srcOrd="0" destOrd="0" presId="urn:microsoft.com/office/officeart/2008/layout/LinedList"/>
    <dgm:cxn modelId="{E2DB1D5B-FFBC-3E41-95C4-34E81E61DC70}" type="presParOf" srcId="{1E2F9F9D-D07E-C549-99EB-5B805D074C0C}" destId="{8451B3DE-3911-5947-A866-6B889B251D53}" srcOrd="1" destOrd="0" presId="urn:microsoft.com/office/officeart/2008/layout/LinedList"/>
    <dgm:cxn modelId="{27E26A9E-A0CB-7B4C-A8B9-8C0D49CA8259}" type="presParOf" srcId="{8451B3DE-3911-5947-A866-6B889B251D53}" destId="{B8E446E2-6CD4-7D4D-AB22-EBDA9DB3420D}" srcOrd="0" destOrd="0" presId="urn:microsoft.com/office/officeart/2008/layout/LinedList"/>
    <dgm:cxn modelId="{C8BDABC0-9CF2-9249-86E0-E999D7C9227D}" type="presParOf" srcId="{8451B3DE-3911-5947-A866-6B889B251D53}" destId="{1475F3E1-DD7A-BC4F-B86D-2CC64F1F5C0F}" srcOrd="1" destOrd="0" presId="urn:microsoft.com/office/officeart/2008/layout/LinedList"/>
    <dgm:cxn modelId="{6739B3C2-0AD4-804E-98A0-E2891CF5B16F}" type="presParOf" srcId="{1E2F9F9D-D07E-C549-99EB-5B805D074C0C}" destId="{647A7B5A-BBC8-7149-B59A-97BC6EC00613}" srcOrd="2" destOrd="0" presId="urn:microsoft.com/office/officeart/2008/layout/LinedList"/>
    <dgm:cxn modelId="{54F67BE7-8548-0A41-93CB-C9F44655FA63}" type="presParOf" srcId="{1E2F9F9D-D07E-C549-99EB-5B805D074C0C}" destId="{07E36116-79F2-A949-8C4D-DE688850D313}" srcOrd="3" destOrd="0" presId="urn:microsoft.com/office/officeart/2008/layout/LinedList"/>
    <dgm:cxn modelId="{4CBD8809-2F10-E545-AB53-20C980F9DFE7}" type="presParOf" srcId="{07E36116-79F2-A949-8C4D-DE688850D313}" destId="{CFEA74E4-E51D-5F48-9A95-32A2BFB218F6}" srcOrd="0" destOrd="0" presId="urn:microsoft.com/office/officeart/2008/layout/LinedList"/>
    <dgm:cxn modelId="{67ED20DF-84CC-704E-A041-A59F8B287B35}" type="presParOf" srcId="{07E36116-79F2-A949-8C4D-DE688850D313}" destId="{F7710F3D-7578-A64E-95E4-5CD6514AE6BA}"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87021D-0B36-4D09-B1A9-9617A27134CE}" type="doc">
      <dgm:prSet loTypeId="urn:microsoft.com/office/officeart/2018/5/layout/IconLeafLabelList" loCatId="icon" qsTypeId="urn:microsoft.com/office/officeart/2005/8/quickstyle/simple1" qsCatId="simple" csTypeId="urn:microsoft.com/office/officeart/2018/5/colors/Iconchunking_neutralbg_accent1_2" csCatId="accent1" phldr="1"/>
      <dgm:spPr/>
      <dgm:t>
        <a:bodyPr/>
        <a:lstStyle/>
        <a:p>
          <a:endParaRPr lang="en-US"/>
        </a:p>
      </dgm:t>
    </dgm:pt>
    <dgm:pt modelId="{50076DE8-F74F-444E-BBF5-4CB073974687}">
      <dgm:prSet/>
      <dgm:spPr/>
      <dgm:t>
        <a:bodyPr/>
        <a:lstStyle/>
        <a:p>
          <a:pPr>
            <a:defRPr cap="all"/>
          </a:pPr>
          <a:r>
            <a:rPr lang="en-US"/>
            <a:t>Create a lab IaaS environment</a:t>
          </a:r>
        </a:p>
      </dgm:t>
    </dgm:pt>
    <dgm:pt modelId="{226AEF07-84B2-4D33-B4F2-4AECA1D30A53}" type="parTrans" cxnId="{A59FB89C-5C98-4B30-A57C-5457BA9E1DB6}">
      <dgm:prSet/>
      <dgm:spPr/>
      <dgm:t>
        <a:bodyPr/>
        <a:lstStyle/>
        <a:p>
          <a:endParaRPr lang="en-US"/>
        </a:p>
      </dgm:t>
    </dgm:pt>
    <dgm:pt modelId="{8A27B99A-8FD4-4CA7-90C3-6C7FE663000A}" type="sibTrans" cxnId="{A59FB89C-5C98-4B30-A57C-5457BA9E1DB6}">
      <dgm:prSet/>
      <dgm:spPr/>
      <dgm:t>
        <a:bodyPr/>
        <a:lstStyle/>
        <a:p>
          <a:endParaRPr lang="en-US"/>
        </a:p>
      </dgm:t>
    </dgm:pt>
    <dgm:pt modelId="{03C63528-6382-4F8D-A75C-30B432A51597}">
      <dgm:prSet/>
      <dgm:spPr/>
      <dgm:t>
        <a:bodyPr/>
        <a:lstStyle/>
        <a:p>
          <a:pPr>
            <a:defRPr cap="all"/>
          </a:pPr>
          <a:r>
            <a:rPr lang="en-US"/>
            <a:t>Perform migration to PaaS</a:t>
          </a:r>
        </a:p>
      </dgm:t>
    </dgm:pt>
    <dgm:pt modelId="{2117BA10-D753-4D23-9533-E90BF40C4D37}" type="parTrans" cxnId="{C1DF0365-AF19-4390-AA60-089075FCC605}">
      <dgm:prSet/>
      <dgm:spPr/>
      <dgm:t>
        <a:bodyPr/>
        <a:lstStyle/>
        <a:p>
          <a:endParaRPr lang="en-US"/>
        </a:p>
      </dgm:t>
    </dgm:pt>
    <dgm:pt modelId="{5D15FE77-A93B-4842-85C8-791D2A7F86A4}" type="sibTrans" cxnId="{C1DF0365-AF19-4390-AA60-089075FCC605}">
      <dgm:prSet/>
      <dgm:spPr/>
      <dgm:t>
        <a:bodyPr/>
        <a:lstStyle/>
        <a:p>
          <a:endParaRPr lang="en-US"/>
        </a:p>
      </dgm:t>
    </dgm:pt>
    <dgm:pt modelId="{608F5961-12D3-41B5-95FC-0BA2CB70D29E}">
      <dgm:prSet/>
      <dgm:spPr/>
      <dgm:t>
        <a:bodyPr/>
        <a:lstStyle/>
        <a:p>
          <a:pPr>
            <a:defRPr cap="all"/>
          </a:pPr>
          <a:r>
            <a:rPr lang="en-US"/>
            <a:t>Implement DevOps CI/CD &amp; App Insights</a:t>
          </a:r>
        </a:p>
      </dgm:t>
    </dgm:pt>
    <dgm:pt modelId="{8CA8BD36-F36C-4E21-AE1F-410E9A375D13}" type="parTrans" cxnId="{C7B5FF55-19E6-4905-9FAA-ECD50B580A4B}">
      <dgm:prSet/>
      <dgm:spPr/>
      <dgm:t>
        <a:bodyPr/>
        <a:lstStyle/>
        <a:p>
          <a:endParaRPr lang="en-US"/>
        </a:p>
      </dgm:t>
    </dgm:pt>
    <dgm:pt modelId="{4BF8CD60-36D0-4BC7-8814-02502BF74C31}" type="sibTrans" cxnId="{C7B5FF55-19E6-4905-9FAA-ECD50B580A4B}">
      <dgm:prSet/>
      <dgm:spPr/>
      <dgm:t>
        <a:bodyPr/>
        <a:lstStyle/>
        <a:p>
          <a:endParaRPr lang="en-US"/>
        </a:p>
      </dgm:t>
    </dgm:pt>
    <dgm:pt modelId="{737C8B1A-3000-4F71-A918-02530B9F9722}">
      <dgm:prSet/>
      <dgm:spPr/>
      <dgm:t>
        <a:bodyPr/>
        <a:lstStyle/>
        <a:p>
          <a:pPr>
            <a:defRPr cap="all"/>
          </a:pPr>
          <a:r>
            <a:rPr lang="en-US"/>
            <a:t>Optimize &amp; Protect Web App/Database</a:t>
          </a:r>
        </a:p>
      </dgm:t>
    </dgm:pt>
    <dgm:pt modelId="{51A93CA7-9025-4DD0-B5BE-3B036668ED9A}" type="parTrans" cxnId="{D1A04AE4-3204-48E1-BC10-A9356FFF6ACA}">
      <dgm:prSet/>
      <dgm:spPr/>
      <dgm:t>
        <a:bodyPr/>
        <a:lstStyle/>
        <a:p>
          <a:endParaRPr lang="en-US"/>
        </a:p>
      </dgm:t>
    </dgm:pt>
    <dgm:pt modelId="{2B394236-3F18-425A-BAAD-D472DF1EA848}" type="sibTrans" cxnId="{D1A04AE4-3204-48E1-BC10-A9356FFF6ACA}">
      <dgm:prSet/>
      <dgm:spPr/>
      <dgm:t>
        <a:bodyPr/>
        <a:lstStyle/>
        <a:p>
          <a:endParaRPr lang="en-US"/>
        </a:p>
      </dgm:t>
    </dgm:pt>
    <dgm:pt modelId="{D3076F44-E6C1-4E6C-AAD6-2E232FBA92DD}">
      <dgm:prSet/>
      <dgm:spPr/>
      <dgm:t>
        <a:bodyPr/>
        <a:lstStyle/>
        <a:p>
          <a:pPr>
            <a:defRPr cap="all"/>
          </a:pPr>
          <a:r>
            <a:rPr lang="en-US"/>
            <a:t>Breaking out code out into serverless</a:t>
          </a:r>
        </a:p>
      </dgm:t>
    </dgm:pt>
    <dgm:pt modelId="{FEA67398-5B73-453B-AA6B-D66893373002}" type="parTrans" cxnId="{A0EBD4FE-A98D-4E27-B2AC-AF80AA352470}">
      <dgm:prSet/>
      <dgm:spPr/>
      <dgm:t>
        <a:bodyPr/>
        <a:lstStyle/>
        <a:p>
          <a:endParaRPr lang="en-US"/>
        </a:p>
      </dgm:t>
    </dgm:pt>
    <dgm:pt modelId="{9E2E1B40-D454-44E9-AE3C-1B883E4D1C6E}" type="sibTrans" cxnId="{A0EBD4FE-A98D-4E27-B2AC-AF80AA352470}">
      <dgm:prSet/>
      <dgm:spPr/>
      <dgm:t>
        <a:bodyPr/>
        <a:lstStyle/>
        <a:p>
          <a:endParaRPr lang="en-US"/>
        </a:p>
      </dgm:t>
    </dgm:pt>
    <dgm:pt modelId="{6B43FCED-0861-442B-B3F0-29B69AF65172}">
      <dgm:prSet/>
      <dgm:spPr/>
      <dgm:t>
        <a:bodyPr/>
        <a:lstStyle/>
        <a:p>
          <a:pPr>
            <a:defRPr cap="all"/>
          </a:pPr>
          <a:r>
            <a:rPr lang="en-US"/>
            <a:t>Monetize &amp; manage your data and API services </a:t>
          </a:r>
        </a:p>
      </dgm:t>
    </dgm:pt>
    <dgm:pt modelId="{3716AA2B-96A2-4CDE-83E1-5F2258B64BB1}" type="parTrans" cxnId="{F7D2121E-6DA5-4ABF-A253-2FD718A489F0}">
      <dgm:prSet/>
      <dgm:spPr/>
      <dgm:t>
        <a:bodyPr/>
        <a:lstStyle/>
        <a:p>
          <a:endParaRPr lang="en-US"/>
        </a:p>
      </dgm:t>
    </dgm:pt>
    <dgm:pt modelId="{017CF684-14F2-46B8-A549-5333FCABCD5A}" type="sibTrans" cxnId="{F7D2121E-6DA5-4ABF-A253-2FD718A489F0}">
      <dgm:prSet/>
      <dgm:spPr/>
      <dgm:t>
        <a:bodyPr/>
        <a:lstStyle/>
        <a:p>
          <a:endParaRPr lang="en-US"/>
        </a:p>
      </dgm:t>
    </dgm:pt>
    <dgm:pt modelId="{A0893625-96DC-4E8E-A12E-78FE6BA1D706}" type="pres">
      <dgm:prSet presAssocID="{EA87021D-0B36-4D09-B1A9-9617A27134CE}" presName="root" presStyleCnt="0">
        <dgm:presLayoutVars>
          <dgm:dir/>
          <dgm:resizeHandles val="exact"/>
        </dgm:presLayoutVars>
      </dgm:prSet>
      <dgm:spPr/>
    </dgm:pt>
    <dgm:pt modelId="{9E14457B-D49D-498A-9A67-CE7359513853}" type="pres">
      <dgm:prSet presAssocID="{50076DE8-F74F-444E-BBF5-4CB073974687}" presName="compNode" presStyleCnt="0"/>
      <dgm:spPr/>
    </dgm:pt>
    <dgm:pt modelId="{FAA7AE0E-FCC6-4650-BF54-381AC9DBB79B}" type="pres">
      <dgm:prSet presAssocID="{50076DE8-F74F-444E-BBF5-4CB073974687}" presName="iconBgRect" presStyleLbl="bgShp" presStyleIdx="0" presStyleCnt="6"/>
      <dgm:spPr>
        <a:prstGeom prst="round2DiagRect">
          <a:avLst>
            <a:gd name="adj1" fmla="val 29727"/>
            <a:gd name="adj2" fmla="val 0"/>
          </a:avLst>
        </a:prstGeom>
      </dgm:spPr>
    </dgm:pt>
    <dgm:pt modelId="{68E8E4BA-2616-4F39-87B8-83659166FC26}" type="pres">
      <dgm:prSet presAssocID="{50076DE8-F74F-444E-BBF5-4CB073974687}"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omputer"/>
        </a:ext>
      </dgm:extLst>
    </dgm:pt>
    <dgm:pt modelId="{FE9C35CE-BE94-40CF-B57A-AE76B3ED12D6}" type="pres">
      <dgm:prSet presAssocID="{50076DE8-F74F-444E-BBF5-4CB073974687}" presName="spaceRect" presStyleCnt="0"/>
      <dgm:spPr/>
    </dgm:pt>
    <dgm:pt modelId="{CE8A6381-581E-4128-8D54-CA4AE1F94172}" type="pres">
      <dgm:prSet presAssocID="{50076DE8-F74F-444E-BBF5-4CB073974687}" presName="textRect" presStyleLbl="revTx" presStyleIdx="0" presStyleCnt="6">
        <dgm:presLayoutVars>
          <dgm:chMax val="1"/>
          <dgm:chPref val="1"/>
        </dgm:presLayoutVars>
      </dgm:prSet>
      <dgm:spPr/>
    </dgm:pt>
    <dgm:pt modelId="{D6BEBA78-A109-4A46-B343-0B92241F3078}" type="pres">
      <dgm:prSet presAssocID="{8A27B99A-8FD4-4CA7-90C3-6C7FE663000A}" presName="sibTrans" presStyleCnt="0"/>
      <dgm:spPr/>
    </dgm:pt>
    <dgm:pt modelId="{1792F681-9960-4EC6-A2EF-A01799DBA433}" type="pres">
      <dgm:prSet presAssocID="{03C63528-6382-4F8D-A75C-30B432A51597}" presName="compNode" presStyleCnt="0"/>
      <dgm:spPr/>
    </dgm:pt>
    <dgm:pt modelId="{D866F4BA-4B79-4582-9318-E58AA739D7A8}" type="pres">
      <dgm:prSet presAssocID="{03C63528-6382-4F8D-A75C-30B432A51597}" presName="iconBgRect" presStyleLbl="bgShp" presStyleIdx="1" presStyleCnt="6"/>
      <dgm:spPr>
        <a:prstGeom prst="round2DiagRect">
          <a:avLst>
            <a:gd name="adj1" fmla="val 29727"/>
            <a:gd name="adj2" fmla="val 0"/>
          </a:avLst>
        </a:prstGeom>
      </dgm:spPr>
    </dgm:pt>
    <dgm:pt modelId="{F22CA120-B4C5-435A-86AA-353C4DD9759D}" type="pres">
      <dgm:prSet presAssocID="{03C63528-6382-4F8D-A75C-30B432A51597}"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Gears"/>
        </a:ext>
      </dgm:extLst>
    </dgm:pt>
    <dgm:pt modelId="{339DC576-A68A-42AF-8FD8-E5BBB09872DC}" type="pres">
      <dgm:prSet presAssocID="{03C63528-6382-4F8D-A75C-30B432A51597}" presName="spaceRect" presStyleCnt="0"/>
      <dgm:spPr/>
    </dgm:pt>
    <dgm:pt modelId="{B069BEB9-CA79-4D28-B793-377461F2D03D}" type="pres">
      <dgm:prSet presAssocID="{03C63528-6382-4F8D-A75C-30B432A51597}" presName="textRect" presStyleLbl="revTx" presStyleIdx="1" presStyleCnt="6">
        <dgm:presLayoutVars>
          <dgm:chMax val="1"/>
          <dgm:chPref val="1"/>
        </dgm:presLayoutVars>
      </dgm:prSet>
      <dgm:spPr/>
    </dgm:pt>
    <dgm:pt modelId="{8F7839CB-2171-4410-B202-54341D74D1B9}" type="pres">
      <dgm:prSet presAssocID="{5D15FE77-A93B-4842-85C8-791D2A7F86A4}" presName="sibTrans" presStyleCnt="0"/>
      <dgm:spPr/>
    </dgm:pt>
    <dgm:pt modelId="{A75D2287-7DEA-4175-8E1D-02571548A899}" type="pres">
      <dgm:prSet presAssocID="{608F5961-12D3-41B5-95FC-0BA2CB70D29E}" presName="compNode" presStyleCnt="0"/>
      <dgm:spPr/>
    </dgm:pt>
    <dgm:pt modelId="{D420AA65-CDE7-47E0-BD05-9186E6B7EB89}" type="pres">
      <dgm:prSet presAssocID="{608F5961-12D3-41B5-95FC-0BA2CB70D29E}" presName="iconBgRect" presStyleLbl="bgShp" presStyleIdx="2" presStyleCnt="6"/>
      <dgm:spPr>
        <a:prstGeom prst="round2DiagRect">
          <a:avLst>
            <a:gd name="adj1" fmla="val 29727"/>
            <a:gd name="adj2" fmla="val 0"/>
          </a:avLst>
        </a:prstGeom>
      </dgm:spPr>
    </dgm:pt>
    <dgm:pt modelId="{C1B387CD-636C-4E7B-A8B8-05D0A636539D}" type="pres">
      <dgm:prSet presAssocID="{608F5961-12D3-41B5-95FC-0BA2CB70D29E}"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heckmark"/>
        </a:ext>
      </dgm:extLst>
    </dgm:pt>
    <dgm:pt modelId="{A71CED6A-F091-47AC-ADBE-6CDC696D5416}" type="pres">
      <dgm:prSet presAssocID="{608F5961-12D3-41B5-95FC-0BA2CB70D29E}" presName="spaceRect" presStyleCnt="0"/>
      <dgm:spPr/>
    </dgm:pt>
    <dgm:pt modelId="{E75FCB56-4650-4C95-AFC2-CB6686BCB2E1}" type="pres">
      <dgm:prSet presAssocID="{608F5961-12D3-41B5-95FC-0BA2CB70D29E}" presName="textRect" presStyleLbl="revTx" presStyleIdx="2" presStyleCnt="6">
        <dgm:presLayoutVars>
          <dgm:chMax val="1"/>
          <dgm:chPref val="1"/>
        </dgm:presLayoutVars>
      </dgm:prSet>
      <dgm:spPr/>
    </dgm:pt>
    <dgm:pt modelId="{C63C669A-68A2-4A20-9349-B1E656D831F2}" type="pres">
      <dgm:prSet presAssocID="{4BF8CD60-36D0-4BC7-8814-02502BF74C31}" presName="sibTrans" presStyleCnt="0"/>
      <dgm:spPr/>
    </dgm:pt>
    <dgm:pt modelId="{70F120DA-5387-4B73-900C-468C1875BB47}" type="pres">
      <dgm:prSet presAssocID="{737C8B1A-3000-4F71-A918-02530B9F9722}" presName="compNode" presStyleCnt="0"/>
      <dgm:spPr/>
    </dgm:pt>
    <dgm:pt modelId="{8246830E-0089-4654-813B-E05574EBAC2F}" type="pres">
      <dgm:prSet presAssocID="{737C8B1A-3000-4F71-A918-02530B9F9722}" presName="iconBgRect" presStyleLbl="bgShp" presStyleIdx="3" presStyleCnt="6"/>
      <dgm:spPr>
        <a:prstGeom prst="round2DiagRect">
          <a:avLst>
            <a:gd name="adj1" fmla="val 29727"/>
            <a:gd name="adj2" fmla="val 0"/>
          </a:avLst>
        </a:prstGeom>
      </dgm:spPr>
    </dgm:pt>
    <dgm:pt modelId="{25F6D20C-0963-4649-B8AB-4764D51C7650}" type="pres">
      <dgm:prSet presAssocID="{737C8B1A-3000-4F71-A918-02530B9F9722}"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Database"/>
        </a:ext>
      </dgm:extLst>
    </dgm:pt>
    <dgm:pt modelId="{00C08ECE-01DA-4FD1-AC05-38ACACC7EDE6}" type="pres">
      <dgm:prSet presAssocID="{737C8B1A-3000-4F71-A918-02530B9F9722}" presName="spaceRect" presStyleCnt="0"/>
      <dgm:spPr/>
    </dgm:pt>
    <dgm:pt modelId="{481856B0-A37A-4BB5-9AD9-7992F480B4C7}" type="pres">
      <dgm:prSet presAssocID="{737C8B1A-3000-4F71-A918-02530B9F9722}" presName="textRect" presStyleLbl="revTx" presStyleIdx="3" presStyleCnt="6">
        <dgm:presLayoutVars>
          <dgm:chMax val="1"/>
          <dgm:chPref val="1"/>
        </dgm:presLayoutVars>
      </dgm:prSet>
      <dgm:spPr/>
    </dgm:pt>
    <dgm:pt modelId="{B135D24F-B244-4A1F-8C93-D0E2D00AC55E}" type="pres">
      <dgm:prSet presAssocID="{2B394236-3F18-425A-BAAD-D472DF1EA848}" presName="sibTrans" presStyleCnt="0"/>
      <dgm:spPr/>
    </dgm:pt>
    <dgm:pt modelId="{259269CD-1B20-4473-A7DB-D9276002434F}" type="pres">
      <dgm:prSet presAssocID="{D3076F44-E6C1-4E6C-AAD6-2E232FBA92DD}" presName="compNode" presStyleCnt="0"/>
      <dgm:spPr/>
    </dgm:pt>
    <dgm:pt modelId="{372A1BFE-4EDB-421C-A337-9344F3D742A8}" type="pres">
      <dgm:prSet presAssocID="{D3076F44-E6C1-4E6C-AAD6-2E232FBA92DD}" presName="iconBgRect" presStyleLbl="bgShp" presStyleIdx="4" presStyleCnt="6"/>
      <dgm:spPr>
        <a:prstGeom prst="round2DiagRect">
          <a:avLst>
            <a:gd name="adj1" fmla="val 29727"/>
            <a:gd name="adj2" fmla="val 0"/>
          </a:avLst>
        </a:prstGeom>
      </dgm:spPr>
    </dgm:pt>
    <dgm:pt modelId="{FDAAD44F-C84B-4A03-B24E-817E33AE9F19}" type="pres">
      <dgm:prSet presAssocID="{D3076F44-E6C1-4E6C-AAD6-2E232FBA92DD}"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Warning"/>
        </a:ext>
      </dgm:extLst>
    </dgm:pt>
    <dgm:pt modelId="{13246422-C566-4038-923E-13FDA1650CD1}" type="pres">
      <dgm:prSet presAssocID="{D3076F44-E6C1-4E6C-AAD6-2E232FBA92DD}" presName="spaceRect" presStyleCnt="0"/>
      <dgm:spPr/>
    </dgm:pt>
    <dgm:pt modelId="{FA31A51C-3D82-4A72-8AE2-E0284D8AFAEA}" type="pres">
      <dgm:prSet presAssocID="{D3076F44-E6C1-4E6C-AAD6-2E232FBA92DD}" presName="textRect" presStyleLbl="revTx" presStyleIdx="4" presStyleCnt="6">
        <dgm:presLayoutVars>
          <dgm:chMax val="1"/>
          <dgm:chPref val="1"/>
        </dgm:presLayoutVars>
      </dgm:prSet>
      <dgm:spPr/>
    </dgm:pt>
    <dgm:pt modelId="{4DF0EA80-34E0-472B-9567-CEC03D3A0902}" type="pres">
      <dgm:prSet presAssocID="{9E2E1B40-D454-44E9-AE3C-1B883E4D1C6E}" presName="sibTrans" presStyleCnt="0"/>
      <dgm:spPr/>
    </dgm:pt>
    <dgm:pt modelId="{BD2D7F4A-3FFA-44A7-80F7-F3B7DC3A0716}" type="pres">
      <dgm:prSet presAssocID="{6B43FCED-0861-442B-B3F0-29B69AF65172}" presName="compNode" presStyleCnt="0"/>
      <dgm:spPr/>
    </dgm:pt>
    <dgm:pt modelId="{110F44A7-830B-44BA-A929-F7673F9F60F6}" type="pres">
      <dgm:prSet presAssocID="{6B43FCED-0861-442B-B3F0-29B69AF65172}" presName="iconBgRect" presStyleLbl="bgShp" presStyleIdx="5" presStyleCnt="6"/>
      <dgm:spPr>
        <a:prstGeom prst="round2DiagRect">
          <a:avLst>
            <a:gd name="adj1" fmla="val 29727"/>
            <a:gd name="adj2" fmla="val 0"/>
          </a:avLst>
        </a:prstGeom>
      </dgm:spPr>
    </dgm:pt>
    <dgm:pt modelId="{45F522E9-69A1-44B1-948D-C86B10721187}" type="pres">
      <dgm:prSet presAssocID="{6B43FCED-0861-442B-B3F0-29B69AF65172}"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Network"/>
        </a:ext>
      </dgm:extLst>
    </dgm:pt>
    <dgm:pt modelId="{427AB003-85AA-43F6-B86F-B4C631E910EB}" type="pres">
      <dgm:prSet presAssocID="{6B43FCED-0861-442B-B3F0-29B69AF65172}" presName="spaceRect" presStyleCnt="0"/>
      <dgm:spPr/>
    </dgm:pt>
    <dgm:pt modelId="{DA645DEC-FC05-4B98-8F80-AF32ADE19BE7}" type="pres">
      <dgm:prSet presAssocID="{6B43FCED-0861-442B-B3F0-29B69AF65172}" presName="textRect" presStyleLbl="revTx" presStyleIdx="5" presStyleCnt="6">
        <dgm:presLayoutVars>
          <dgm:chMax val="1"/>
          <dgm:chPref val="1"/>
        </dgm:presLayoutVars>
      </dgm:prSet>
      <dgm:spPr/>
    </dgm:pt>
  </dgm:ptLst>
  <dgm:cxnLst>
    <dgm:cxn modelId="{FF1A291A-91AA-4425-998F-E28B1291C3A1}" type="presOf" srcId="{03C63528-6382-4F8D-A75C-30B432A51597}" destId="{B069BEB9-CA79-4D28-B793-377461F2D03D}" srcOrd="0" destOrd="0" presId="urn:microsoft.com/office/officeart/2018/5/layout/IconLeafLabelList"/>
    <dgm:cxn modelId="{F7D2121E-6DA5-4ABF-A253-2FD718A489F0}" srcId="{EA87021D-0B36-4D09-B1A9-9617A27134CE}" destId="{6B43FCED-0861-442B-B3F0-29B69AF65172}" srcOrd="5" destOrd="0" parTransId="{3716AA2B-96A2-4CDE-83E1-5F2258B64BB1}" sibTransId="{017CF684-14F2-46B8-A549-5333FCABCD5A}"/>
    <dgm:cxn modelId="{C7B5FF55-19E6-4905-9FAA-ECD50B580A4B}" srcId="{EA87021D-0B36-4D09-B1A9-9617A27134CE}" destId="{608F5961-12D3-41B5-95FC-0BA2CB70D29E}" srcOrd="2" destOrd="0" parTransId="{8CA8BD36-F36C-4E21-AE1F-410E9A375D13}" sibTransId="{4BF8CD60-36D0-4BC7-8814-02502BF74C31}"/>
    <dgm:cxn modelId="{2378235A-00BF-46F5-9F28-321AFBCEDF53}" type="presOf" srcId="{737C8B1A-3000-4F71-A918-02530B9F9722}" destId="{481856B0-A37A-4BB5-9AD9-7992F480B4C7}" srcOrd="0" destOrd="0" presId="urn:microsoft.com/office/officeart/2018/5/layout/IconLeafLabelList"/>
    <dgm:cxn modelId="{C1DF0365-AF19-4390-AA60-089075FCC605}" srcId="{EA87021D-0B36-4D09-B1A9-9617A27134CE}" destId="{03C63528-6382-4F8D-A75C-30B432A51597}" srcOrd="1" destOrd="0" parTransId="{2117BA10-D753-4D23-9533-E90BF40C4D37}" sibTransId="{5D15FE77-A93B-4842-85C8-791D2A7F86A4}"/>
    <dgm:cxn modelId="{C6772188-D69C-4835-959C-7632CE24ADC7}" type="presOf" srcId="{6B43FCED-0861-442B-B3F0-29B69AF65172}" destId="{DA645DEC-FC05-4B98-8F80-AF32ADE19BE7}" srcOrd="0" destOrd="0" presId="urn:microsoft.com/office/officeart/2018/5/layout/IconLeafLabelList"/>
    <dgm:cxn modelId="{A59FB89C-5C98-4B30-A57C-5457BA9E1DB6}" srcId="{EA87021D-0B36-4D09-B1A9-9617A27134CE}" destId="{50076DE8-F74F-444E-BBF5-4CB073974687}" srcOrd="0" destOrd="0" parTransId="{226AEF07-84B2-4D33-B4F2-4AECA1D30A53}" sibTransId="{8A27B99A-8FD4-4CA7-90C3-6C7FE663000A}"/>
    <dgm:cxn modelId="{B290C8A9-DF53-4F54-A6BB-BE47CFA68457}" type="presOf" srcId="{50076DE8-F74F-444E-BBF5-4CB073974687}" destId="{CE8A6381-581E-4128-8D54-CA4AE1F94172}" srcOrd="0" destOrd="0" presId="urn:microsoft.com/office/officeart/2018/5/layout/IconLeafLabelList"/>
    <dgm:cxn modelId="{2435B2C4-4A9B-4DEF-A17B-E5F47A9EDA55}" type="presOf" srcId="{D3076F44-E6C1-4E6C-AAD6-2E232FBA92DD}" destId="{FA31A51C-3D82-4A72-8AE2-E0284D8AFAEA}" srcOrd="0" destOrd="0" presId="urn:microsoft.com/office/officeart/2018/5/layout/IconLeafLabelList"/>
    <dgm:cxn modelId="{4B9F9FCC-50C8-480E-A742-A6DED85352B5}" type="presOf" srcId="{EA87021D-0B36-4D09-B1A9-9617A27134CE}" destId="{A0893625-96DC-4E8E-A12E-78FE6BA1D706}" srcOrd="0" destOrd="0" presId="urn:microsoft.com/office/officeart/2018/5/layout/IconLeafLabelList"/>
    <dgm:cxn modelId="{D1A04AE4-3204-48E1-BC10-A9356FFF6ACA}" srcId="{EA87021D-0B36-4D09-B1A9-9617A27134CE}" destId="{737C8B1A-3000-4F71-A918-02530B9F9722}" srcOrd="3" destOrd="0" parTransId="{51A93CA7-9025-4DD0-B5BE-3B036668ED9A}" sibTransId="{2B394236-3F18-425A-BAAD-D472DF1EA848}"/>
    <dgm:cxn modelId="{02D858E5-36C9-4E51-8BE4-537F903497DF}" type="presOf" srcId="{608F5961-12D3-41B5-95FC-0BA2CB70D29E}" destId="{E75FCB56-4650-4C95-AFC2-CB6686BCB2E1}" srcOrd="0" destOrd="0" presId="urn:microsoft.com/office/officeart/2018/5/layout/IconLeafLabelList"/>
    <dgm:cxn modelId="{A0EBD4FE-A98D-4E27-B2AC-AF80AA352470}" srcId="{EA87021D-0B36-4D09-B1A9-9617A27134CE}" destId="{D3076F44-E6C1-4E6C-AAD6-2E232FBA92DD}" srcOrd="4" destOrd="0" parTransId="{FEA67398-5B73-453B-AA6B-D66893373002}" sibTransId="{9E2E1B40-D454-44E9-AE3C-1B883E4D1C6E}"/>
    <dgm:cxn modelId="{1F3F40DB-CD99-4CF1-972A-E9D085DF2BB4}" type="presParOf" srcId="{A0893625-96DC-4E8E-A12E-78FE6BA1D706}" destId="{9E14457B-D49D-498A-9A67-CE7359513853}" srcOrd="0" destOrd="0" presId="urn:microsoft.com/office/officeart/2018/5/layout/IconLeafLabelList"/>
    <dgm:cxn modelId="{9EFC0BE4-F48C-4876-8174-79ACDF2AC350}" type="presParOf" srcId="{9E14457B-D49D-498A-9A67-CE7359513853}" destId="{FAA7AE0E-FCC6-4650-BF54-381AC9DBB79B}" srcOrd="0" destOrd="0" presId="urn:microsoft.com/office/officeart/2018/5/layout/IconLeafLabelList"/>
    <dgm:cxn modelId="{D6F67829-D697-4ABA-A478-E3BC69AC6475}" type="presParOf" srcId="{9E14457B-D49D-498A-9A67-CE7359513853}" destId="{68E8E4BA-2616-4F39-87B8-83659166FC26}" srcOrd="1" destOrd="0" presId="urn:microsoft.com/office/officeart/2018/5/layout/IconLeafLabelList"/>
    <dgm:cxn modelId="{9F9B0828-74E8-4717-813C-4710742161B5}" type="presParOf" srcId="{9E14457B-D49D-498A-9A67-CE7359513853}" destId="{FE9C35CE-BE94-40CF-B57A-AE76B3ED12D6}" srcOrd="2" destOrd="0" presId="urn:microsoft.com/office/officeart/2018/5/layout/IconLeafLabelList"/>
    <dgm:cxn modelId="{B3C3D1AB-5D94-4237-8F8A-0206BDCA7CC6}" type="presParOf" srcId="{9E14457B-D49D-498A-9A67-CE7359513853}" destId="{CE8A6381-581E-4128-8D54-CA4AE1F94172}" srcOrd="3" destOrd="0" presId="urn:microsoft.com/office/officeart/2018/5/layout/IconLeafLabelList"/>
    <dgm:cxn modelId="{4651406E-4F35-420B-9AA2-6D87669208D5}" type="presParOf" srcId="{A0893625-96DC-4E8E-A12E-78FE6BA1D706}" destId="{D6BEBA78-A109-4A46-B343-0B92241F3078}" srcOrd="1" destOrd="0" presId="urn:microsoft.com/office/officeart/2018/5/layout/IconLeafLabelList"/>
    <dgm:cxn modelId="{D55BB5FA-9A60-4763-A158-9540E23F1506}" type="presParOf" srcId="{A0893625-96DC-4E8E-A12E-78FE6BA1D706}" destId="{1792F681-9960-4EC6-A2EF-A01799DBA433}" srcOrd="2" destOrd="0" presId="urn:microsoft.com/office/officeart/2018/5/layout/IconLeafLabelList"/>
    <dgm:cxn modelId="{1FB190DF-1D7D-4B8A-912E-8FD95D99129E}" type="presParOf" srcId="{1792F681-9960-4EC6-A2EF-A01799DBA433}" destId="{D866F4BA-4B79-4582-9318-E58AA739D7A8}" srcOrd="0" destOrd="0" presId="urn:microsoft.com/office/officeart/2018/5/layout/IconLeafLabelList"/>
    <dgm:cxn modelId="{27CE748B-1FA3-4755-A055-03FAA69FD28B}" type="presParOf" srcId="{1792F681-9960-4EC6-A2EF-A01799DBA433}" destId="{F22CA120-B4C5-435A-86AA-353C4DD9759D}" srcOrd="1" destOrd="0" presId="urn:microsoft.com/office/officeart/2018/5/layout/IconLeafLabelList"/>
    <dgm:cxn modelId="{4CAF7BCC-51A8-422A-BA89-CED75FA4EAEC}" type="presParOf" srcId="{1792F681-9960-4EC6-A2EF-A01799DBA433}" destId="{339DC576-A68A-42AF-8FD8-E5BBB09872DC}" srcOrd="2" destOrd="0" presId="urn:microsoft.com/office/officeart/2018/5/layout/IconLeafLabelList"/>
    <dgm:cxn modelId="{B7B602AD-6634-4C1A-97FE-A5F332012E5D}" type="presParOf" srcId="{1792F681-9960-4EC6-A2EF-A01799DBA433}" destId="{B069BEB9-CA79-4D28-B793-377461F2D03D}" srcOrd="3" destOrd="0" presId="urn:microsoft.com/office/officeart/2018/5/layout/IconLeafLabelList"/>
    <dgm:cxn modelId="{487A7C86-C350-461C-B62D-3C3A60B45CF7}" type="presParOf" srcId="{A0893625-96DC-4E8E-A12E-78FE6BA1D706}" destId="{8F7839CB-2171-4410-B202-54341D74D1B9}" srcOrd="3" destOrd="0" presId="urn:microsoft.com/office/officeart/2018/5/layout/IconLeafLabelList"/>
    <dgm:cxn modelId="{2C394130-AEE4-4B6C-8537-39B2863A1467}" type="presParOf" srcId="{A0893625-96DC-4E8E-A12E-78FE6BA1D706}" destId="{A75D2287-7DEA-4175-8E1D-02571548A899}" srcOrd="4" destOrd="0" presId="urn:microsoft.com/office/officeart/2018/5/layout/IconLeafLabelList"/>
    <dgm:cxn modelId="{EE13DF0B-673B-4FEE-9E74-47DD8EF1A3AD}" type="presParOf" srcId="{A75D2287-7DEA-4175-8E1D-02571548A899}" destId="{D420AA65-CDE7-47E0-BD05-9186E6B7EB89}" srcOrd="0" destOrd="0" presId="urn:microsoft.com/office/officeart/2018/5/layout/IconLeafLabelList"/>
    <dgm:cxn modelId="{173C1415-AD02-4F11-A9CC-E5AE9BAD2795}" type="presParOf" srcId="{A75D2287-7DEA-4175-8E1D-02571548A899}" destId="{C1B387CD-636C-4E7B-A8B8-05D0A636539D}" srcOrd="1" destOrd="0" presId="urn:microsoft.com/office/officeart/2018/5/layout/IconLeafLabelList"/>
    <dgm:cxn modelId="{D6EDE116-2993-47AD-AEFA-83A95A407C0B}" type="presParOf" srcId="{A75D2287-7DEA-4175-8E1D-02571548A899}" destId="{A71CED6A-F091-47AC-ADBE-6CDC696D5416}" srcOrd="2" destOrd="0" presId="urn:microsoft.com/office/officeart/2018/5/layout/IconLeafLabelList"/>
    <dgm:cxn modelId="{BB124FEC-FD54-4E58-B056-52DB7984ABDD}" type="presParOf" srcId="{A75D2287-7DEA-4175-8E1D-02571548A899}" destId="{E75FCB56-4650-4C95-AFC2-CB6686BCB2E1}" srcOrd="3" destOrd="0" presId="urn:microsoft.com/office/officeart/2018/5/layout/IconLeafLabelList"/>
    <dgm:cxn modelId="{B36D3362-B8F8-4EC5-9D2E-29B8ACD3E16C}" type="presParOf" srcId="{A0893625-96DC-4E8E-A12E-78FE6BA1D706}" destId="{C63C669A-68A2-4A20-9349-B1E656D831F2}" srcOrd="5" destOrd="0" presId="urn:microsoft.com/office/officeart/2018/5/layout/IconLeafLabelList"/>
    <dgm:cxn modelId="{9FF4C50E-1A9E-49F7-B35D-07B36B741859}" type="presParOf" srcId="{A0893625-96DC-4E8E-A12E-78FE6BA1D706}" destId="{70F120DA-5387-4B73-900C-468C1875BB47}" srcOrd="6" destOrd="0" presId="urn:microsoft.com/office/officeart/2018/5/layout/IconLeafLabelList"/>
    <dgm:cxn modelId="{37DF6F1C-873A-4BB5-A92D-98E647C6BFB4}" type="presParOf" srcId="{70F120DA-5387-4B73-900C-468C1875BB47}" destId="{8246830E-0089-4654-813B-E05574EBAC2F}" srcOrd="0" destOrd="0" presId="urn:microsoft.com/office/officeart/2018/5/layout/IconLeafLabelList"/>
    <dgm:cxn modelId="{635B17C9-1882-4709-9241-14BB0F7EC233}" type="presParOf" srcId="{70F120DA-5387-4B73-900C-468C1875BB47}" destId="{25F6D20C-0963-4649-B8AB-4764D51C7650}" srcOrd="1" destOrd="0" presId="urn:microsoft.com/office/officeart/2018/5/layout/IconLeafLabelList"/>
    <dgm:cxn modelId="{3A1C34A0-576E-4375-972F-B6438C8B886F}" type="presParOf" srcId="{70F120DA-5387-4B73-900C-468C1875BB47}" destId="{00C08ECE-01DA-4FD1-AC05-38ACACC7EDE6}" srcOrd="2" destOrd="0" presId="urn:microsoft.com/office/officeart/2018/5/layout/IconLeafLabelList"/>
    <dgm:cxn modelId="{520CD12E-FDEB-4260-997D-E7BE3885E168}" type="presParOf" srcId="{70F120DA-5387-4B73-900C-468C1875BB47}" destId="{481856B0-A37A-4BB5-9AD9-7992F480B4C7}" srcOrd="3" destOrd="0" presId="urn:microsoft.com/office/officeart/2018/5/layout/IconLeafLabelList"/>
    <dgm:cxn modelId="{9FD86348-E37B-411D-9521-B5194D3F5DAD}" type="presParOf" srcId="{A0893625-96DC-4E8E-A12E-78FE6BA1D706}" destId="{B135D24F-B244-4A1F-8C93-D0E2D00AC55E}" srcOrd="7" destOrd="0" presId="urn:microsoft.com/office/officeart/2018/5/layout/IconLeafLabelList"/>
    <dgm:cxn modelId="{7FC084F1-3163-4163-A449-F4997A998FAB}" type="presParOf" srcId="{A0893625-96DC-4E8E-A12E-78FE6BA1D706}" destId="{259269CD-1B20-4473-A7DB-D9276002434F}" srcOrd="8" destOrd="0" presId="urn:microsoft.com/office/officeart/2018/5/layout/IconLeafLabelList"/>
    <dgm:cxn modelId="{82CF4E5F-6342-4A4B-9CB3-6A52B9A701ED}" type="presParOf" srcId="{259269CD-1B20-4473-A7DB-D9276002434F}" destId="{372A1BFE-4EDB-421C-A337-9344F3D742A8}" srcOrd="0" destOrd="0" presId="urn:microsoft.com/office/officeart/2018/5/layout/IconLeafLabelList"/>
    <dgm:cxn modelId="{4E3E56BF-04D2-46DA-A903-8A2548C15308}" type="presParOf" srcId="{259269CD-1B20-4473-A7DB-D9276002434F}" destId="{FDAAD44F-C84B-4A03-B24E-817E33AE9F19}" srcOrd="1" destOrd="0" presId="urn:microsoft.com/office/officeart/2018/5/layout/IconLeafLabelList"/>
    <dgm:cxn modelId="{9BF38798-7708-44C4-A2F0-9DEBCDABE6A6}" type="presParOf" srcId="{259269CD-1B20-4473-A7DB-D9276002434F}" destId="{13246422-C566-4038-923E-13FDA1650CD1}" srcOrd="2" destOrd="0" presId="urn:microsoft.com/office/officeart/2018/5/layout/IconLeafLabelList"/>
    <dgm:cxn modelId="{6CD745C3-DF14-40EE-A73C-AE2C440EEC11}" type="presParOf" srcId="{259269CD-1B20-4473-A7DB-D9276002434F}" destId="{FA31A51C-3D82-4A72-8AE2-E0284D8AFAEA}" srcOrd="3" destOrd="0" presId="urn:microsoft.com/office/officeart/2018/5/layout/IconLeafLabelList"/>
    <dgm:cxn modelId="{1BFF326D-0BB3-4CDE-8C35-EC99A87A325B}" type="presParOf" srcId="{A0893625-96DC-4E8E-A12E-78FE6BA1D706}" destId="{4DF0EA80-34E0-472B-9567-CEC03D3A0902}" srcOrd="9" destOrd="0" presId="urn:microsoft.com/office/officeart/2018/5/layout/IconLeafLabelList"/>
    <dgm:cxn modelId="{22A0A905-A4EC-440F-B7F3-F9EC07E078E2}" type="presParOf" srcId="{A0893625-96DC-4E8E-A12E-78FE6BA1D706}" destId="{BD2D7F4A-3FFA-44A7-80F7-F3B7DC3A0716}" srcOrd="10" destOrd="0" presId="urn:microsoft.com/office/officeart/2018/5/layout/IconLeafLabelList"/>
    <dgm:cxn modelId="{A6595E1B-CC99-4664-9146-58FB92F2034E}" type="presParOf" srcId="{BD2D7F4A-3FFA-44A7-80F7-F3B7DC3A0716}" destId="{110F44A7-830B-44BA-A929-F7673F9F60F6}" srcOrd="0" destOrd="0" presId="urn:microsoft.com/office/officeart/2018/5/layout/IconLeafLabelList"/>
    <dgm:cxn modelId="{59C483F5-267B-4209-AF21-EEE191A1F68B}" type="presParOf" srcId="{BD2D7F4A-3FFA-44A7-80F7-F3B7DC3A0716}" destId="{45F522E9-69A1-44B1-948D-C86B10721187}" srcOrd="1" destOrd="0" presId="urn:microsoft.com/office/officeart/2018/5/layout/IconLeafLabelList"/>
    <dgm:cxn modelId="{2045D782-6D80-4AEB-8C0F-7F38DCE9F428}" type="presParOf" srcId="{BD2D7F4A-3FFA-44A7-80F7-F3B7DC3A0716}" destId="{427AB003-85AA-43F6-B86F-B4C631E910EB}" srcOrd="2" destOrd="0" presId="urn:microsoft.com/office/officeart/2018/5/layout/IconLeafLabelList"/>
    <dgm:cxn modelId="{062405A7-4426-4550-B98C-FC60A58B3EAF}" type="presParOf" srcId="{BD2D7F4A-3FFA-44A7-80F7-F3B7DC3A0716}" destId="{DA645DEC-FC05-4B98-8F80-AF32ADE19BE7}" srcOrd="3" destOrd="0" presId="urn:microsoft.com/office/officeart/2018/5/layout/IconLeaf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AA2CB0E-0DFB-4898-B09B-8F8B600FCCF2}" type="doc">
      <dgm:prSet loTypeId="urn:microsoft.com/office/officeart/2018/2/layout/IconVerticalSolidList" loCatId="icon" qsTypeId="urn:microsoft.com/office/officeart/2005/8/quickstyle/simple4" qsCatId="simple" csTypeId="urn:microsoft.com/office/officeart/2018/5/colors/Iconchunking_neutralbg_colorful1" csCatId="colorful" phldr="1"/>
      <dgm:spPr/>
      <dgm:t>
        <a:bodyPr/>
        <a:lstStyle/>
        <a:p>
          <a:endParaRPr lang="en-US"/>
        </a:p>
      </dgm:t>
    </dgm:pt>
    <dgm:pt modelId="{4DB351A8-CF7E-4721-BA1C-BDF999F8B5D7}">
      <dgm:prSet/>
      <dgm:spPr/>
      <dgm:t>
        <a:bodyPr/>
        <a:lstStyle/>
        <a:p>
          <a:r>
            <a:rPr lang="en-US" b="1"/>
            <a:t>Easy Enablement &amp; Integration</a:t>
          </a:r>
          <a:endParaRPr lang="en-US"/>
        </a:p>
      </dgm:t>
    </dgm:pt>
    <dgm:pt modelId="{FF974BF5-404D-4CE6-A5F5-0045C6EB9A61}" type="parTrans" cxnId="{2558A3ED-CCD3-49FC-9968-598E53A934B7}">
      <dgm:prSet/>
      <dgm:spPr/>
      <dgm:t>
        <a:bodyPr/>
        <a:lstStyle/>
        <a:p>
          <a:endParaRPr lang="en-US"/>
        </a:p>
      </dgm:t>
    </dgm:pt>
    <dgm:pt modelId="{FD367920-5435-4BD6-ADF0-9776FD54A30C}" type="sibTrans" cxnId="{2558A3ED-CCD3-49FC-9968-598E53A934B7}">
      <dgm:prSet/>
      <dgm:spPr/>
      <dgm:t>
        <a:bodyPr/>
        <a:lstStyle/>
        <a:p>
          <a:endParaRPr lang="en-US"/>
        </a:p>
      </dgm:t>
    </dgm:pt>
    <dgm:pt modelId="{31CBAD6B-50D2-4BD2-ACFE-003EEE4E2311}">
      <dgm:prSet/>
      <dgm:spPr/>
      <dgm:t>
        <a:bodyPr/>
        <a:lstStyle/>
        <a:p>
          <a:r>
            <a:rPr lang="en-US" b="1"/>
            <a:t>No Development / No Code Required</a:t>
          </a:r>
          <a:endParaRPr lang="en-US"/>
        </a:p>
      </dgm:t>
    </dgm:pt>
    <dgm:pt modelId="{823E0515-53D4-4EA5-A78B-FC13B589E01C}" type="parTrans" cxnId="{66BCCB12-67A3-428E-9A2D-0A15F6DB1166}">
      <dgm:prSet/>
      <dgm:spPr/>
      <dgm:t>
        <a:bodyPr/>
        <a:lstStyle/>
        <a:p>
          <a:endParaRPr lang="en-US"/>
        </a:p>
      </dgm:t>
    </dgm:pt>
    <dgm:pt modelId="{DFAEE99D-7F90-4F2A-9232-110317CF3AA0}" type="sibTrans" cxnId="{66BCCB12-67A3-428E-9A2D-0A15F6DB1166}">
      <dgm:prSet/>
      <dgm:spPr/>
      <dgm:t>
        <a:bodyPr/>
        <a:lstStyle/>
        <a:p>
          <a:endParaRPr lang="en-US"/>
        </a:p>
      </dgm:t>
    </dgm:pt>
    <dgm:pt modelId="{2173F547-830E-4887-A8D4-523CB054322F}">
      <dgm:prSet/>
      <dgm:spPr/>
      <dgm:t>
        <a:bodyPr/>
        <a:lstStyle/>
        <a:p>
          <a:r>
            <a:rPr lang="en-US" b="1"/>
            <a:t>Customer Self-Service Activation</a:t>
          </a:r>
          <a:endParaRPr lang="en-US"/>
        </a:p>
      </dgm:t>
    </dgm:pt>
    <dgm:pt modelId="{8EC6F2B9-3C1A-4890-BDB4-50ABEB9C4CC0}" type="parTrans" cxnId="{890033AE-5E69-4F97-8EBE-CB6428AC8B81}">
      <dgm:prSet/>
      <dgm:spPr/>
      <dgm:t>
        <a:bodyPr/>
        <a:lstStyle/>
        <a:p>
          <a:endParaRPr lang="en-US"/>
        </a:p>
      </dgm:t>
    </dgm:pt>
    <dgm:pt modelId="{2C3A2541-F35C-4A96-B916-534E8EF26651}" type="sibTrans" cxnId="{890033AE-5E69-4F97-8EBE-CB6428AC8B81}">
      <dgm:prSet/>
      <dgm:spPr/>
      <dgm:t>
        <a:bodyPr/>
        <a:lstStyle/>
        <a:p>
          <a:endParaRPr lang="en-US"/>
        </a:p>
      </dgm:t>
    </dgm:pt>
    <dgm:pt modelId="{718205D1-AF99-4E1F-AB9B-3A2F59F9E0F1}">
      <dgm:prSet/>
      <dgm:spPr/>
      <dgm:t>
        <a:bodyPr/>
        <a:lstStyle/>
        <a:p>
          <a:r>
            <a:rPr lang="en-US" b="1"/>
            <a:t>Enhances User Experience</a:t>
          </a:r>
          <a:endParaRPr lang="en-US"/>
        </a:p>
      </dgm:t>
    </dgm:pt>
    <dgm:pt modelId="{819D1712-BEB3-461A-A6B6-0FF35463DE28}" type="parTrans" cxnId="{32D7D1BB-8876-4442-B595-7DD6487BAAC1}">
      <dgm:prSet/>
      <dgm:spPr/>
      <dgm:t>
        <a:bodyPr/>
        <a:lstStyle/>
        <a:p>
          <a:endParaRPr lang="en-US"/>
        </a:p>
      </dgm:t>
    </dgm:pt>
    <dgm:pt modelId="{29507A29-ED9B-4D16-B355-F67120A165C9}" type="sibTrans" cxnId="{32D7D1BB-8876-4442-B595-7DD6487BAAC1}">
      <dgm:prSet/>
      <dgm:spPr/>
      <dgm:t>
        <a:bodyPr/>
        <a:lstStyle/>
        <a:p>
          <a:endParaRPr lang="en-US"/>
        </a:p>
      </dgm:t>
    </dgm:pt>
    <dgm:pt modelId="{0902FA42-D949-41E9-8234-74D2683F7AF2}">
      <dgm:prSet/>
      <dgm:spPr/>
      <dgm:t>
        <a:bodyPr/>
        <a:lstStyle/>
        <a:p>
          <a:r>
            <a:rPr lang="en-US" b="1"/>
            <a:t>Improves Scalability of Any Internet Facing Service</a:t>
          </a:r>
          <a:endParaRPr lang="en-US"/>
        </a:p>
      </dgm:t>
    </dgm:pt>
    <dgm:pt modelId="{A58663F9-D402-4D57-962C-03F9F5C0A2CE}" type="parTrans" cxnId="{968208BB-8A19-4ED9-A854-954F73274C90}">
      <dgm:prSet/>
      <dgm:spPr/>
      <dgm:t>
        <a:bodyPr/>
        <a:lstStyle/>
        <a:p>
          <a:endParaRPr lang="en-US"/>
        </a:p>
      </dgm:t>
    </dgm:pt>
    <dgm:pt modelId="{D2193F2E-3C76-4821-A24C-F1351DD4348F}" type="sibTrans" cxnId="{968208BB-8A19-4ED9-A854-954F73274C90}">
      <dgm:prSet/>
      <dgm:spPr/>
      <dgm:t>
        <a:bodyPr/>
        <a:lstStyle/>
        <a:p>
          <a:endParaRPr lang="en-US"/>
        </a:p>
      </dgm:t>
    </dgm:pt>
    <dgm:pt modelId="{653A27B0-FE7F-4446-8D47-A3AD03F49B3E}">
      <dgm:prSet/>
      <dgm:spPr/>
      <dgm:t>
        <a:bodyPr/>
        <a:lstStyle/>
        <a:p>
          <a:r>
            <a:rPr lang="en-US" b="1"/>
            <a:t>Automatic Scaling, Increased Usage Increased Consumption</a:t>
          </a:r>
          <a:endParaRPr lang="en-US"/>
        </a:p>
      </dgm:t>
    </dgm:pt>
    <dgm:pt modelId="{146AA876-CD16-47C2-826A-2804AB877961}" type="parTrans" cxnId="{E3724FE6-40A9-4790-8055-120A05B87ABC}">
      <dgm:prSet/>
      <dgm:spPr/>
      <dgm:t>
        <a:bodyPr/>
        <a:lstStyle/>
        <a:p>
          <a:endParaRPr lang="en-US"/>
        </a:p>
      </dgm:t>
    </dgm:pt>
    <dgm:pt modelId="{D9BFE048-0341-4C4B-A0D8-F5DFB1E8162D}" type="sibTrans" cxnId="{E3724FE6-40A9-4790-8055-120A05B87ABC}">
      <dgm:prSet/>
      <dgm:spPr/>
      <dgm:t>
        <a:bodyPr/>
        <a:lstStyle/>
        <a:p>
          <a:endParaRPr lang="en-US"/>
        </a:p>
      </dgm:t>
    </dgm:pt>
    <dgm:pt modelId="{F3516C50-866C-42B5-A391-55C972302334}" type="pres">
      <dgm:prSet presAssocID="{5AA2CB0E-0DFB-4898-B09B-8F8B600FCCF2}" presName="root" presStyleCnt="0">
        <dgm:presLayoutVars>
          <dgm:dir/>
          <dgm:resizeHandles val="exact"/>
        </dgm:presLayoutVars>
      </dgm:prSet>
      <dgm:spPr/>
    </dgm:pt>
    <dgm:pt modelId="{88C8E67F-374D-4717-8B29-6CE9C47030E1}" type="pres">
      <dgm:prSet presAssocID="{4DB351A8-CF7E-4721-BA1C-BDF999F8B5D7}" presName="compNode" presStyleCnt="0"/>
      <dgm:spPr/>
    </dgm:pt>
    <dgm:pt modelId="{6C017E73-BD0E-4340-B4B0-5DA102AD2187}" type="pres">
      <dgm:prSet presAssocID="{4DB351A8-CF7E-4721-BA1C-BDF999F8B5D7}" presName="bgRect" presStyleLbl="bgShp" presStyleIdx="0" presStyleCnt="6"/>
      <dgm:spPr/>
    </dgm:pt>
    <dgm:pt modelId="{A68351CB-BB7F-4892-AC8A-B3E740D21032}" type="pres">
      <dgm:prSet presAssocID="{4DB351A8-CF7E-4721-BA1C-BDF999F8B5D7}"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Wrench"/>
        </a:ext>
      </dgm:extLst>
    </dgm:pt>
    <dgm:pt modelId="{A54B153C-14E6-4B68-858C-17B820522065}" type="pres">
      <dgm:prSet presAssocID="{4DB351A8-CF7E-4721-BA1C-BDF999F8B5D7}" presName="spaceRect" presStyleCnt="0"/>
      <dgm:spPr/>
    </dgm:pt>
    <dgm:pt modelId="{9D476E54-3355-4F23-ADBA-2E63F48911A6}" type="pres">
      <dgm:prSet presAssocID="{4DB351A8-CF7E-4721-BA1C-BDF999F8B5D7}" presName="parTx" presStyleLbl="revTx" presStyleIdx="0" presStyleCnt="6">
        <dgm:presLayoutVars>
          <dgm:chMax val="0"/>
          <dgm:chPref val="0"/>
        </dgm:presLayoutVars>
      </dgm:prSet>
      <dgm:spPr/>
    </dgm:pt>
    <dgm:pt modelId="{900E10C6-A1ED-4C90-BC51-7572897FDF94}" type="pres">
      <dgm:prSet presAssocID="{FD367920-5435-4BD6-ADF0-9776FD54A30C}" presName="sibTrans" presStyleCnt="0"/>
      <dgm:spPr/>
    </dgm:pt>
    <dgm:pt modelId="{CA11377D-4DB6-4C82-ADFB-5378849105AF}" type="pres">
      <dgm:prSet presAssocID="{31CBAD6B-50D2-4BD2-ACFE-003EEE4E2311}" presName="compNode" presStyleCnt="0"/>
      <dgm:spPr/>
    </dgm:pt>
    <dgm:pt modelId="{DF37FC63-DD79-4B07-B4D8-BC5D8E618503}" type="pres">
      <dgm:prSet presAssocID="{31CBAD6B-50D2-4BD2-ACFE-003EEE4E2311}" presName="bgRect" presStyleLbl="bgShp" presStyleIdx="1" presStyleCnt="6"/>
      <dgm:spPr/>
    </dgm:pt>
    <dgm:pt modelId="{A8505828-8E45-436D-919D-373CC4286399}" type="pres">
      <dgm:prSet presAssocID="{31CBAD6B-50D2-4BD2-ACFE-003EEE4E2311}"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User"/>
        </a:ext>
      </dgm:extLst>
    </dgm:pt>
    <dgm:pt modelId="{247CDEE8-2121-4566-9E1C-E5C201F05C6F}" type="pres">
      <dgm:prSet presAssocID="{31CBAD6B-50D2-4BD2-ACFE-003EEE4E2311}" presName="spaceRect" presStyleCnt="0"/>
      <dgm:spPr/>
    </dgm:pt>
    <dgm:pt modelId="{7B0E5DD9-61DB-43B3-92F2-66C5A6E2548B}" type="pres">
      <dgm:prSet presAssocID="{31CBAD6B-50D2-4BD2-ACFE-003EEE4E2311}" presName="parTx" presStyleLbl="revTx" presStyleIdx="1" presStyleCnt="6">
        <dgm:presLayoutVars>
          <dgm:chMax val="0"/>
          <dgm:chPref val="0"/>
        </dgm:presLayoutVars>
      </dgm:prSet>
      <dgm:spPr/>
    </dgm:pt>
    <dgm:pt modelId="{BA4D301C-9CF6-42DD-8C15-B2E8FF29BF1F}" type="pres">
      <dgm:prSet presAssocID="{DFAEE99D-7F90-4F2A-9232-110317CF3AA0}" presName="sibTrans" presStyleCnt="0"/>
      <dgm:spPr/>
    </dgm:pt>
    <dgm:pt modelId="{22786C3E-06E4-462E-8319-A174CA3695EC}" type="pres">
      <dgm:prSet presAssocID="{2173F547-830E-4887-A8D4-523CB054322F}" presName="compNode" presStyleCnt="0"/>
      <dgm:spPr/>
    </dgm:pt>
    <dgm:pt modelId="{3F7BA49E-72A5-4BA7-B812-CC99F6515E5E}" type="pres">
      <dgm:prSet presAssocID="{2173F547-830E-4887-A8D4-523CB054322F}" presName="bgRect" presStyleLbl="bgShp" presStyleIdx="2" presStyleCnt="6"/>
      <dgm:spPr/>
    </dgm:pt>
    <dgm:pt modelId="{381A4A83-1860-4C32-A528-F69593196B22}" type="pres">
      <dgm:prSet presAssocID="{2173F547-830E-4887-A8D4-523CB054322F}"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Grinning Face with Solid Fill"/>
        </a:ext>
      </dgm:extLst>
    </dgm:pt>
    <dgm:pt modelId="{78285474-D5EE-4C57-A6AF-8A970FCF668F}" type="pres">
      <dgm:prSet presAssocID="{2173F547-830E-4887-A8D4-523CB054322F}" presName="spaceRect" presStyleCnt="0"/>
      <dgm:spPr/>
    </dgm:pt>
    <dgm:pt modelId="{F84FEE2F-0461-4FA8-AFBF-B7BA0294D00D}" type="pres">
      <dgm:prSet presAssocID="{2173F547-830E-4887-A8D4-523CB054322F}" presName="parTx" presStyleLbl="revTx" presStyleIdx="2" presStyleCnt="6">
        <dgm:presLayoutVars>
          <dgm:chMax val="0"/>
          <dgm:chPref val="0"/>
        </dgm:presLayoutVars>
      </dgm:prSet>
      <dgm:spPr/>
    </dgm:pt>
    <dgm:pt modelId="{D2301E10-260D-432B-A75D-4AF92E32E3AF}" type="pres">
      <dgm:prSet presAssocID="{2C3A2541-F35C-4A96-B916-534E8EF26651}" presName="sibTrans" presStyleCnt="0"/>
      <dgm:spPr/>
    </dgm:pt>
    <dgm:pt modelId="{77E3C172-FA61-4E7D-A4C3-2CFFE8DBF1F7}" type="pres">
      <dgm:prSet presAssocID="{718205D1-AF99-4E1F-AB9B-3A2F59F9E0F1}" presName="compNode" presStyleCnt="0"/>
      <dgm:spPr/>
    </dgm:pt>
    <dgm:pt modelId="{F854B48F-E489-43A6-AF61-44710CA2F146}" type="pres">
      <dgm:prSet presAssocID="{718205D1-AF99-4E1F-AB9B-3A2F59F9E0F1}" presName="bgRect" presStyleLbl="bgShp" presStyleIdx="3" presStyleCnt="6"/>
      <dgm:spPr/>
    </dgm:pt>
    <dgm:pt modelId="{5C2F5964-40DB-47C1-A4E6-D185360B8554}" type="pres">
      <dgm:prSet presAssocID="{718205D1-AF99-4E1F-AB9B-3A2F59F9E0F1}"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Man"/>
        </a:ext>
      </dgm:extLst>
    </dgm:pt>
    <dgm:pt modelId="{DC45076A-607F-467F-AF6E-C3C44FF1541D}" type="pres">
      <dgm:prSet presAssocID="{718205D1-AF99-4E1F-AB9B-3A2F59F9E0F1}" presName="spaceRect" presStyleCnt="0"/>
      <dgm:spPr/>
    </dgm:pt>
    <dgm:pt modelId="{5FC059A5-38B0-4A62-8C7A-F3937D0787B4}" type="pres">
      <dgm:prSet presAssocID="{718205D1-AF99-4E1F-AB9B-3A2F59F9E0F1}" presName="parTx" presStyleLbl="revTx" presStyleIdx="3" presStyleCnt="6">
        <dgm:presLayoutVars>
          <dgm:chMax val="0"/>
          <dgm:chPref val="0"/>
        </dgm:presLayoutVars>
      </dgm:prSet>
      <dgm:spPr/>
    </dgm:pt>
    <dgm:pt modelId="{297FC64A-D996-4719-8570-2CD7508C5239}" type="pres">
      <dgm:prSet presAssocID="{29507A29-ED9B-4D16-B355-F67120A165C9}" presName="sibTrans" presStyleCnt="0"/>
      <dgm:spPr/>
    </dgm:pt>
    <dgm:pt modelId="{1EC4B22D-B3BB-4A67-8083-5C5F9ED5E948}" type="pres">
      <dgm:prSet presAssocID="{0902FA42-D949-41E9-8234-74D2683F7AF2}" presName="compNode" presStyleCnt="0"/>
      <dgm:spPr/>
    </dgm:pt>
    <dgm:pt modelId="{44ADEE06-9E83-4737-B23B-23E8D743507F}" type="pres">
      <dgm:prSet presAssocID="{0902FA42-D949-41E9-8234-74D2683F7AF2}" presName="bgRect" presStyleLbl="bgShp" presStyleIdx="4" presStyleCnt="6"/>
      <dgm:spPr/>
    </dgm:pt>
    <dgm:pt modelId="{1C9A939A-8DC9-4DBA-9CAE-705530519A30}" type="pres">
      <dgm:prSet presAssocID="{0902FA42-D949-41E9-8234-74D2683F7AF2}"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Database"/>
        </a:ext>
      </dgm:extLst>
    </dgm:pt>
    <dgm:pt modelId="{18B09761-A98E-4AAA-A9A2-8DEF6CC9B3F7}" type="pres">
      <dgm:prSet presAssocID="{0902FA42-D949-41E9-8234-74D2683F7AF2}" presName="spaceRect" presStyleCnt="0"/>
      <dgm:spPr/>
    </dgm:pt>
    <dgm:pt modelId="{D62E8478-1C96-4A44-BF3B-E2FB940DCD57}" type="pres">
      <dgm:prSet presAssocID="{0902FA42-D949-41E9-8234-74D2683F7AF2}" presName="parTx" presStyleLbl="revTx" presStyleIdx="4" presStyleCnt="6">
        <dgm:presLayoutVars>
          <dgm:chMax val="0"/>
          <dgm:chPref val="0"/>
        </dgm:presLayoutVars>
      </dgm:prSet>
      <dgm:spPr/>
    </dgm:pt>
    <dgm:pt modelId="{533E1FDE-8C07-4F66-AC91-C03381F0011A}" type="pres">
      <dgm:prSet presAssocID="{D2193F2E-3C76-4821-A24C-F1351DD4348F}" presName="sibTrans" presStyleCnt="0"/>
      <dgm:spPr/>
    </dgm:pt>
    <dgm:pt modelId="{85F1F8A7-8E03-4657-BCC2-F75F51491AB0}" type="pres">
      <dgm:prSet presAssocID="{653A27B0-FE7F-4446-8D47-A3AD03F49B3E}" presName="compNode" presStyleCnt="0"/>
      <dgm:spPr/>
    </dgm:pt>
    <dgm:pt modelId="{DF4E682E-761C-4703-B852-6887E148CE24}" type="pres">
      <dgm:prSet presAssocID="{653A27B0-FE7F-4446-8D47-A3AD03F49B3E}" presName="bgRect" presStyleLbl="bgShp" presStyleIdx="5" presStyleCnt="6"/>
      <dgm:spPr/>
    </dgm:pt>
    <dgm:pt modelId="{CC135E0B-B4B5-4D89-BC38-C6C553E20961}" type="pres">
      <dgm:prSet presAssocID="{653A27B0-FE7F-4446-8D47-A3AD03F49B3E}"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List"/>
        </a:ext>
      </dgm:extLst>
    </dgm:pt>
    <dgm:pt modelId="{DEF49865-B126-4E79-9A0E-B59A7ABA1193}" type="pres">
      <dgm:prSet presAssocID="{653A27B0-FE7F-4446-8D47-A3AD03F49B3E}" presName="spaceRect" presStyleCnt="0"/>
      <dgm:spPr/>
    </dgm:pt>
    <dgm:pt modelId="{2E585B37-1574-4212-AB35-4C8779CF1510}" type="pres">
      <dgm:prSet presAssocID="{653A27B0-FE7F-4446-8D47-A3AD03F49B3E}" presName="parTx" presStyleLbl="revTx" presStyleIdx="5" presStyleCnt="6">
        <dgm:presLayoutVars>
          <dgm:chMax val="0"/>
          <dgm:chPref val="0"/>
        </dgm:presLayoutVars>
      </dgm:prSet>
      <dgm:spPr/>
    </dgm:pt>
  </dgm:ptLst>
  <dgm:cxnLst>
    <dgm:cxn modelId="{66BCCB12-67A3-428E-9A2D-0A15F6DB1166}" srcId="{5AA2CB0E-0DFB-4898-B09B-8F8B600FCCF2}" destId="{31CBAD6B-50D2-4BD2-ACFE-003EEE4E2311}" srcOrd="1" destOrd="0" parTransId="{823E0515-53D4-4EA5-A78B-FC13B589E01C}" sibTransId="{DFAEE99D-7F90-4F2A-9232-110317CF3AA0}"/>
    <dgm:cxn modelId="{A800EB18-B6E8-4693-AFBC-01D1AEBDE92A}" type="presOf" srcId="{5AA2CB0E-0DFB-4898-B09B-8F8B600FCCF2}" destId="{F3516C50-866C-42B5-A391-55C972302334}" srcOrd="0" destOrd="0" presId="urn:microsoft.com/office/officeart/2018/2/layout/IconVerticalSolidList"/>
    <dgm:cxn modelId="{439FE621-5CCB-4186-92EE-B52132741632}" type="presOf" srcId="{2173F547-830E-4887-A8D4-523CB054322F}" destId="{F84FEE2F-0461-4FA8-AFBF-B7BA0294D00D}" srcOrd="0" destOrd="0" presId="urn:microsoft.com/office/officeart/2018/2/layout/IconVerticalSolidList"/>
    <dgm:cxn modelId="{E46B5225-0650-459A-9D73-F969165CD362}" type="presOf" srcId="{653A27B0-FE7F-4446-8D47-A3AD03F49B3E}" destId="{2E585B37-1574-4212-AB35-4C8779CF1510}" srcOrd="0" destOrd="0" presId="urn:microsoft.com/office/officeart/2018/2/layout/IconVerticalSolidList"/>
    <dgm:cxn modelId="{A842B979-4AF5-4EED-BF70-228F770B52E4}" type="presOf" srcId="{718205D1-AF99-4E1F-AB9B-3A2F59F9E0F1}" destId="{5FC059A5-38B0-4A62-8C7A-F3937D0787B4}" srcOrd="0" destOrd="0" presId="urn:microsoft.com/office/officeart/2018/2/layout/IconVerticalSolidList"/>
    <dgm:cxn modelId="{890033AE-5E69-4F97-8EBE-CB6428AC8B81}" srcId="{5AA2CB0E-0DFB-4898-B09B-8F8B600FCCF2}" destId="{2173F547-830E-4887-A8D4-523CB054322F}" srcOrd="2" destOrd="0" parTransId="{8EC6F2B9-3C1A-4890-BDB4-50ABEB9C4CC0}" sibTransId="{2C3A2541-F35C-4A96-B916-534E8EF26651}"/>
    <dgm:cxn modelId="{968208BB-8A19-4ED9-A854-954F73274C90}" srcId="{5AA2CB0E-0DFB-4898-B09B-8F8B600FCCF2}" destId="{0902FA42-D949-41E9-8234-74D2683F7AF2}" srcOrd="4" destOrd="0" parTransId="{A58663F9-D402-4D57-962C-03F9F5C0A2CE}" sibTransId="{D2193F2E-3C76-4821-A24C-F1351DD4348F}"/>
    <dgm:cxn modelId="{32D7D1BB-8876-4442-B595-7DD6487BAAC1}" srcId="{5AA2CB0E-0DFB-4898-B09B-8F8B600FCCF2}" destId="{718205D1-AF99-4E1F-AB9B-3A2F59F9E0F1}" srcOrd="3" destOrd="0" parTransId="{819D1712-BEB3-461A-A6B6-0FF35463DE28}" sibTransId="{29507A29-ED9B-4D16-B355-F67120A165C9}"/>
    <dgm:cxn modelId="{6B9E8FD9-FA96-4DCC-8367-4FD379AA2B4D}" type="presOf" srcId="{31CBAD6B-50D2-4BD2-ACFE-003EEE4E2311}" destId="{7B0E5DD9-61DB-43B3-92F2-66C5A6E2548B}" srcOrd="0" destOrd="0" presId="urn:microsoft.com/office/officeart/2018/2/layout/IconVerticalSolidList"/>
    <dgm:cxn modelId="{6F9D1DE0-2007-43D3-AC0F-9BDBF5BDFE7F}" type="presOf" srcId="{4DB351A8-CF7E-4721-BA1C-BDF999F8B5D7}" destId="{9D476E54-3355-4F23-ADBA-2E63F48911A6}" srcOrd="0" destOrd="0" presId="urn:microsoft.com/office/officeart/2018/2/layout/IconVerticalSolidList"/>
    <dgm:cxn modelId="{E3724FE6-40A9-4790-8055-120A05B87ABC}" srcId="{5AA2CB0E-0DFB-4898-B09B-8F8B600FCCF2}" destId="{653A27B0-FE7F-4446-8D47-A3AD03F49B3E}" srcOrd="5" destOrd="0" parTransId="{146AA876-CD16-47C2-826A-2804AB877961}" sibTransId="{D9BFE048-0341-4C4B-A0D8-F5DFB1E8162D}"/>
    <dgm:cxn modelId="{14E8ADEC-F11A-4300-91AD-8FE7F8256899}" type="presOf" srcId="{0902FA42-D949-41E9-8234-74D2683F7AF2}" destId="{D62E8478-1C96-4A44-BF3B-E2FB940DCD57}" srcOrd="0" destOrd="0" presId="urn:microsoft.com/office/officeart/2018/2/layout/IconVerticalSolidList"/>
    <dgm:cxn modelId="{2558A3ED-CCD3-49FC-9968-598E53A934B7}" srcId="{5AA2CB0E-0DFB-4898-B09B-8F8B600FCCF2}" destId="{4DB351A8-CF7E-4721-BA1C-BDF999F8B5D7}" srcOrd="0" destOrd="0" parTransId="{FF974BF5-404D-4CE6-A5F5-0045C6EB9A61}" sibTransId="{FD367920-5435-4BD6-ADF0-9776FD54A30C}"/>
    <dgm:cxn modelId="{EE80AA26-FA23-4323-B350-68B2973E78AC}" type="presParOf" srcId="{F3516C50-866C-42B5-A391-55C972302334}" destId="{88C8E67F-374D-4717-8B29-6CE9C47030E1}" srcOrd="0" destOrd="0" presId="urn:microsoft.com/office/officeart/2018/2/layout/IconVerticalSolidList"/>
    <dgm:cxn modelId="{42A45867-AD88-4C13-BA85-E1DE0AEE9BB1}" type="presParOf" srcId="{88C8E67F-374D-4717-8B29-6CE9C47030E1}" destId="{6C017E73-BD0E-4340-B4B0-5DA102AD2187}" srcOrd="0" destOrd="0" presId="urn:microsoft.com/office/officeart/2018/2/layout/IconVerticalSolidList"/>
    <dgm:cxn modelId="{EDE7022E-6A04-4728-A9E8-98F7FA0E0F6B}" type="presParOf" srcId="{88C8E67F-374D-4717-8B29-6CE9C47030E1}" destId="{A68351CB-BB7F-4892-AC8A-B3E740D21032}" srcOrd="1" destOrd="0" presId="urn:microsoft.com/office/officeart/2018/2/layout/IconVerticalSolidList"/>
    <dgm:cxn modelId="{9CB5D58C-D2EC-40CE-9349-5C6F7E2BBE01}" type="presParOf" srcId="{88C8E67F-374D-4717-8B29-6CE9C47030E1}" destId="{A54B153C-14E6-4B68-858C-17B820522065}" srcOrd="2" destOrd="0" presId="urn:microsoft.com/office/officeart/2018/2/layout/IconVerticalSolidList"/>
    <dgm:cxn modelId="{D4CC304C-BEF0-4BA0-A783-EA337B8DBBA5}" type="presParOf" srcId="{88C8E67F-374D-4717-8B29-6CE9C47030E1}" destId="{9D476E54-3355-4F23-ADBA-2E63F48911A6}" srcOrd="3" destOrd="0" presId="urn:microsoft.com/office/officeart/2018/2/layout/IconVerticalSolidList"/>
    <dgm:cxn modelId="{177D14AE-9F7E-4CF3-B8E7-96770DCB0BDB}" type="presParOf" srcId="{F3516C50-866C-42B5-A391-55C972302334}" destId="{900E10C6-A1ED-4C90-BC51-7572897FDF94}" srcOrd="1" destOrd="0" presId="urn:microsoft.com/office/officeart/2018/2/layout/IconVerticalSolidList"/>
    <dgm:cxn modelId="{4A077974-D56C-4519-AAE1-B0C7D636FC0B}" type="presParOf" srcId="{F3516C50-866C-42B5-A391-55C972302334}" destId="{CA11377D-4DB6-4C82-ADFB-5378849105AF}" srcOrd="2" destOrd="0" presId="urn:microsoft.com/office/officeart/2018/2/layout/IconVerticalSolidList"/>
    <dgm:cxn modelId="{68DAFDFD-360F-4A65-98CC-5B217F7B8EA3}" type="presParOf" srcId="{CA11377D-4DB6-4C82-ADFB-5378849105AF}" destId="{DF37FC63-DD79-4B07-B4D8-BC5D8E618503}" srcOrd="0" destOrd="0" presId="urn:microsoft.com/office/officeart/2018/2/layout/IconVerticalSolidList"/>
    <dgm:cxn modelId="{E7EDCE0D-D0F1-4401-BE5A-B73DE4AB4783}" type="presParOf" srcId="{CA11377D-4DB6-4C82-ADFB-5378849105AF}" destId="{A8505828-8E45-436D-919D-373CC4286399}" srcOrd="1" destOrd="0" presId="urn:microsoft.com/office/officeart/2018/2/layout/IconVerticalSolidList"/>
    <dgm:cxn modelId="{1129505A-B12D-4E08-9988-7440D6B6D49A}" type="presParOf" srcId="{CA11377D-4DB6-4C82-ADFB-5378849105AF}" destId="{247CDEE8-2121-4566-9E1C-E5C201F05C6F}" srcOrd="2" destOrd="0" presId="urn:microsoft.com/office/officeart/2018/2/layout/IconVerticalSolidList"/>
    <dgm:cxn modelId="{5CF9D25E-7DEF-4FA6-9BE0-A1AE24559C15}" type="presParOf" srcId="{CA11377D-4DB6-4C82-ADFB-5378849105AF}" destId="{7B0E5DD9-61DB-43B3-92F2-66C5A6E2548B}" srcOrd="3" destOrd="0" presId="urn:microsoft.com/office/officeart/2018/2/layout/IconVerticalSolidList"/>
    <dgm:cxn modelId="{94BF67C9-48E1-4E2F-8BDF-C09AF56AD67C}" type="presParOf" srcId="{F3516C50-866C-42B5-A391-55C972302334}" destId="{BA4D301C-9CF6-42DD-8C15-B2E8FF29BF1F}" srcOrd="3" destOrd="0" presId="urn:microsoft.com/office/officeart/2018/2/layout/IconVerticalSolidList"/>
    <dgm:cxn modelId="{03741D2D-24E3-4392-A5CD-194C82E0B301}" type="presParOf" srcId="{F3516C50-866C-42B5-A391-55C972302334}" destId="{22786C3E-06E4-462E-8319-A174CA3695EC}" srcOrd="4" destOrd="0" presId="urn:microsoft.com/office/officeart/2018/2/layout/IconVerticalSolidList"/>
    <dgm:cxn modelId="{72E0F154-D7F4-4FD2-9AD6-519CFF93D2BC}" type="presParOf" srcId="{22786C3E-06E4-462E-8319-A174CA3695EC}" destId="{3F7BA49E-72A5-4BA7-B812-CC99F6515E5E}" srcOrd="0" destOrd="0" presId="urn:microsoft.com/office/officeart/2018/2/layout/IconVerticalSolidList"/>
    <dgm:cxn modelId="{E3C65802-1450-4EE2-BAAF-060F9C4C4B85}" type="presParOf" srcId="{22786C3E-06E4-462E-8319-A174CA3695EC}" destId="{381A4A83-1860-4C32-A528-F69593196B22}" srcOrd="1" destOrd="0" presId="urn:microsoft.com/office/officeart/2018/2/layout/IconVerticalSolidList"/>
    <dgm:cxn modelId="{44BB9E1D-62AF-4F14-89C4-E15B649735B4}" type="presParOf" srcId="{22786C3E-06E4-462E-8319-A174CA3695EC}" destId="{78285474-D5EE-4C57-A6AF-8A970FCF668F}" srcOrd="2" destOrd="0" presId="urn:microsoft.com/office/officeart/2018/2/layout/IconVerticalSolidList"/>
    <dgm:cxn modelId="{E1C2123D-70DC-4050-9DD8-39EAEEFC33CC}" type="presParOf" srcId="{22786C3E-06E4-462E-8319-A174CA3695EC}" destId="{F84FEE2F-0461-4FA8-AFBF-B7BA0294D00D}" srcOrd="3" destOrd="0" presId="urn:microsoft.com/office/officeart/2018/2/layout/IconVerticalSolidList"/>
    <dgm:cxn modelId="{9A367183-60F0-4D4D-BABD-7CB9825EE85F}" type="presParOf" srcId="{F3516C50-866C-42B5-A391-55C972302334}" destId="{D2301E10-260D-432B-A75D-4AF92E32E3AF}" srcOrd="5" destOrd="0" presId="urn:microsoft.com/office/officeart/2018/2/layout/IconVerticalSolidList"/>
    <dgm:cxn modelId="{39504D1E-6DD0-4A02-914B-F64E5A933C52}" type="presParOf" srcId="{F3516C50-866C-42B5-A391-55C972302334}" destId="{77E3C172-FA61-4E7D-A4C3-2CFFE8DBF1F7}" srcOrd="6" destOrd="0" presId="urn:microsoft.com/office/officeart/2018/2/layout/IconVerticalSolidList"/>
    <dgm:cxn modelId="{B75ABD8D-F458-44B8-8E2A-EDABEFEC544E}" type="presParOf" srcId="{77E3C172-FA61-4E7D-A4C3-2CFFE8DBF1F7}" destId="{F854B48F-E489-43A6-AF61-44710CA2F146}" srcOrd="0" destOrd="0" presId="urn:microsoft.com/office/officeart/2018/2/layout/IconVerticalSolidList"/>
    <dgm:cxn modelId="{4B2FA4B6-F887-4726-8DFC-62100963E84E}" type="presParOf" srcId="{77E3C172-FA61-4E7D-A4C3-2CFFE8DBF1F7}" destId="{5C2F5964-40DB-47C1-A4E6-D185360B8554}" srcOrd="1" destOrd="0" presId="urn:microsoft.com/office/officeart/2018/2/layout/IconVerticalSolidList"/>
    <dgm:cxn modelId="{C6581D67-E5C5-4905-AEB6-0B418FE17F55}" type="presParOf" srcId="{77E3C172-FA61-4E7D-A4C3-2CFFE8DBF1F7}" destId="{DC45076A-607F-467F-AF6E-C3C44FF1541D}" srcOrd="2" destOrd="0" presId="urn:microsoft.com/office/officeart/2018/2/layout/IconVerticalSolidList"/>
    <dgm:cxn modelId="{F45A1ACD-B59E-4E33-810A-DCBD0CB9B22D}" type="presParOf" srcId="{77E3C172-FA61-4E7D-A4C3-2CFFE8DBF1F7}" destId="{5FC059A5-38B0-4A62-8C7A-F3937D0787B4}" srcOrd="3" destOrd="0" presId="urn:microsoft.com/office/officeart/2018/2/layout/IconVerticalSolidList"/>
    <dgm:cxn modelId="{23CE153F-B38B-449E-B73F-F170CABAABA1}" type="presParOf" srcId="{F3516C50-866C-42B5-A391-55C972302334}" destId="{297FC64A-D996-4719-8570-2CD7508C5239}" srcOrd="7" destOrd="0" presId="urn:microsoft.com/office/officeart/2018/2/layout/IconVerticalSolidList"/>
    <dgm:cxn modelId="{8CB6C378-5FC1-4444-AE33-77C739B1C1B5}" type="presParOf" srcId="{F3516C50-866C-42B5-A391-55C972302334}" destId="{1EC4B22D-B3BB-4A67-8083-5C5F9ED5E948}" srcOrd="8" destOrd="0" presId="urn:microsoft.com/office/officeart/2018/2/layout/IconVerticalSolidList"/>
    <dgm:cxn modelId="{4CAEB3A3-CF9E-45BB-B2EB-6FDBAD285F3A}" type="presParOf" srcId="{1EC4B22D-B3BB-4A67-8083-5C5F9ED5E948}" destId="{44ADEE06-9E83-4737-B23B-23E8D743507F}" srcOrd="0" destOrd="0" presId="urn:microsoft.com/office/officeart/2018/2/layout/IconVerticalSolidList"/>
    <dgm:cxn modelId="{2245FEB4-9548-43EA-B9B6-600F4BC3A67D}" type="presParOf" srcId="{1EC4B22D-B3BB-4A67-8083-5C5F9ED5E948}" destId="{1C9A939A-8DC9-4DBA-9CAE-705530519A30}" srcOrd="1" destOrd="0" presId="urn:microsoft.com/office/officeart/2018/2/layout/IconVerticalSolidList"/>
    <dgm:cxn modelId="{DCC4B29D-2A89-4412-9206-D3E45261D489}" type="presParOf" srcId="{1EC4B22D-B3BB-4A67-8083-5C5F9ED5E948}" destId="{18B09761-A98E-4AAA-A9A2-8DEF6CC9B3F7}" srcOrd="2" destOrd="0" presId="urn:microsoft.com/office/officeart/2018/2/layout/IconVerticalSolidList"/>
    <dgm:cxn modelId="{DBB9E1F1-EE51-4281-A07B-CCC881E0A0D3}" type="presParOf" srcId="{1EC4B22D-B3BB-4A67-8083-5C5F9ED5E948}" destId="{D62E8478-1C96-4A44-BF3B-E2FB940DCD57}" srcOrd="3" destOrd="0" presId="urn:microsoft.com/office/officeart/2018/2/layout/IconVerticalSolidList"/>
    <dgm:cxn modelId="{D00D613E-148C-4E17-874F-3341D973B829}" type="presParOf" srcId="{F3516C50-866C-42B5-A391-55C972302334}" destId="{533E1FDE-8C07-4F66-AC91-C03381F0011A}" srcOrd="9" destOrd="0" presId="urn:microsoft.com/office/officeart/2018/2/layout/IconVerticalSolidList"/>
    <dgm:cxn modelId="{AE719A6E-DEF7-44C6-98AC-D2010923E271}" type="presParOf" srcId="{F3516C50-866C-42B5-A391-55C972302334}" destId="{85F1F8A7-8E03-4657-BCC2-F75F51491AB0}" srcOrd="10" destOrd="0" presId="urn:microsoft.com/office/officeart/2018/2/layout/IconVerticalSolidList"/>
    <dgm:cxn modelId="{D6155A4F-6A52-4D6B-AE83-68855CCDAF08}" type="presParOf" srcId="{85F1F8A7-8E03-4657-BCC2-F75F51491AB0}" destId="{DF4E682E-761C-4703-B852-6887E148CE24}" srcOrd="0" destOrd="0" presId="urn:microsoft.com/office/officeart/2018/2/layout/IconVerticalSolidList"/>
    <dgm:cxn modelId="{37D51492-409F-46E0-AED8-689914D43504}" type="presParOf" srcId="{85F1F8A7-8E03-4657-BCC2-F75F51491AB0}" destId="{CC135E0B-B4B5-4D89-BC38-C6C553E20961}" srcOrd="1" destOrd="0" presId="urn:microsoft.com/office/officeart/2018/2/layout/IconVerticalSolidList"/>
    <dgm:cxn modelId="{E8F57EFD-FB38-4F55-96E6-B41AA0D648B2}" type="presParOf" srcId="{85F1F8A7-8E03-4657-BCC2-F75F51491AB0}" destId="{DEF49865-B126-4E79-9A0E-B59A7ABA1193}" srcOrd="2" destOrd="0" presId="urn:microsoft.com/office/officeart/2018/2/layout/IconVerticalSolidList"/>
    <dgm:cxn modelId="{80FFA4F0-811C-49B0-AE18-9F9A641121E6}" type="presParOf" srcId="{85F1F8A7-8E03-4657-BCC2-F75F51491AB0}" destId="{2E585B37-1574-4212-AB35-4C8779CF1510}"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2ADFFF9-BF66-49F6-A3B7-8FCC936D9067}" type="doc">
      <dgm:prSet loTypeId="urn:microsoft.com/office/officeart/2018/2/layout/IconVerticalSolidList" loCatId="icon" qsTypeId="urn:microsoft.com/office/officeart/2005/8/quickstyle/simple4" qsCatId="simple" csTypeId="urn:microsoft.com/office/officeart/2018/5/colors/Iconchunking_neutralicontext_colorful1" csCatId="colorful" phldr="1"/>
      <dgm:spPr/>
      <dgm:t>
        <a:bodyPr/>
        <a:lstStyle/>
        <a:p>
          <a:endParaRPr lang="en-US"/>
        </a:p>
      </dgm:t>
    </dgm:pt>
    <dgm:pt modelId="{EABBA6F5-C927-4D24-94A8-80543039E0E5}">
      <dgm:prSet/>
      <dgm:spPr/>
      <dgm:t>
        <a:bodyPr/>
        <a:lstStyle/>
        <a:p>
          <a:r>
            <a:rPr lang="en-US"/>
            <a:t>Low latency, high throughput key-value store</a:t>
          </a:r>
        </a:p>
      </dgm:t>
    </dgm:pt>
    <dgm:pt modelId="{EB0C28C3-F20E-4E49-9E53-89AD4A56813A}" type="parTrans" cxnId="{C2B41616-1128-42C2-B00C-AD20AAC7E1AF}">
      <dgm:prSet/>
      <dgm:spPr/>
      <dgm:t>
        <a:bodyPr/>
        <a:lstStyle/>
        <a:p>
          <a:endParaRPr lang="en-US"/>
        </a:p>
      </dgm:t>
    </dgm:pt>
    <dgm:pt modelId="{E207C3AC-620D-419D-800D-A86BCDF5267E}" type="sibTrans" cxnId="{C2B41616-1128-42C2-B00C-AD20AAC7E1AF}">
      <dgm:prSet/>
      <dgm:spPr/>
      <dgm:t>
        <a:bodyPr/>
        <a:lstStyle/>
        <a:p>
          <a:endParaRPr lang="en-US"/>
        </a:p>
      </dgm:t>
    </dgm:pt>
    <dgm:pt modelId="{9077D741-5403-42B3-98B9-27914E974FAF}">
      <dgm:prSet/>
      <dgm:spPr/>
      <dgm:t>
        <a:bodyPr/>
        <a:lstStyle/>
        <a:p>
          <a:r>
            <a:rPr lang="en-US"/>
            <a:t>Per Key expiry, choice of eviction policies.</a:t>
          </a:r>
        </a:p>
      </dgm:t>
    </dgm:pt>
    <dgm:pt modelId="{69CA2760-D53E-4F74-86FC-6AA8CBD6EC7C}" type="parTrans" cxnId="{D2634A4A-17F9-42E1-9A7A-CBF034043561}">
      <dgm:prSet/>
      <dgm:spPr/>
      <dgm:t>
        <a:bodyPr/>
        <a:lstStyle/>
        <a:p>
          <a:endParaRPr lang="en-US"/>
        </a:p>
      </dgm:t>
    </dgm:pt>
    <dgm:pt modelId="{201546AE-D846-4574-8F34-6B4BDD9CC2F0}" type="sibTrans" cxnId="{D2634A4A-17F9-42E1-9A7A-CBF034043561}">
      <dgm:prSet/>
      <dgm:spPr/>
      <dgm:t>
        <a:bodyPr/>
        <a:lstStyle/>
        <a:p>
          <a:endParaRPr lang="en-US"/>
        </a:p>
      </dgm:t>
    </dgm:pt>
    <dgm:pt modelId="{1174AB0E-4F71-41E6-82F5-3A3227AD4E81}">
      <dgm:prSet/>
      <dgm:spPr/>
      <dgm:t>
        <a:bodyPr/>
        <a:lstStyle/>
        <a:p>
          <a:r>
            <a:rPr lang="en-US"/>
            <a:t>Atomic operations on data types</a:t>
          </a:r>
        </a:p>
      </dgm:t>
    </dgm:pt>
    <dgm:pt modelId="{52DF3FFD-A2E6-45E2-A15C-2EEF3816163C}" type="parTrans" cxnId="{F19F915C-5C18-461D-BDB6-907C89B22905}">
      <dgm:prSet/>
      <dgm:spPr/>
      <dgm:t>
        <a:bodyPr/>
        <a:lstStyle/>
        <a:p>
          <a:endParaRPr lang="en-US"/>
        </a:p>
      </dgm:t>
    </dgm:pt>
    <dgm:pt modelId="{79E2320A-18CB-4DB1-9729-1160DBE6A567}" type="sibTrans" cxnId="{F19F915C-5C18-461D-BDB6-907C89B22905}">
      <dgm:prSet/>
      <dgm:spPr/>
      <dgm:t>
        <a:bodyPr/>
        <a:lstStyle/>
        <a:p>
          <a:endParaRPr lang="en-US"/>
        </a:p>
      </dgm:t>
    </dgm:pt>
    <dgm:pt modelId="{00975C77-37F8-481E-BFFC-5F466B38F012}">
      <dgm:prSet/>
      <dgm:spPr/>
      <dgm:t>
        <a:bodyPr/>
        <a:lstStyle/>
        <a:p>
          <a:r>
            <a:rPr lang="en-US"/>
            <a:t>Strings, hashes, lists, sets, sorted sets, and bitmaps.</a:t>
          </a:r>
        </a:p>
      </dgm:t>
    </dgm:pt>
    <dgm:pt modelId="{C21B24DF-906B-4F06-A2D1-94B0A043CA26}" type="parTrans" cxnId="{F8AE29F9-4552-45F6-BE5F-20F0F0BE2233}">
      <dgm:prSet/>
      <dgm:spPr/>
      <dgm:t>
        <a:bodyPr/>
        <a:lstStyle/>
        <a:p>
          <a:endParaRPr lang="en-US"/>
        </a:p>
      </dgm:t>
    </dgm:pt>
    <dgm:pt modelId="{0652BD2C-5A78-4115-80D3-78252AF7D403}" type="sibTrans" cxnId="{F8AE29F9-4552-45F6-BE5F-20F0F0BE2233}">
      <dgm:prSet/>
      <dgm:spPr/>
      <dgm:t>
        <a:bodyPr/>
        <a:lstStyle/>
        <a:p>
          <a:endParaRPr lang="en-US"/>
        </a:p>
      </dgm:t>
    </dgm:pt>
    <dgm:pt modelId="{3CE1D4D6-316D-40E6-A34B-4A5229A7FD33}">
      <dgm:prSet/>
      <dgm:spPr/>
      <dgm:t>
        <a:bodyPr/>
        <a:lstStyle/>
        <a:p>
          <a:r>
            <a:rPr lang="en-US"/>
            <a:t>Transactions</a:t>
          </a:r>
        </a:p>
      </dgm:t>
    </dgm:pt>
    <dgm:pt modelId="{6E48D0C0-1B72-45ED-98F0-AF6F9B81517A}" type="parTrans" cxnId="{5196A96F-2AE4-40EB-BD0D-5A3BC5146D79}">
      <dgm:prSet/>
      <dgm:spPr/>
      <dgm:t>
        <a:bodyPr/>
        <a:lstStyle/>
        <a:p>
          <a:endParaRPr lang="en-US"/>
        </a:p>
      </dgm:t>
    </dgm:pt>
    <dgm:pt modelId="{DF417209-C87C-4418-84C5-2B5139604F39}" type="sibTrans" cxnId="{5196A96F-2AE4-40EB-BD0D-5A3BC5146D79}">
      <dgm:prSet/>
      <dgm:spPr/>
      <dgm:t>
        <a:bodyPr/>
        <a:lstStyle/>
        <a:p>
          <a:endParaRPr lang="en-US"/>
        </a:p>
      </dgm:t>
    </dgm:pt>
    <dgm:pt modelId="{1E598E9A-C2F6-423D-A531-13E3266A5863}">
      <dgm:prSet/>
      <dgm:spPr/>
      <dgm:t>
        <a:bodyPr/>
        <a:lstStyle/>
        <a:p>
          <a:r>
            <a:rPr lang="en-US"/>
            <a:t>Publisher-Subscriber pattern</a:t>
          </a:r>
        </a:p>
      </dgm:t>
    </dgm:pt>
    <dgm:pt modelId="{0C277BFB-96A9-4181-BE58-1B25A4E6F9C1}" type="parTrans" cxnId="{8C459B7C-1ADA-4EFA-98AD-800281552A66}">
      <dgm:prSet/>
      <dgm:spPr/>
      <dgm:t>
        <a:bodyPr/>
        <a:lstStyle/>
        <a:p>
          <a:endParaRPr lang="en-US"/>
        </a:p>
      </dgm:t>
    </dgm:pt>
    <dgm:pt modelId="{2E284835-E253-43AA-8FBD-002063F55C4A}" type="sibTrans" cxnId="{8C459B7C-1ADA-4EFA-98AD-800281552A66}">
      <dgm:prSet/>
      <dgm:spPr/>
      <dgm:t>
        <a:bodyPr/>
        <a:lstStyle/>
        <a:p>
          <a:endParaRPr lang="en-US"/>
        </a:p>
      </dgm:t>
    </dgm:pt>
    <dgm:pt modelId="{CA535CAC-9CEB-4452-B37A-E33D676005F4}">
      <dgm:prSet/>
      <dgm:spPr/>
      <dgm:t>
        <a:bodyPr/>
        <a:lstStyle/>
        <a:p>
          <a:r>
            <a:rPr lang="en-US"/>
            <a:t>LUA scripting</a:t>
          </a:r>
        </a:p>
      </dgm:t>
    </dgm:pt>
    <dgm:pt modelId="{DA01088B-6F2B-46CD-926F-CA3687DB3EC0}" type="parTrans" cxnId="{D5800356-591A-4168-9D4D-4648ACAC815E}">
      <dgm:prSet/>
      <dgm:spPr/>
      <dgm:t>
        <a:bodyPr/>
        <a:lstStyle/>
        <a:p>
          <a:endParaRPr lang="en-US"/>
        </a:p>
      </dgm:t>
    </dgm:pt>
    <dgm:pt modelId="{9403F68C-C991-49C3-AD22-249EC38B78FB}" type="sibTrans" cxnId="{D5800356-591A-4168-9D4D-4648ACAC815E}">
      <dgm:prSet/>
      <dgm:spPr/>
      <dgm:t>
        <a:bodyPr/>
        <a:lstStyle/>
        <a:p>
          <a:endParaRPr lang="en-US"/>
        </a:p>
      </dgm:t>
    </dgm:pt>
    <dgm:pt modelId="{9E201045-D80E-42FF-B254-77F023950655}">
      <dgm:prSet/>
      <dgm:spPr/>
      <dgm:t>
        <a:bodyPr/>
        <a:lstStyle/>
        <a:p>
          <a:r>
            <a:rPr lang="en-US"/>
            <a:t>Pipelining</a:t>
          </a:r>
        </a:p>
      </dgm:t>
    </dgm:pt>
    <dgm:pt modelId="{3F9A7DB3-6C55-4278-AE3F-9FA81185F961}" type="parTrans" cxnId="{218E9804-7944-4F6C-B786-8DBC868970E8}">
      <dgm:prSet/>
      <dgm:spPr/>
      <dgm:t>
        <a:bodyPr/>
        <a:lstStyle/>
        <a:p>
          <a:endParaRPr lang="en-US"/>
        </a:p>
      </dgm:t>
    </dgm:pt>
    <dgm:pt modelId="{87D6ADEF-09A7-45F1-A061-38A2D97C3024}" type="sibTrans" cxnId="{218E9804-7944-4F6C-B786-8DBC868970E8}">
      <dgm:prSet/>
      <dgm:spPr/>
      <dgm:t>
        <a:bodyPr/>
        <a:lstStyle/>
        <a:p>
          <a:endParaRPr lang="en-US"/>
        </a:p>
      </dgm:t>
    </dgm:pt>
    <dgm:pt modelId="{45B860E1-A427-42D6-B1DF-44524E1936E7}">
      <dgm:prSet/>
      <dgm:spPr/>
      <dgm:t>
        <a:bodyPr/>
        <a:lstStyle/>
        <a:p>
          <a:r>
            <a:rPr lang="en-US"/>
            <a:t>Client libraries in multiple languages</a:t>
          </a:r>
        </a:p>
      </dgm:t>
    </dgm:pt>
    <dgm:pt modelId="{B5779AE5-6F88-45C8-8C53-203590434503}" type="parTrans" cxnId="{8774116E-0C08-4ECF-83F7-676530A75530}">
      <dgm:prSet/>
      <dgm:spPr/>
      <dgm:t>
        <a:bodyPr/>
        <a:lstStyle/>
        <a:p>
          <a:endParaRPr lang="en-US"/>
        </a:p>
      </dgm:t>
    </dgm:pt>
    <dgm:pt modelId="{1A483D65-6075-4D50-8D14-62038D9428FC}" type="sibTrans" cxnId="{8774116E-0C08-4ECF-83F7-676530A75530}">
      <dgm:prSet/>
      <dgm:spPr/>
      <dgm:t>
        <a:bodyPr/>
        <a:lstStyle/>
        <a:p>
          <a:endParaRPr lang="en-US"/>
        </a:p>
      </dgm:t>
    </dgm:pt>
    <dgm:pt modelId="{4E75C77A-C9B1-4BCA-B813-722A0799C16A}" type="pres">
      <dgm:prSet presAssocID="{42ADFFF9-BF66-49F6-A3B7-8FCC936D9067}" presName="root" presStyleCnt="0">
        <dgm:presLayoutVars>
          <dgm:dir/>
          <dgm:resizeHandles val="exact"/>
        </dgm:presLayoutVars>
      </dgm:prSet>
      <dgm:spPr/>
    </dgm:pt>
    <dgm:pt modelId="{F51D5A16-B4FD-4D18-A894-44DE4E1E24E4}" type="pres">
      <dgm:prSet presAssocID="{EABBA6F5-C927-4D24-94A8-80543039E0E5}" presName="compNode" presStyleCnt="0"/>
      <dgm:spPr/>
    </dgm:pt>
    <dgm:pt modelId="{A9E224B6-A308-4E2C-8EAB-FA816890A3FB}" type="pres">
      <dgm:prSet presAssocID="{EABBA6F5-C927-4D24-94A8-80543039E0E5}" presName="bgRect" presStyleLbl="bgShp" presStyleIdx="0" presStyleCnt="8"/>
      <dgm:spPr/>
    </dgm:pt>
    <dgm:pt modelId="{C7F87D2D-2F7F-4E92-B92F-BDDDEB01E110}" type="pres">
      <dgm:prSet presAssocID="{EABBA6F5-C927-4D24-94A8-80543039E0E5}" presName="iconRect" presStyleLbl="node1" presStyleIdx="0" presStyleCnt="8"/>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ckmark"/>
        </a:ext>
      </dgm:extLst>
    </dgm:pt>
    <dgm:pt modelId="{CCBB6519-343D-45DE-A95F-D386EA695A2A}" type="pres">
      <dgm:prSet presAssocID="{EABBA6F5-C927-4D24-94A8-80543039E0E5}" presName="spaceRect" presStyleCnt="0"/>
      <dgm:spPr/>
    </dgm:pt>
    <dgm:pt modelId="{AD7171AC-FED7-4BC9-871F-A844D08ED37C}" type="pres">
      <dgm:prSet presAssocID="{EABBA6F5-C927-4D24-94A8-80543039E0E5}" presName="parTx" presStyleLbl="revTx" presStyleIdx="0" presStyleCnt="9">
        <dgm:presLayoutVars>
          <dgm:chMax val="0"/>
          <dgm:chPref val="0"/>
        </dgm:presLayoutVars>
      </dgm:prSet>
      <dgm:spPr/>
    </dgm:pt>
    <dgm:pt modelId="{3D1FAA2C-6F62-495D-90F0-55E326F032B4}" type="pres">
      <dgm:prSet presAssocID="{EABBA6F5-C927-4D24-94A8-80543039E0E5}" presName="desTx" presStyleLbl="revTx" presStyleIdx="1" presStyleCnt="9">
        <dgm:presLayoutVars/>
      </dgm:prSet>
      <dgm:spPr/>
    </dgm:pt>
    <dgm:pt modelId="{5564D223-53C2-4FF9-AF84-590E5FB3B596}" type="pres">
      <dgm:prSet presAssocID="{E207C3AC-620D-419D-800D-A86BCDF5267E}" presName="sibTrans" presStyleCnt="0"/>
      <dgm:spPr/>
    </dgm:pt>
    <dgm:pt modelId="{6BAE016A-AB8A-4FEB-A454-F7E4865D6993}" type="pres">
      <dgm:prSet presAssocID="{1174AB0E-4F71-41E6-82F5-3A3227AD4E81}" presName="compNode" presStyleCnt="0"/>
      <dgm:spPr/>
    </dgm:pt>
    <dgm:pt modelId="{81769EDF-CAB8-4D32-8968-07AB49BB71C9}" type="pres">
      <dgm:prSet presAssocID="{1174AB0E-4F71-41E6-82F5-3A3227AD4E81}" presName="bgRect" presStyleLbl="bgShp" presStyleIdx="1" presStyleCnt="8"/>
      <dgm:spPr/>
    </dgm:pt>
    <dgm:pt modelId="{4F5B4E6E-E270-4D30-9BF3-F026897CEDC0}" type="pres">
      <dgm:prSet presAssocID="{1174AB0E-4F71-41E6-82F5-3A3227AD4E81}" presName="iconRect" presStyleLbl="node1" presStyleIdx="1" presStyleCnt="8"/>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Pencil"/>
        </a:ext>
      </dgm:extLst>
    </dgm:pt>
    <dgm:pt modelId="{CDB95D52-5149-4183-896C-39558AC2FCBC}" type="pres">
      <dgm:prSet presAssocID="{1174AB0E-4F71-41E6-82F5-3A3227AD4E81}" presName="spaceRect" presStyleCnt="0"/>
      <dgm:spPr/>
    </dgm:pt>
    <dgm:pt modelId="{6A42E275-5DB7-4901-AD6E-ABF7DDADCC23}" type="pres">
      <dgm:prSet presAssocID="{1174AB0E-4F71-41E6-82F5-3A3227AD4E81}" presName="parTx" presStyleLbl="revTx" presStyleIdx="2" presStyleCnt="9">
        <dgm:presLayoutVars>
          <dgm:chMax val="0"/>
          <dgm:chPref val="0"/>
        </dgm:presLayoutVars>
      </dgm:prSet>
      <dgm:spPr/>
    </dgm:pt>
    <dgm:pt modelId="{452D83B3-E0DD-43E1-8B45-7DF7C36F5DF9}" type="pres">
      <dgm:prSet presAssocID="{79E2320A-18CB-4DB1-9729-1160DBE6A567}" presName="sibTrans" presStyleCnt="0"/>
      <dgm:spPr/>
    </dgm:pt>
    <dgm:pt modelId="{3C9EA0B0-C159-4603-A863-3FCACD41FC91}" type="pres">
      <dgm:prSet presAssocID="{00975C77-37F8-481E-BFFC-5F466B38F012}" presName="compNode" presStyleCnt="0"/>
      <dgm:spPr/>
    </dgm:pt>
    <dgm:pt modelId="{FF916E3D-5DB7-4B1B-AD79-02B85C264F10}" type="pres">
      <dgm:prSet presAssocID="{00975C77-37F8-481E-BFFC-5F466B38F012}" presName="bgRect" presStyleLbl="bgShp" presStyleIdx="2" presStyleCnt="8"/>
      <dgm:spPr/>
    </dgm:pt>
    <dgm:pt modelId="{2DAA6045-CDCB-421B-91B6-45E103EF06E3}" type="pres">
      <dgm:prSet presAssocID="{00975C77-37F8-481E-BFFC-5F466B38F012}" presName="iconRect" presStyleLbl="node1" presStyleIdx="2" presStyleCnt="8"/>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redit card"/>
        </a:ext>
      </dgm:extLst>
    </dgm:pt>
    <dgm:pt modelId="{8232AB26-5AAA-4957-BE33-33CEAD52810F}" type="pres">
      <dgm:prSet presAssocID="{00975C77-37F8-481E-BFFC-5F466B38F012}" presName="spaceRect" presStyleCnt="0"/>
      <dgm:spPr/>
    </dgm:pt>
    <dgm:pt modelId="{453CDAE1-2F2C-4158-88F2-BAAE1CCAEEBD}" type="pres">
      <dgm:prSet presAssocID="{00975C77-37F8-481E-BFFC-5F466B38F012}" presName="parTx" presStyleLbl="revTx" presStyleIdx="3" presStyleCnt="9">
        <dgm:presLayoutVars>
          <dgm:chMax val="0"/>
          <dgm:chPref val="0"/>
        </dgm:presLayoutVars>
      </dgm:prSet>
      <dgm:spPr/>
    </dgm:pt>
    <dgm:pt modelId="{E6612B48-C860-4F7F-8A3D-2B98AAFEA308}" type="pres">
      <dgm:prSet presAssocID="{0652BD2C-5A78-4115-80D3-78252AF7D403}" presName="sibTrans" presStyleCnt="0"/>
      <dgm:spPr/>
    </dgm:pt>
    <dgm:pt modelId="{C8F833DE-9A9F-45F0-86B1-794395E2B2C2}" type="pres">
      <dgm:prSet presAssocID="{3CE1D4D6-316D-40E6-A34B-4A5229A7FD33}" presName="compNode" presStyleCnt="0"/>
      <dgm:spPr/>
    </dgm:pt>
    <dgm:pt modelId="{5BABCDEB-0E4E-475F-A0A0-F01AC5BBAD33}" type="pres">
      <dgm:prSet presAssocID="{3CE1D4D6-316D-40E6-A34B-4A5229A7FD33}" presName="bgRect" presStyleLbl="bgShp" presStyleIdx="3" presStyleCnt="8"/>
      <dgm:spPr/>
    </dgm:pt>
    <dgm:pt modelId="{22D8B3E7-2AA6-497D-A1E6-FEC8EAF39AC9}" type="pres">
      <dgm:prSet presAssocID="{3CE1D4D6-316D-40E6-A34B-4A5229A7FD33}" presName="iconRect" presStyleLbl="node1" presStyleIdx="3" presStyleCnt="8"/>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User"/>
        </a:ext>
      </dgm:extLst>
    </dgm:pt>
    <dgm:pt modelId="{329D3E56-2779-4352-8F2E-E52747ACC3EC}" type="pres">
      <dgm:prSet presAssocID="{3CE1D4D6-316D-40E6-A34B-4A5229A7FD33}" presName="spaceRect" presStyleCnt="0"/>
      <dgm:spPr/>
    </dgm:pt>
    <dgm:pt modelId="{42C37D3C-AE85-48B8-A8C6-F61F772C0B9A}" type="pres">
      <dgm:prSet presAssocID="{3CE1D4D6-316D-40E6-A34B-4A5229A7FD33}" presName="parTx" presStyleLbl="revTx" presStyleIdx="4" presStyleCnt="9">
        <dgm:presLayoutVars>
          <dgm:chMax val="0"/>
          <dgm:chPref val="0"/>
        </dgm:presLayoutVars>
      </dgm:prSet>
      <dgm:spPr/>
    </dgm:pt>
    <dgm:pt modelId="{706CDB66-CB08-4CB4-B537-6CEE8CD54A1C}" type="pres">
      <dgm:prSet presAssocID="{DF417209-C87C-4418-84C5-2B5139604F39}" presName="sibTrans" presStyleCnt="0"/>
      <dgm:spPr/>
    </dgm:pt>
    <dgm:pt modelId="{5D3920F1-ABFE-423D-A659-CC5FE9DA3EDE}" type="pres">
      <dgm:prSet presAssocID="{1E598E9A-C2F6-423D-A531-13E3266A5863}" presName="compNode" presStyleCnt="0"/>
      <dgm:spPr/>
    </dgm:pt>
    <dgm:pt modelId="{B4E8153B-72E1-48C2-AA56-24D7BF4B3387}" type="pres">
      <dgm:prSet presAssocID="{1E598E9A-C2F6-423D-A531-13E3266A5863}" presName="bgRect" presStyleLbl="bgShp" presStyleIdx="4" presStyleCnt="8"/>
      <dgm:spPr/>
    </dgm:pt>
    <dgm:pt modelId="{F9786716-8645-4C76-933D-766961F2D2EE}" type="pres">
      <dgm:prSet presAssocID="{1E598E9A-C2F6-423D-A531-13E3266A5863}" presName="iconRect" presStyleLbl="node1" presStyleIdx="4" presStyleCnt="8"/>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Database"/>
        </a:ext>
      </dgm:extLst>
    </dgm:pt>
    <dgm:pt modelId="{AC9D66D1-3FEA-4B44-BB55-0FC98767D0C9}" type="pres">
      <dgm:prSet presAssocID="{1E598E9A-C2F6-423D-A531-13E3266A5863}" presName="spaceRect" presStyleCnt="0"/>
      <dgm:spPr/>
    </dgm:pt>
    <dgm:pt modelId="{3EB6E0F6-3C1A-497F-A910-977CA76BE106}" type="pres">
      <dgm:prSet presAssocID="{1E598E9A-C2F6-423D-A531-13E3266A5863}" presName="parTx" presStyleLbl="revTx" presStyleIdx="5" presStyleCnt="9">
        <dgm:presLayoutVars>
          <dgm:chMax val="0"/>
          <dgm:chPref val="0"/>
        </dgm:presLayoutVars>
      </dgm:prSet>
      <dgm:spPr/>
    </dgm:pt>
    <dgm:pt modelId="{4144B0A1-3673-4EFB-838D-53C599EBF673}" type="pres">
      <dgm:prSet presAssocID="{2E284835-E253-43AA-8FBD-002063F55C4A}" presName="sibTrans" presStyleCnt="0"/>
      <dgm:spPr/>
    </dgm:pt>
    <dgm:pt modelId="{9BE8984A-469F-44D0-A9B7-AD4EDD16F5E0}" type="pres">
      <dgm:prSet presAssocID="{CA535CAC-9CEB-4452-B37A-E33D676005F4}" presName="compNode" presStyleCnt="0"/>
      <dgm:spPr/>
    </dgm:pt>
    <dgm:pt modelId="{06C0AF89-0ADB-4754-B174-565B67DF2368}" type="pres">
      <dgm:prSet presAssocID="{CA535CAC-9CEB-4452-B37A-E33D676005F4}" presName="bgRect" presStyleLbl="bgShp" presStyleIdx="5" presStyleCnt="8"/>
      <dgm:spPr/>
    </dgm:pt>
    <dgm:pt modelId="{931A7871-B03B-48E1-B536-2276D5DA78D9}" type="pres">
      <dgm:prSet presAssocID="{CA535CAC-9CEB-4452-B37A-E33D676005F4}" presName="iconRect" presStyleLbl="node1" presStyleIdx="5" presStyleCnt="8"/>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Single gear"/>
        </a:ext>
      </dgm:extLst>
    </dgm:pt>
    <dgm:pt modelId="{06E00483-6CA7-44EF-A597-046CF5EDF0F8}" type="pres">
      <dgm:prSet presAssocID="{CA535CAC-9CEB-4452-B37A-E33D676005F4}" presName="spaceRect" presStyleCnt="0"/>
      <dgm:spPr/>
    </dgm:pt>
    <dgm:pt modelId="{B30C4A2C-BA18-446A-A45B-3C10C4605D5D}" type="pres">
      <dgm:prSet presAssocID="{CA535CAC-9CEB-4452-B37A-E33D676005F4}" presName="parTx" presStyleLbl="revTx" presStyleIdx="6" presStyleCnt="9">
        <dgm:presLayoutVars>
          <dgm:chMax val="0"/>
          <dgm:chPref val="0"/>
        </dgm:presLayoutVars>
      </dgm:prSet>
      <dgm:spPr/>
    </dgm:pt>
    <dgm:pt modelId="{62F3CFFF-58D7-47C8-BD4F-408DD2625674}" type="pres">
      <dgm:prSet presAssocID="{9403F68C-C991-49C3-AD22-249EC38B78FB}" presName="sibTrans" presStyleCnt="0"/>
      <dgm:spPr/>
    </dgm:pt>
    <dgm:pt modelId="{8EDA784B-53C3-4A62-9E6A-025BA51C7D74}" type="pres">
      <dgm:prSet presAssocID="{9E201045-D80E-42FF-B254-77F023950655}" presName="compNode" presStyleCnt="0"/>
      <dgm:spPr/>
    </dgm:pt>
    <dgm:pt modelId="{59B72C1D-45BB-4B6B-9248-F4BD2FA3E4D3}" type="pres">
      <dgm:prSet presAssocID="{9E201045-D80E-42FF-B254-77F023950655}" presName="bgRect" presStyleLbl="bgShp" presStyleIdx="6" presStyleCnt="8"/>
      <dgm:spPr/>
    </dgm:pt>
    <dgm:pt modelId="{E1CEFE54-F132-436F-9EC3-FAB4E3A29D96}" type="pres">
      <dgm:prSet presAssocID="{9E201045-D80E-42FF-B254-77F023950655}" presName="iconRect" presStyleLbl="node1" presStyleIdx="6" presStyleCnt="8"/>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a:noFill/>
        </a:ln>
      </dgm:spPr>
      <dgm:extLst>
        <a:ext uri="{E40237B7-FDA0-4F09-8148-C483321AD2D9}">
          <dgm14:cNvPr xmlns:dgm14="http://schemas.microsoft.com/office/drawing/2010/diagram" id="0" name="" descr="Open Book"/>
        </a:ext>
      </dgm:extLst>
    </dgm:pt>
    <dgm:pt modelId="{0D6AF82B-20A3-4C7A-92EC-A72C60F1F600}" type="pres">
      <dgm:prSet presAssocID="{9E201045-D80E-42FF-B254-77F023950655}" presName="spaceRect" presStyleCnt="0"/>
      <dgm:spPr/>
    </dgm:pt>
    <dgm:pt modelId="{60E44DAE-0D7A-4A26-A4F6-28395D689E41}" type="pres">
      <dgm:prSet presAssocID="{9E201045-D80E-42FF-B254-77F023950655}" presName="parTx" presStyleLbl="revTx" presStyleIdx="7" presStyleCnt="9">
        <dgm:presLayoutVars>
          <dgm:chMax val="0"/>
          <dgm:chPref val="0"/>
        </dgm:presLayoutVars>
      </dgm:prSet>
      <dgm:spPr/>
    </dgm:pt>
    <dgm:pt modelId="{63DD7B62-C961-441C-9CBF-29DFFBC80985}" type="pres">
      <dgm:prSet presAssocID="{87D6ADEF-09A7-45F1-A061-38A2D97C3024}" presName="sibTrans" presStyleCnt="0"/>
      <dgm:spPr/>
    </dgm:pt>
    <dgm:pt modelId="{9F7EE39A-525F-4A43-914B-4940A36A8FAF}" type="pres">
      <dgm:prSet presAssocID="{45B860E1-A427-42D6-B1DF-44524E1936E7}" presName="compNode" presStyleCnt="0"/>
      <dgm:spPr/>
    </dgm:pt>
    <dgm:pt modelId="{3D76FD1E-EEE3-47C0-83CC-1FE544777142}" type="pres">
      <dgm:prSet presAssocID="{45B860E1-A427-42D6-B1DF-44524E1936E7}" presName="bgRect" presStyleLbl="bgShp" presStyleIdx="7" presStyleCnt="8"/>
      <dgm:spPr/>
    </dgm:pt>
    <dgm:pt modelId="{03A2FAEA-F1E8-4372-AFF7-6271C5603D1E}" type="pres">
      <dgm:prSet presAssocID="{45B860E1-A427-42D6-B1DF-44524E1936E7}" presName="iconRect" presStyleLbl="node1" presStyleIdx="7" presStyleCnt="8"/>
      <dgm:spPr>
        <a:ln>
          <a:noFill/>
        </a:ln>
      </dgm:spPr>
    </dgm:pt>
    <dgm:pt modelId="{1CB05DCF-2044-498B-AC44-CB7F7DD265BB}" type="pres">
      <dgm:prSet presAssocID="{45B860E1-A427-42D6-B1DF-44524E1936E7}" presName="spaceRect" presStyleCnt="0"/>
      <dgm:spPr/>
    </dgm:pt>
    <dgm:pt modelId="{B9936A67-D41E-4EAC-94C6-1C466F463E56}" type="pres">
      <dgm:prSet presAssocID="{45B860E1-A427-42D6-B1DF-44524E1936E7}" presName="parTx" presStyleLbl="revTx" presStyleIdx="8" presStyleCnt="9">
        <dgm:presLayoutVars>
          <dgm:chMax val="0"/>
          <dgm:chPref val="0"/>
        </dgm:presLayoutVars>
      </dgm:prSet>
      <dgm:spPr/>
    </dgm:pt>
  </dgm:ptLst>
  <dgm:cxnLst>
    <dgm:cxn modelId="{218E9804-7944-4F6C-B786-8DBC868970E8}" srcId="{42ADFFF9-BF66-49F6-A3B7-8FCC936D9067}" destId="{9E201045-D80E-42FF-B254-77F023950655}" srcOrd="6" destOrd="0" parTransId="{3F9A7DB3-6C55-4278-AE3F-9FA81185F961}" sibTransId="{87D6ADEF-09A7-45F1-A061-38A2D97C3024}"/>
    <dgm:cxn modelId="{C2B41616-1128-42C2-B00C-AD20AAC7E1AF}" srcId="{42ADFFF9-BF66-49F6-A3B7-8FCC936D9067}" destId="{EABBA6F5-C927-4D24-94A8-80543039E0E5}" srcOrd="0" destOrd="0" parTransId="{EB0C28C3-F20E-4E49-9E53-89AD4A56813A}" sibTransId="{E207C3AC-620D-419D-800D-A86BCDF5267E}"/>
    <dgm:cxn modelId="{632D6146-1A78-43E0-9379-EF5269330726}" type="presOf" srcId="{CA535CAC-9CEB-4452-B37A-E33D676005F4}" destId="{B30C4A2C-BA18-446A-A45B-3C10C4605D5D}" srcOrd="0" destOrd="0" presId="urn:microsoft.com/office/officeart/2018/2/layout/IconVerticalSolidList"/>
    <dgm:cxn modelId="{D2634A4A-17F9-42E1-9A7A-CBF034043561}" srcId="{EABBA6F5-C927-4D24-94A8-80543039E0E5}" destId="{9077D741-5403-42B3-98B9-27914E974FAF}" srcOrd="0" destOrd="0" parTransId="{69CA2760-D53E-4F74-86FC-6AA8CBD6EC7C}" sibTransId="{201546AE-D846-4574-8F34-6B4BDD9CC2F0}"/>
    <dgm:cxn modelId="{D5800356-591A-4168-9D4D-4648ACAC815E}" srcId="{42ADFFF9-BF66-49F6-A3B7-8FCC936D9067}" destId="{CA535CAC-9CEB-4452-B37A-E33D676005F4}" srcOrd="5" destOrd="0" parTransId="{DA01088B-6F2B-46CD-926F-CA3687DB3EC0}" sibTransId="{9403F68C-C991-49C3-AD22-249EC38B78FB}"/>
    <dgm:cxn modelId="{F19F915C-5C18-461D-BDB6-907C89B22905}" srcId="{42ADFFF9-BF66-49F6-A3B7-8FCC936D9067}" destId="{1174AB0E-4F71-41E6-82F5-3A3227AD4E81}" srcOrd="1" destOrd="0" parTransId="{52DF3FFD-A2E6-45E2-A15C-2EEF3816163C}" sibTransId="{79E2320A-18CB-4DB1-9729-1160DBE6A567}"/>
    <dgm:cxn modelId="{8774116E-0C08-4ECF-83F7-676530A75530}" srcId="{42ADFFF9-BF66-49F6-A3B7-8FCC936D9067}" destId="{45B860E1-A427-42D6-B1DF-44524E1936E7}" srcOrd="7" destOrd="0" parTransId="{B5779AE5-6F88-45C8-8C53-203590434503}" sibTransId="{1A483D65-6075-4D50-8D14-62038D9428FC}"/>
    <dgm:cxn modelId="{61A38F6F-AC48-4BE0-A409-A552532AD5AB}" type="presOf" srcId="{45B860E1-A427-42D6-B1DF-44524E1936E7}" destId="{B9936A67-D41E-4EAC-94C6-1C466F463E56}" srcOrd="0" destOrd="0" presId="urn:microsoft.com/office/officeart/2018/2/layout/IconVerticalSolidList"/>
    <dgm:cxn modelId="{A6C5926F-44D1-4AE1-9163-71E17FBB8CE1}" type="presOf" srcId="{3CE1D4D6-316D-40E6-A34B-4A5229A7FD33}" destId="{42C37D3C-AE85-48B8-A8C6-F61F772C0B9A}" srcOrd="0" destOrd="0" presId="urn:microsoft.com/office/officeart/2018/2/layout/IconVerticalSolidList"/>
    <dgm:cxn modelId="{5196A96F-2AE4-40EB-BD0D-5A3BC5146D79}" srcId="{42ADFFF9-BF66-49F6-A3B7-8FCC936D9067}" destId="{3CE1D4D6-316D-40E6-A34B-4A5229A7FD33}" srcOrd="3" destOrd="0" parTransId="{6E48D0C0-1B72-45ED-98F0-AF6F9B81517A}" sibTransId="{DF417209-C87C-4418-84C5-2B5139604F39}"/>
    <dgm:cxn modelId="{8C459B7C-1ADA-4EFA-98AD-800281552A66}" srcId="{42ADFFF9-BF66-49F6-A3B7-8FCC936D9067}" destId="{1E598E9A-C2F6-423D-A531-13E3266A5863}" srcOrd="4" destOrd="0" parTransId="{0C277BFB-96A9-4181-BE58-1B25A4E6F9C1}" sibTransId="{2E284835-E253-43AA-8FBD-002063F55C4A}"/>
    <dgm:cxn modelId="{1A8A5381-AFC3-478A-84C7-0856ED0EA6F8}" type="presOf" srcId="{1174AB0E-4F71-41E6-82F5-3A3227AD4E81}" destId="{6A42E275-5DB7-4901-AD6E-ABF7DDADCC23}" srcOrd="0" destOrd="0" presId="urn:microsoft.com/office/officeart/2018/2/layout/IconVerticalSolidList"/>
    <dgm:cxn modelId="{3A185A87-4E9F-416D-AD33-F1D363D16203}" type="presOf" srcId="{42ADFFF9-BF66-49F6-A3B7-8FCC936D9067}" destId="{4E75C77A-C9B1-4BCA-B813-722A0799C16A}" srcOrd="0" destOrd="0" presId="urn:microsoft.com/office/officeart/2018/2/layout/IconVerticalSolidList"/>
    <dgm:cxn modelId="{61DB41A4-EE48-45E6-9E20-405AD64FE2D9}" type="presOf" srcId="{9E201045-D80E-42FF-B254-77F023950655}" destId="{60E44DAE-0D7A-4A26-A4F6-28395D689E41}" srcOrd="0" destOrd="0" presId="urn:microsoft.com/office/officeart/2018/2/layout/IconVerticalSolidList"/>
    <dgm:cxn modelId="{AC2987C4-33D9-43AC-9027-E719CF3BFB99}" type="presOf" srcId="{00975C77-37F8-481E-BFFC-5F466B38F012}" destId="{453CDAE1-2F2C-4158-88F2-BAAE1CCAEEBD}" srcOrd="0" destOrd="0" presId="urn:microsoft.com/office/officeart/2018/2/layout/IconVerticalSolidList"/>
    <dgm:cxn modelId="{70938CC4-8288-4E4C-8E8A-1E793E50E147}" type="presOf" srcId="{1E598E9A-C2F6-423D-A531-13E3266A5863}" destId="{3EB6E0F6-3C1A-497F-A910-977CA76BE106}" srcOrd="0" destOrd="0" presId="urn:microsoft.com/office/officeart/2018/2/layout/IconVerticalSolidList"/>
    <dgm:cxn modelId="{F0EBB3F8-DA21-4248-A062-28AD76E16D89}" type="presOf" srcId="{EABBA6F5-C927-4D24-94A8-80543039E0E5}" destId="{AD7171AC-FED7-4BC9-871F-A844D08ED37C}" srcOrd="0" destOrd="0" presId="urn:microsoft.com/office/officeart/2018/2/layout/IconVerticalSolidList"/>
    <dgm:cxn modelId="{F8AE29F9-4552-45F6-BE5F-20F0F0BE2233}" srcId="{42ADFFF9-BF66-49F6-A3B7-8FCC936D9067}" destId="{00975C77-37F8-481E-BFFC-5F466B38F012}" srcOrd="2" destOrd="0" parTransId="{C21B24DF-906B-4F06-A2D1-94B0A043CA26}" sibTransId="{0652BD2C-5A78-4115-80D3-78252AF7D403}"/>
    <dgm:cxn modelId="{413ED8FD-1509-41C9-9AC8-F203172933BF}" type="presOf" srcId="{9077D741-5403-42B3-98B9-27914E974FAF}" destId="{3D1FAA2C-6F62-495D-90F0-55E326F032B4}" srcOrd="0" destOrd="0" presId="urn:microsoft.com/office/officeart/2018/2/layout/IconVerticalSolidList"/>
    <dgm:cxn modelId="{CB8C5D72-4AA3-4D8A-84B0-FB0C03875F0A}" type="presParOf" srcId="{4E75C77A-C9B1-4BCA-B813-722A0799C16A}" destId="{F51D5A16-B4FD-4D18-A894-44DE4E1E24E4}" srcOrd="0" destOrd="0" presId="urn:microsoft.com/office/officeart/2018/2/layout/IconVerticalSolidList"/>
    <dgm:cxn modelId="{02DCD912-94E7-4E16-A0A6-069521A6E710}" type="presParOf" srcId="{F51D5A16-B4FD-4D18-A894-44DE4E1E24E4}" destId="{A9E224B6-A308-4E2C-8EAB-FA816890A3FB}" srcOrd="0" destOrd="0" presId="urn:microsoft.com/office/officeart/2018/2/layout/IconVerticalSolidList"/>
    <dgm:cxn modelId="{75FD9D15-DB4D-4ED6-B907-72CF78AED558}" type="presParOf" srcId="{F51D5A16-B4FD-4D18-A894-44DE4E1E24E4}" destId="{C7F87D2D-2F7F-4E92-B92F-BDDDEB01E110}" srcOrd="1" destOrd="0" presId="urn:microsoft.com/office/officeart/2018/2/layout/IconVerticalSolidList"/>
    <dgm:cxn modelId="{8DCD02C5-0488-4181-BBB3-D86C92B7DFA8}" type="presParOf" srcId="{F51D5A16-B4FD-4D18-A894-44DE4E1E24E4}" destId="{CCBB6519-343D-45DE-A95F-D386EA695A2A}" srcOrd="2" destOrd="0" presId="urn:microsoft.com/office/officeart/2018/2/layout/IconVerticalSolidList"/>
    <dgm:cxn modelId="{257CCBD3-9287-47CC-97AB-3F74B3843987}" type="presParOf" srcId="{F51D5A16-B4FD-4D18-A894-44DE4E1E24E4}" destId="{AD7171AC-FED7-4BC9-871F-A844D08ED37C}" srcOrd="3" destOrd="0" presId="urn:microsoft.com/office/officeart/2018/2/layout/IconVerticalSolidList"/>
    <dgm:cxn modelId="{ACFAFB53-E0EC-4FF5-B28C-13C8D294A49F}" type="presParOf" srcId="{F51D5A16-B4FD-4D18-A894-44DE4E1E24E4}" destId="{3D1FAA2C-6F62-495D-90F0-55E326F032B4}" srcOrd="4" destOrd="0" presId="urn:microsoft.com/office/officeart/2018/2/layout/IconVerticalSolidList"/>
    <dgm:cxn modelId="{24147F72-8BAE-40D4-A994-3E0BF7A1BC68}" type="presParOf" srcId="{4E75C77A-C9B1-4BCA-B813-722A0799C16A}" destId="{5564D223-53C2-4FF9-AF84-590E5FB3B596}" srcOrd="1" destOrd="0" presId="urn:microsoft.com/office/officeart/2018/2/layout/IconVerticalSolidList"/>
    <dgm:cxn modelId="{D328E906-2B41-4147-8A38-75D5B3BF636D}" type="presParOf" srcId="{4E75C77A-C9B1-4BCA-B813-722A0799C16A}" destId="{6BAE016A-AB8A-4FEB-A454-F7E4865D6993}" srcOrd="2" destOrd="0" presId="urn:microsoft.com/office/officeart/2018/2/layout/IconVerticalSolidList"/>
    <dgm:cxn modelId="{CF2D046F-7371-4122-8F4F-828D8B9AF4AF}" type="presParOf" srcId="{6BAE016A-AB8A-4FEB-A454-F7E4865D6993}" destId="{81769EDF-CAB8-4D32-8968-07AB49BB71C9}" srcOrd="0" destOrd="0" presId="urn:microsoft.com/office/officeart/2018/2/layout/IconVerticalSolidList"/>
    <dgm:cxn modelId="{5B442C14-BBB3-48C0-97FD-94F854B71539}" type="presParOf" srcId="{6BAE016A-AB8A-4FEB-A454-F7E4865D6993}" destId="{4F5B4E6E-E270-4D30-9BF3-F026897CEDC0}" srcOrd="1" destOrd="0" presId="urn:microsoft.com/office/officeart/2018/2/layout/IconVerticalSolidList"/>
    <dgm:cxn modelId="{055FE7E9-D9A9-4ECF-A380-738003A8560E}" type="presParOf" srcId="{6BAE016A-AB8A-4FEB-A454-F7E4865D6993}" destId="{CDB95D52-5149-4183-896C-39558AC2FCBC}" srcOrd="2" destOrd="0" presId="urn:microsoft.com/office/officeart/2018/2/layout/IconVerticalSolidList"/>
    <dgm:cxn modelId="{6C72E388-06BB-431D-A551-E254009000A8}" type="presParOf" srcId="{6BAE016A-AB8A-4FEB-A454-F7E4865D6993}" destId="{6A42E275-5DB7-4901-AD6E-ABF7DDADCC23}" srcOrd="3" destOrd="0" presId="urn:microsoft.com/office/officeart/2018/2/layout/IconVerticalSolidList"/>
    <dgm:cxn modelId="{5C6B4865-1776-4FA2-9632-0F8402768776}" type="presParOf" srcId="{4E75C77A-C9B1-4BCA-B813-722A0799C16A}" destId="{452D83B3-E0DD-43E1-8B45-7DF7C36F5DF9}" srcOrd="3" destOrd="0" presId="urn:microsoft.com/office/officeart/2018/2/layout/IconVerticalSolidList"/>
    <dgm:cxn modelId="{797FA59D-3122-48D7-8B91-106755DE0088}" type="presParOf" srcId="{4E75C77A-C9B1-4BCA-B813-722A0799C16A}" destId="{3C9EA0B0-C159-4603-A863-3FCACD41FC91}" srcOrd="4" destOrd="0" presId="urn:microsoft.com/office/officeart/2018/2/layout/IconVerticalSolidList"/>
    <dgm:cxn modelId="{817180D4-34FE-4FE3-947E-96100275F8C3}" type="presParOf" srcId="{3C9EA0B0-C159-4603-A863-3FCACD41FC91}" destId="{FF916E3D-5DB7-4B1B-AD79-02B85C264F10}" srcOrd="0" destOrd="0" presId="urn:microsoft.com/office/officeart/2018/2/layout/IconVerticalSolidList"/>
    <dgm:cxn modelId="{1EA3FD85-AE48-473A-801C-F43A2681E9EA}" type="presParOf" srcId="{3C9EA0B0-C159-4603-A863-3FCACD41FC91}" destId="{2DAA6045-CDCB-421B-91B6-45E103EF06E3}" srcOrd="1" destOrd="0" presId="urn:microsoft.com/office/officeart/2018/2/layout/IconVerticalSolidList"/>
    <dgm:cxn modelId="{88362415-C4E4-4A8E-BE86-A72896F05315}" type="presParOf" srcId="{3C9EA0B0-C159-4603-A863-3FCACD41FC91}" destId="{8232AB26-5AAA-4957-BE33-33CEAD52810F}" srcOrd="2" destOrd="0" presId="urn:microsoft.com/office/officeart/2018/2/layout/IconVerticalSolidList"/>
    <dgm:cxn modelId="{EDCBFDE5-EB28-487E-991D-7D1C5477BFBE}" type="presParOf" srcId="{3C9EA0B0-C159-4603-A863-3FCACD41FC91}" destId="{453CDAE1-2F2C-4158-88F2-BAAE1CCAEEBD}" srcOrd="3" destOrd="0" presId="urn:microsoft.com/office/officeart/2018/2/layout/IconVerticalSolidList"/>
    <dgm:cxn modelId="{CC7D2C97-B9C9-4A57-A12E-2313E0A846ED}" type="presParOf" srcId="{4E75C77A-C9B1-4BCA-B813-722A0799C16A}" destId="{E6612B48-C860-4F7F-8A3D-2B98AAFEA308}" srcOrd="5" destOrd="0" presId="urn:microsoft.com/office/officeart/2018/2/layout/IconVerticalSolidList"/>
    <dgm:cxn modelId="{6E90B9BF-06DC-4EBE-B921-221233902EF0}" type="presParOf" srcId="{4E75C77A-C9B1-4BCA-B813-722A0799C16A}" destId="{C8F833DE-9A9F-45F0-86B1-794395E2B2C2}" srcOrd="6" destOrd="0" presId="urn:microsoft.com/office/officeart/2018/2/layout/IconVerticalSolidList"/>
    <dgm:cxn modelId="{896753DB-53DA-4D7C-B425-F05D53ED2168}" type="presParOf" srcId="{C8F833DE-9A9F-45F0-86B1-794395E2B2C2}" destId="{5BABCDEB-0E4E-475F-A0A0-F01AC5BBAD33}" srcOrd="0" destOrd="0" presId="urn:microsoft.com/office/officeart/2018/2/layout/IconVerticalSolidList"/>
    <dgm:cxn modelId="{8215F495-C456-4FF5-909D-DF0E9274D212}" type="presParOf" srcId="{C8F833DE-9A9F-45F0-86B1-794395E2B2C2}" destId="{22D8B3E7-2AA6-497D-A1E6-FEC8EAF39AC9}" srcOrd="1" destOrd="0" presId="urn:microsoft.com/office/officeart/2018/2/layout/IconVerticalSolidList"/>
    <dgm:cxn modelId="{C5FAFEC7-D2B2-4E0C-9F63-96C6258772BD}" type="presParOf" srcId="{C8F833DE-9A9F-45F0-86B1-794395E2B2C2}" destId="{329D3E56-2779-4352-8F2E-E52747ACC3EC}" srcOrd="2" destOrd="0" presId="urn:microsoft.com/office/officeart/2018/2/layout/IconVerticalSolidList"/>
    <dgm:cxn modelId="{735FDFB7-27B8-41D3-AC86-CC55002F8E37}" type="presParOf" srcId="{C8F833DE-9A9F-45F0-86B1-794395E2B2C2}" destId="{42C37D3C-AE85-48B8-A8C6-F61F772C0B9A}" srcOrd="3" destOrd="0" presId="urn:microsoft.com/office/officeart/2018/2/layout/IconVerticalSolidList"/>
    <dgm:cxn modelId="{32665347-90D6-4737-8B2F-76F9417D3188}" type="presParOf" srcId="{4E75C77A-C9B1-4BCA-B813-722A0799C16A}" destId="{706CDB66-CB08-4CB4-B537-6CEE8CD54A1C}" srcOrd="7" destOrd="0" presId="urn:microsoft.com/office/officeart/2018/2/layout/IconVerticalSolidList"/>
    <dgm:cxn modelId="{89B2FAB7-7155-47C8-9F06-B1FBA5642154}" type="presParOf" srcId="{4E75C77A-C9B1-4BCA-B813-722A0799C16A}" destId="{5D3920F1-ABFE-423D-A659-CC5FE9DA3EDE}" srcOrd="8" destOrd="0" presId="urn:microsoft.com/office/officeart/2018/2/layout/IconVerticalSolidList"/>
    <dgm:cxn modelId="{16EC72A1-08AA-4241-B5BD-ED14887D59A7}" type="presParOf" srcId="{5D3920F1-ABFE-423D-A659-CC5FE9DA3EDE}" destId="{B4E8153B-72E1-48C2-AA56-24D7BF4B3387}" srcOrd="0" destOrd="0" presId="urn:microsoft.com/office/officeart/2018/2/layout/IconVerticalSolidList"/>
    <dgm:cxn modelId="{8139B501-18DD-4847-9211-56D5F593382D}" type="presParOf" srcId="{5D3920F1-ABFE-423D-A659-CC5FE9DA3EDE}" destId="{F9786716-8645-4C76-933D-766961F2D2EE}" srcOrd="1" destOrd="0" presId="urn:microsoft.com/office/officeart/2018/2/layout/IconVerticalSolidList"/>
    <dgm:cxn modelId="{C100F804-76EA-40A5-938F-D6937672D3BF}" type="presParOf" srcId="{5D3920F1-ABFE-423D-A659-CC5FE9DA3EDE}" destId="{AC9D66D1-3FEA-4B44-BB55-0FC98767D0C9}" srcOrd="2" destOrd="0" presId="urn:microsoft.com/office/officeart/2018/2/layout/IconVerticalSolidList"/>
    <dgm:cxn modelId="{074E8334-5C40-46E6-AA06-54FBBC591D80}" type="presParOf" srcId="{5D3920F1-ABFE-423D-A659-CC5FE9DA3EDE}" destId="{3EB6E0F6-3C1A-497F-A910-977CA76BE106}" srcOrd="3" destOrd="0" presId="urn:microsoft.com/office/officeart/2018/2/layout/IconVerticalSolidList"/>
    <dgm:cxn modelId="{E80E2490-4BE7-4D5C-8958-76E6C5C26DC1}" type="presParOf" srcId="{4E75C77A-C9B1-4BCA-B813-722A0799C16A}" destId="{4144B0A1-3673-4EFB-838D-53C599EBF673}" srcOrd="9" destOrd="0" presId="urn:microsoft.com/office/officeart/2018/2/layout/IconVerticalSolidList"/>
    <dgm:cxn modelId="{DCAD2E5F-A58A-46CF-A489-85B5BAA97696}" type="presParOf" srcId="{4E75C77A-C9B1-4BCA-B813-722A0799C16A}" destId="{9BE8984A-469F-44D0-A9B7-AD4EDD16F5E0}" srcOrd="10" destOrd="0" presId="urn:microsoft.com/office/officeart/2018/2/layout/IconVerticalSolidList"/>
    <dgm:cxn modelId="{105A6996-7B44-41D2-857D-64AF9CFAD644}" type="presParOf" srcId="{9BE8984A-469F-44D0-A9B7-AD4EDD16F5E0}" destId="{06C0AF89-0ADB-4754-B174-565B67DF2368}" srcOrd="0" destOrd="0" presId="urn:microsoft.com/office/officeart/2018/2/layout/IconVerticalSolidList"/>
    <dgm:cxn modelId="{9EF64C35-A226-464B-B43F-E65B19840E9F}" type="presParOf" srcId="{9BE8984A-469F-44D0-A9B7-AD4EDD16F5E0}" destId="{931A7871-B03B-48E1-B536-2276D5DA78D9}" srcOrd="1" destOrd="0" presId="urn:microsoft.com/office/officeart/2018/2/layout/IconVerticalSolidList"/>
    <dgm:cxn modelId="{2BAAC9A8-660C-4A58-95ED-E21D3AAFEDFA}" type="presParOf" srcId="{9BE8984A-469F-44D0-A9B7-AD4EDD16F5E0}" destId="{06E00483-6CA7-44EF-A597-046CF5EDF0F8}" srcOrd="2" destOrd="0" presId="urn:microsoft.com/office/officeart/2018/2/layout/IconVerticalSolidList"/>
    <dgm:cxn modelId="{392A0489-7F7D-48B7-89CC-81D66F0FA93E}" type="presParOf" srcId="{9BE8984A-469F-44D0-A9B7-AD4EDD16F5E0}" destId="{B30C4A2C-BA18-446A-A45B-3C10C4605D5D}" srcOrd="3" destOrd="0" presId="urn:microsoft.com/office/officeart/2018/2/layout/IconVerticalSolidList"/>
    <dgm:cxn modelId="{096EE942-194E-4308-9CDD-D5D9CF124B7F}" type="presParOf" srcId="{4E75C77A-C9B1-4BCA-B813-722A0799C16A}" destId="{62F3CFFF-58D7-47C8-BD4F-408DD2625674}" srcOrd="11" destOrd="0" presId="urn:microsoft.com/office/officeart/2018/2/layout/IconVerticalSolidList"/>
    <dgm:cxn modelId="{7D57B260-91A0-45DF-89F7-B7159C754ADF}" type="presParOf" srcId="{4E75C77A-C9B1-4BCA-B813-722A0799C16A}" destId="{8EDA784B-53C3-4A62-9E6A-025BA51C7D74}" srcOrd="12" destOrd="0" presId="urn:microsoft.com/office/officeart/2018/2/layout/IconVerticalSolidList"/>
    <dgm:cxn modelId="{C4DD70BD-D534-4150-8345-F3B93365FC2C}" type="presParOf" srcId="{8EDA784B-53C3-4A62-9E6A-025BA51C7D74}" destId="{59B72C1D-45BB-4B6B-9248-F4BD2FA3E4D3}" srcOrd="0" destOrd="0" presId="urn:microsoft.com/office/officeart/2018/2/layout/IconVerticalSolidList"/>
    <dgm:cxn modelId="{F5176B96-BF23-41F6-9924-B12BB9D711C5}" type="presParOf" srcId="{8EDA784B-53C3-4A62-9E6A-025BA51C7D74}" destId="{E1CEFE54-F132-436F-9EC3-FAB4E3A29D96}" srcOrd="1" destOrd="0" presId="urn:microsoft.com/office/officeart/2018/2/layout/IconVerticalSolidList"/>
    <dgm:cxn modelId="{014DB604-5998-4A42-BD88-6FB4A8D83BDF}" type="presParOf" srcId="{8EDA784B-53C3-4A62-9E6A-025BA51C7D74}" destId="{0D6AF82B-20A3-4C7A-92EC-A72C60F1F600}" srcOrd="2" destOrd="0" presId="urn:microsoft.com/office/officeart/2018/2/layout/IconVerticalSolidList"/>
    <dgm:cxn modelId="{A271AF46-491D-4F49-BBE4-AA51178F88AB}" type="presParOf" srcId="{8EDA784B-53C3-4A62-9E6A-025BA51C7D74}" destId="{60E44DAE-0D7A-4A26-A4F6-28395D689E41}" srcOrd="3" destOrd="0" presId="urn:microsoft.com/office/officeart/2018/2/layout/IconVerticalSolidList"/>
    <dgm:cxn modelId="{05F5C77C-B052-414C-9F27-B59A8B989F08}" type="presParOf" srcId="{4E75C77A-C9B1-4BCA-B813-722A0799C16A}" destId="{63DD7B62-C961-441C-9CBF-29DFFBC80985}" srcOrd="13" destOrd="0" presId="urn:microsoft.com/office/officeart/2018/2/layout/IconVerticalSolidList"/>
    <dgm:cxn modelId="{4A2E9E4E-FD19-4E7B-802B-3B34280C77D7}" type="presParOf" srcId="{4E75C77A-C9B1-4BCA-B813-722A0799C16A}" destId="{9F7EE39A-525F-4A43-914B-4940A36A8FAF}" srcOrd="14" destOrd="0" presId="urn:microsoft.com/office/officeart/2018/2/layout/IconVerticalSolidList"/>
    <dgm:cxn modelId="{6948D06D-15E5-4BA6-976C-81067299BB2A}" type="presParOf" srcId="{9F7EE39A-525F-4A43-914B-4940A36A8FAF}" destId="{3D76FD1E-EEE3-47C0-83CC-1FE544777142}" srcOrd="0" destOrd="0" presId="urn:microsoft.com/office/officeart/2018/2/layout/IconVerticalSolidList"/>
    <dgm:cxn modelId="{5027A85F-C3E1-4E5B-AD74-2483D22B2C58}" type="presParOf" srcId="{9F7EE39A-525F-4A43-914B-4940A36A8FAF}" destId="{03A2FAEA-F1E8-4372-AFF7-6271C5603D1E}" srcOrd="1" destOrd="0" presId="urn:microsoft.com/office/officeart/2018/2/layout/IconVerticalSolidList"/>
    <dgm:cxn modelId="{FA195C89-2C84-4533-B37F-ADABB4D404B3}" type="presParOf" srcId="{9F7EE39A-525F-4A43-914B-4940A36A8FAF}" destId="{1CB05DCF-2044-498B-AC44-CB7F7DD265BB}" srcOrd="2" destOrd="0" presId="urn:microsoft.com/office/officeart/2018/2/layout/IconVerticalSolidList"/>
    <dgm:cxn modelId="{72FB2212-2488-48F9-940D-6C7C3F922828}" type="presParOf" srcId="{9F7EE39A-525F-4A43-914B-4940A36A8FAF}" destId="{B9936A67-D41E-4EAC-94C6-1C466F463E56}"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8B93D40-5F04-4CB1-A901-DC79407085D5}" type="doc">
      <dgm:prSet loTypeId="urn:microsoft.com/office/officeart/2005/8/layout/list1" loCatId="list" qsTypeId="urn:microsoft.com/office/officeart/2005/8/quickstyle/simple1" qsCatId="simple" csTypeId="urn:microsoft.com/office/officeart/2005/8/colors/colorful2" csCatId="colorful"/>
      <dgm:spPr/>
      <dgm:t>
        <a:bodyPr/>
        <a:lstStyle/>
        <a:p>
          <a:endParaRPr lang="en-US"/>
        </a:p>
      </dgm:t>
    </dgm:pt>
    <dgm:pt modelId="{C7873266-0232-4D85-A37D-95FD34E1EA10}">
      <dgm:prSet/>
      <dgm:spPr/>
      <dgm:t>
        <a:bodyPr/>
        <a:lstStyle/>
        <a:p>
          <a:r>
            <a:rPr lang="en-US"/>
            <a:t>In-Memory makes it fast</a:t>
          </a:r>
        </a:p>
      </dgm:t>
    </dgm:pt>
    <dgm:pt modelId="{31D17662-BD42-4542-AE43-5DE610C19157}" type="parTrans" cxnId="{93C5519C-444A-4C1C-A2CD-5FEAF493EF74}">
      <dgm:prSet/>
      <dgm:spPr/>
      <dgm:t>
        <a:bodyPr/>
        <a:lstStyle/>
        <a:p>
          <a:endParaRPr lang="en-US"/>
        </a:p>
      </dgm:t>
    </dgm:pt>
    <dgm:pt modelId="{CEF9C96D-B955-43F8-9E29-DAB9CFD3E0AC}" type="sibTrans" cxnId="{93C5519C-444A-4C1C-A2CD-5FEAF493EF74}">
      <dgm:prSet/>
      <dgm:spPr/>
      <dgm:t>
        <a:bodyPr/>
        <a:lstStyle/>
        <a:p>
          <a:endParaRPr lang="en-US"/>
        </a:p>
      </dgm:t>
    </dgm:pt>
    <dgm:pt modelId="{E592C2F8-F2A4-4D11-9D5D-E98C017B5279}">
      <dgm:prSet/>
      <dgm:spPr/>
      <dgm:t>
        <a:bodyPr/>
        <a:lstStyle/>
        <a:p>
          <a:r>
            <a:rPr lang="en-US"/>
            <a:t>Scale-Out</a:t>
          </a:r>
        </a:p>
      </dgm:t>
    </dgm:pt>
    <dgm:pt modelId="{5AE46747-53B4-425A-9899-F85156B7D904}" type="parTrans" cxnId="{9772CD35-08E8-43C5-AB66-C888B60DE661}">
      <dgm:prSet/>
      <dgm:spPr/>
      <dgm:t>
        <a:bodyPr/>
        <a:lstStyle/>
        <a:p>
          <a:endParaRPr lang="en-US"/>
        </a:p>
      </dgm:t>
    </dgm:pt>
    <dgm:pt modelId="{EF8E47AC-ACED-44BF-A379-5B0FC900EC17}" type="sibTrans" cxnId="{9772CD35-08E8-43C5-AB66-C888B60DE661}">
      <dgm:prSet/>
      <dgm:spPr/>
      <dgm:t>
        <a:bodyPr/>
        <a:lstStyle/>
        <a:p>
          <a:endParaRPr lang="en-US"/>
        </a:p>
      </dgm:t>
    </dgm:pt>
    <dgm:pt modelId="{39B48D9A-76D0-46E0-B0F5-30BDD32E792F}">
      <dgm:prSet/>
      <dgm:spPr/>
      <dgm:t>
        <a:bodyPr/>
        <a:lstStyle/>
        <a:p>
          <a:r>
            <a:rPr lang="en-US"/>
            <a:t>Dynamic Schema</a:t>
          </a:r>
        </a:p>
      </dgm:t>
    </dgm:pt>
    <dgm:pt modelId="{D0125DCF-72C1-4E32-A40C-631381C370A9}" type="parTrans" cxnId="{96173872-6BC3-4894-BD2E-31611D954637}">
      <dgm:prSet/>
      <dgm:spPr/>
      <dgm:t>
        <a:bodyPr/>
        <a:lstStyle/>
        <a:p>
          <a:endParaRPr lang="en-US"/>
        </a:p>
      </dgm:t>
    </dgm:pt>
    <dgm:pt modelId="{25E936F5-D541-44EC-911D-F76A806E2C0C}" type="sibTrans" cxnId="{96173872-6BC3-4894-BD2E-31611D954637}">
      <dgm:prSet/>
      <dgm:spPr/>
      <dgm:t>
        <a:bodyPr/>
        <a:lstStyle/>
        <a:p>
          <a:endParaRPr lang="en-US"/>
        </a:p>
      </dgm:t>
    </dgm:pt>
    <dgm:pt modelId="{49403727-9B0B-4E95-8FAC-6EB0D1A37083}">
      <dgm:prSet/>
      <dgm:spPr/>
      <dgm:t>
        <a:bodyPr/>
        <a:lstStyle/>
        <a:p>
          <a:r>
            <a:rPr lang="en-US"/>
            <a:t>Reduce expensive database access</a:t>
          </a:r>
        </a:p>
      </dgm:t>
    </dgm:pt>
    <dgm:pt modelId="{BD51A053-627C-4311-9403-CCC539A08F21}" type="parTrans" cxnId="{8F988992-A2E1-4C1A-AE20-771251D0C11B}">
      <dgm:prSet/>
      <dgm:spPr/>
      <dgm:t>
        <a:bodyPr/>
        <a:lstStyle/>
        <a:p>
          <a:endParaRPr lang="en-US"/>
        </a:p>
      </dgm:t>
    </dgm:pt>
    <dgm:pt modelId="{6FDDD909-18F6-47A0-8BBE-EA08A70F83E2}" type="sibTrans" cxnId="{8F988992-A2E1-4C1A-AE20-771251D0C11B}">
      <dgm:prSet/>
      <dgm:spPr/>
      <dgm:t>
        <a:bodyPr/>
        <a:lstStyle/>
        <a:p>
          <a:endParaRPr lang="en-US"/>
        </a:p>
      </dgm:t>
    </dgm:pt>
    <dgm:pt modelId="{13F2C90C-0FE9-445D-9BB2-4E733B51C493}">
      <dgm:prSet/>
      <dgm:spPr/>
      <dgm:t>
        <a:bodyPr/>
        <a:lstStyle/>
        <a:p>
          <a:r>
            <a:rPr lang="en-US"/>
            <a:t>Flexible with TTL and LRU options</a:t>
          </a:r>
        </a:p>
      </dgm:t>
    </dgm:pt>
    <dgm:pt modelId="{06742CC2-A468-4271-B22B-82A8779A68C8}" type="parTrans" cxnId="{B4C95C83-BB0C-4E3E-A6E1-A02C7F4C6675}">
      <dgm:prSet/>
      <dgm:spPr/>
      <dgm:t>
        <a:bodyPr/>
        <a:lstStyle/>
        <a:p>
          <a:endParaRPr lang="en-US"/>
        </a:p>
      </dgm:t>
    </dgm:pt>
    <dgm:pt modelId="{949A9389-69F7-409F-8151-00D0CBBEEB95}" type="sibTrans" cxnId="{B4C95C83-BB0C-4E3E-A6E1-A02C7F4C6675}">
      <dgm:prSet/>
      <dgm:spPr/>
      <dgm:t>
        <a:bodyPr/>
        <a:lstStyle/>
        <a:p>
          <a:endParaRPr lang="en-US"/>
        </a:p>
      </dgm:t>
    </dgm:pt>
    <dgm:pt modelId="{26875536-6A78-B143-96AF-7E66349FCBAD}" type="pres">
      <dgm:prSet presAssocID="{A8B93D40-5F04-4CB1-A901-DC79407085D5}" presName="linear" presStyleCnt="0">
        <dgm:presLayoutVars>
          <dgm:dir/>
          <dgm:animLvl val="lvl"/>
          <dgm:resizeHandles val="exact"/>
        </dgm:presLayoutVars>
      </dgm:prSet>
      <dgm:spPr/>
    </dgm:pt>
    <dgm:pt modelId="{A7AB46A4-4150-5642-9A9E-769EDE5FF804}" type="pres">
      <dgm:prSet presAssocID="{C7873266-0232-4D85-A37D-95FD34E1EA10}" presName="parentLin" presStyleCnt="0"/>
      <dgm:spPr/>
    </dgm:pt>
    <dgm:pt modelId="{BA15E5F6-AE0A-9043-A4A9-CC3255BC951D}" type="pres">
      <dgm:prSet presAssocID="{C7873266-0232-4D85-A37D-95FD34E1EA10}" presName="parentLeftMargin" presStyleLbl="node1" presStyleIdx="0" presStyleCnt="5"/>
      <dgm:spPr/>
    </dgm:pt>
    <dgm:pt modelId="{49E6FDB8-741E-5942-8AD6-C7B766A1FEFE}" type="pres">
      <dgm:prSet presAssocID="{C7873266-0232-4D85-A37D-95FD34E1EA10}" presName="parentText" presStyleLbl="node1" presStyleIdx="0" presStyleCnt="5">
        <dgm:presLayoutVars>
          <dgm:chMax val="0"/>
          <dgm:bulletEnabled val="1"/>
        </dgm:presLayoutVars>
      </dgm:prSet>
      <dgm:spPr/>
    </dgm:pt>
    <dgm:pt modelId="{B824E3C5-EDBA-624C-844B-0E49BFEB101F}" type="pres">
      <dgm:prSet presAssocID="{C7873266-0232-4D85-A37D-95FD34E1EA10}" presName="negativeSpace" presStyleCnt="0"/>
      <dgm:spPr/>
    </dgm:pt>
    <dgm:pt modelId="{2D0C0D09-EC0A-7D44-87D0-F742C80C2A0E}" type="pres">
      <dgm:prSet presAssocID="{C7873266-0232-4D85-A37D-95FD34E1EA10}" presName="childText" presStyleLbl="conFgAcc1" presStyleIdx="0" presStyleCnt="5">
        <dgm:presLayoutVars>
          <dgm:bulletEnabled val="1"/>
        </dgm:presLayoutVars>
      </dgm:prSet>
      <dgm:spPr/>
    </dgm:pt>
    <dgm:pt modelId="{F3656936-D6D1-3248-AE83-4EE58CE2F22C}" type="pres">
      <dgm:prSet presAssocID="{CEF9C96D-B955-43F8-9E29-DAB9CFD3E0AC}" presName="spaceBetweenRectangles" presStyleCnt="0"/>
      <dgm:spPr/>
    </dgm:pt>
    <dgm:pt modelId="{FADD6AA6-F9D7-A043-A6EE-FA748F60B87E}" type="pres">
      <dgm:prSet presAssocID="{E592C2F8-F2A4-4D11-9D5D-E98C017B5279}" presName="parentLin" presStyleCnt="0"/>
      <dgm:spPr/>
    </dgm:pt>
    <dgm:pt modelId="{B4527377-07CC-DF4F-A328-E21D9A1B6EC4}" type="pres">
      <dgm:prSet presAssocID="{E592C2F8-F2A4-4D11-9D5D-E98C017B5279}" presName="parentLeftMargin" presStyleLbl="node1" presStyleIdx="0" presStyleCnt="5"/>
      <dgm:spPr/>
    </dgm:pt>
    <dgm:pt modelId="{E2813161-5B5A-174E-A72E-6DB898DC5A44}" type="pres">
      <dgm:prSet presAssocID="{E592C2F8-F2A4-4D11-9D5D-E98C017B5279}" presName="parentText" presStyleLbl="node1" presStyleIdx="1" presStyleCnt="5">
        <dgm:presLayoutVars>
          <dgm:chMax val="0"/>
          <dgm:bulletEnabled val="1"/>
        </dgm:presLayoutVars>
      </dgm:prSet>
      <dgm:spPr/>
    </dgm:pt>
    <dgm:pt modelId="{B35D1CCF-DDA2-5C49-AEA1-273F17B5A796}" type="pres">
      <dgm:prSet presAssocID="{E592C2F8-F2A4-4D11-9D5D-E98C017B5279}" presName="negativeSpace" presStyleCnt="0"/>
      <dgm:spPr/>
    </dgm:pt>
    <dgm:pt modelId="{D7893E73-0CB8-FE47-83F4-ABBED940C8F1}" type="pres">
      <dgm:prSet presAssocID="{E592C2F8-F2A4-4D11-9D5D-E98C017B5279}" presName="childText" presStyleLbl="conFgAcc1" presStyleIdx="1" presStyleCnt="5">
        <dgm:presLayoutVars>
          <dgm:bulletEnabled val="1"/>
        </dgm:presLayoutVars>
      </dgm:prSet>
      <dgm:spPr/>
    </dgm:pt>
    <dgm:pt modelId="{A6928522-8ED8-E145-85B4-1AFD32B02904}" type="pres">
      <dgm:prSet presAssocID="{EF8E47AC-ACED-44BF-A379-5B0FC900EC17}" presName="spaceBetweenRectangles" presStyleCnt="0"/>
      <dgm:spPr/>
    </dgm:pt>
    <dgm:pt modelId="{E93E3BA4-5D30-C14F-8CA5-94B4D3F0592B}" type="pres">
      <dgm:prSet presAssocID="{39B48D9A-76D0-46E0-B0F5-30BDD32E792F}" presName="parentLin" presStyleCnt="0"/>
      <dgm:spPr/>
    </dgm:pt>
    <dgm:pt modelId="{2AE884E1-B242-734F-BFD5-7B4701E4BD9D}" type="pres">
      <dgm:prSet presAssocID="{39B48D9A-76D0-46E0-B0F5-30BDD32E792F}" presName="parentLeftMargin" presStyleLbl="node1" presStyleIdx="1" presStyleCnt="5"/>
      <dgm:spPr/>
    </dgm:pt>
    <dgm:pt modelId="{B95E3C90-9CD3-F746-B618-7CA377F3CE9D}" type="pres">
      <dgm:prSet presAssocID="{39B48D9A-76D0-46E0-B0F5-30BDD32E792F}" presName="parentText" presStyleLbl="node1" presStyleIdx="2" presStyleCnt="5">
        <dgm:presLayoutVars>
          <dgm:chMax val="0"/>
          <dgm:bulletEnabled val="1"/>
        </dgm:presLayoutVars>
      </dgm:prSet>
      <dgm:spPr/>
    </dgm:pt>
    <dgm:pt modelId="{04F8832C-E896-1449-A44E-40E9556D08B4}" type="pres">
      <dgm:prSet presAssocID="{39B48D9A-76D0-46E0-B0F5-30BDD32E792F}" presName="negativeSpace" presStyleCnt="0"/>
      <dgm:spPr/>
    </dgm:pt>
    <dgm:pt modelId="{51BCB23F-E2AE-504E-AC99-70FF031E8EE6}" type="pres">
      <dgm:prSet presAssocID="{39B48D9A-76D0-46E0-B0F5-30BDD32E792F}" presName="childText" presStyleLbl="conFgAcc1" presStyleIdx="2" presStyleCnt="5">
        <dgm:presLayoutVars>
          <dgm:bulletEnabled val="1"/>
        </dgm:presLayoutVars>
      </dgm:prSet>
      <dgm:spPr/>
    </dgm:pt>
    <dgm:pt modelId="{355EDB80-07A7-7642-92AF-04B9E5E5D1BF}" type="pres">
      <dgm:prSet presAssocID="{25E936F5-D541-44EC-911D-F76A806E2C0C}" presName="spaceBetweenRectangles" presStyleCnt="0"/>
      <dgm:spPr/>
    </dgm:pt>
    <dgm:pt modelId="{AB44FDA7-A62C-4949-AEAF-70F65991B4F8}" type="pres">
      <dgm:prSet presAssocID="{49403727-9B0B-4E95-8FAC-6EB0D1A37083}" presName="parentLin" presStyleCnt="0"/>
      <dgm:spPr/>
    </dgm:pt>
    <dgm:pt modelId="{CBA3439F-6DC3-6446-BCEF-CE5F48B96D48}" type="pres">
      <dgm:prSet presAssocID="{49403727-9B0B-4E95-8FAC-6EB0D1A37083}" presName="parentLeftMargin" presStyleLbl="node1" presStyleIdx="2" presStyleCnt="5"/>
      <dgm:spPr/>
    </dgm:pt>
    <dgm:pt modelId="{9291613E-0510-7746-A58B-9B4C8AA116CB}" type="pres">
      <dgm:prSet presAssocID="{49403727-9B0B-4E95-8FAC-6EB0D1A37083}" presName="parentText" presStyleLbl="node1" presStyleIdx="3" presStyleCnt="5">
        <dgm:presLayoutVars>
          <dgm:chMax val="0"/>
          <dgm:bulletEnabled val="1"/>
        </dgm:presLayoutVars>
      </dgm:prSet>
      <dgm:spPr/>
    </dgm:pt>
    <dgm:pt modelId="{5D96E916-E748-204E-864F-9378AAFC5087}" type="pres">
      <dgm:prSet presAssocID="{49403727-9B0B-4E95-8FAC-6EB0D1A37083}" presName="negativeSpace" presStyleCnt="0"/>
      <dgm:spPr/>
    </dgm:pt>
    <dgm:pt modelId="{8E78BDCC-752E-A04D-8B3F-97DB9E3AF45F}" type="pres">
      <dgm:prSet presAssocID="{49403727-9B0B-4E95-8FAC-6EB0D1A37083}" presName="childText" presStyleLbl="conFgAcc1" presStyleIdx="3" presStyleCnt="5">
        <dgm:presLayoutVars>
          <dgm:bulletEnabled val="1"/>
        </dgm:presLayoutVars>
      </dgm:prSet>
      <dgm:spPr/>
    </dgm:pt>
    <dgm:pt modelId="{7CBA20B1-557A-C54E-9DB3-8D50836A7A53}" type="pres">
      <dgm:prSet presAssocID="{6FDDD909-18F6-47A0-8BBE-EA08A70F83E2}" presName="spaceBetweenRectangles" presStyleCnt="0"/>
      <dgm:spPr/>
    </dgm:pt>
    <dgm:pt modelId="{10BC65AE-1AE3-3243-9B15-3D678351E0E9}" type="pres">
      <dgm:prSet presAssocID="{13F2C90C-0FE9-445D-9BB2-4E733B51C493}" presName="parentLin" presStyleCnt="0"/>
      <dgm:spPr/>
    </dgm:pt>
    <dgm:pt modelId="{3AE03E0A-F680-9940-8D95-88FD71A20B27}" type="pres">
      <dgm:prSet presAssocID="{13F2C90C-0FE9-445D-9BB2-4E733B51C493}" presName="parentLeftMargin" presStyleLbl="node1" presStyleIdx="3" presStyleCnt="5"/>
      <dgm:spPr/>
    </dgm:pt>
    <dgm:pt modelId="{88E42410-E224-C449-B259-0A64C0672537}" type="pres">
      <dgm:prSet presAssocID="{13F2C90C-0FE9-445D-9BB2-4E733B51C493}" presName="parentText" presStyleLbl="node1" presStyleIdx="4" presStyleCnt="5">
        <dgm:presLayoutVars>
          <dgm:chMax val="0"/>
          <dgm:bulletEnabled val="1"/>
        </dgm:presLayoutVars>
      </dgm:prSet>
      <dgm:spPr/>
    </dgm:pt>
    <dgm:pt modelId="{41AAE345-4CD1-1D49-B300-6548897C2CBB}" type="pres">
      <dgm:prSet presAssocID="{13F2C90C-0FE9-445D-9BB2-4E733B51C493}" presName="negativeSpace" presStyleCnt="0"/>
      <dgm:spPr/>
    </dgm:pt>
    <dgm:pt modelId="{5C284140-D025-9241-BD55-85AC5916D68B}" type="pres">
      <dgm:prSet presAssocID="{13F2C90C-0FE9-445D-9BB2-4E733B51C493}" presName="childText" presStyleLbl="conFgAcc1" presStyleIdx="4" presStyleCnt="5">
        <dgm:presLayoutVars>
          <dgm:bulletEnabled val="1"/>
        </dgm:presLayoutVars>
      </dgm:prSet>
      <dgm:spPr/>
    </dgm:pt>
  </dgm:ptLst>
  <dgm:cxnLst>
    <dgm:cxn modelId="{0575A335-FD96-224F-BEB0-FD98A96E6270}" type="presOf" srcId="{49403727-9B0B-4E95-8FAC-6EB0D1A37083}" destId="{CBA3439F-6DC3-6446-BCEF-CE5F48B96D48}" srcOrd="0" destOrd="0" presId="urn:microsoft.com/office/officeart/2005/8/layout/list1"/>
    <dgm:cxn modelId="{9772CD35-08E8-43C5-AB66-C888B60DE661}" srcId="{A8B93D40-5F04-4CB1-A901-DC79407085D5}" destId="{E592C2F8-F2A4-4D11-9D5D-E98C017B5279}" srcOrd="1" destOrd="0" parTransId="{5AE46747-53B4-425A-9899-F85156B7D904}" sibTransId="{EF8E47AC-ACED-44BF-A379-5B0FC900EC17}"/>
    <dgm:cxn modelId="{625A2547-9CD3-8142-BB34-F3A79D193740}" type="presOf" srcId="{13F2C90C-0FE9-445D-9BB2-4E733B51C493}" destId="{88E42410-E224-C449-B259-0A64C0672537}" srcOrd="1" destOrd="0" presId="urn:microsoft.com/office/officeart/2005/8/layout/list1"/>
    <dgm:cxn modelId="{E3B74555-3FEC-EE44-A760-7DF7C6EC9E43}" type="presOf" srcId="{A8B93D40-5F04-4CB1-A901-DC79407085D5}" destId="{26875536-6A78-B143-96AF-7E66349FCBAD}" srcOrd="0" destOrd="0" presId="urn:microsoft.com/office/officeart/2005/8/layout/list1"/>
    <dgm:cxn modelId="{3C93EE5A-6922-DC4C-B887-379F3507BB8D}" type="presOf" srcId="{39B48D9A-76D0-46E0-B0F5-30BDD32E792F}" destId="{2AE884E1-B242-734F-BFD5-7B4701E4BD9D}" srcOrd="0" destOrd="0" presId="urn:microsoft.com/office/officeart/2005/8/layout/list1"/>
    <dgm:cxn modelId="{9CC21E6B-3F06-C740-8A08-2900D8D097A3}" type="presOf" srcId="{C7873266-0232-4D85-A37D-95FD34E1EA10}" destId="{BA15E5F6-AE0A-9043-A4A9-CC3255BC951D}" srcOrd="0" destOrd="0" presId="urn:microsoft.com/office/officeart/2005/8/layout/list1"/>
    <dgm:cxn modelId="{96173872-6BC3-4894-BD2E-31611D954637}" srcId="{A8B93D40-5F04-4CB1-A901-DC79407085D5}" destId="{39B48D9A-76D0-46E0-B0F5-30BDD32E792F}" srcOrd="2" destOrd="0" parTransId="{D0125DCF-72C1-4E32-A40C-631381C370A9}" sibTransId="{25E936F5-D541-44EC-911D-F76A806E2C0C}"/>
    <dgm:cxn modelId="{FCD0D47C-445B-3040-A678-B217BA6A60F3}" type="presOf" srcId="{13F2C90C-0FE9-445D-9BB2-4E733B51C493}" destId="{3AE03E0A-F680-9940-8D95-88FD71A20B27}" srcOrd="0" destOrd="0" presId="urn:microsoft.com/office/officeart/2005/8/layout/list1"/>
    <dgm:cxn modelId="{E1FEA580-9045-344A-A1A7-78B0CB9C57DF}" type="presOf" srcId="{49403727-9B0B-4E95-8FAC-6EB0D1A37083}" destId="{9291613E-0510-7746-A58B-9B4C8AA116CB}" srcOrd="1" destOrd="0" presId="urn:microsoft.com/office/officeart/2005/8/layout/list1"/>
    <dgm:cxn modelId="{B4C95C83-BB0C-4E3E-A6E1-A02C7F4C6675}" srcId="{A8B93D40-5F04-4CB1-A901-DC79407085D5}" destId="{13F2C90C-0FE9-445D-9BB2-4E733B51C493}" srcOrd="4" destOrd="0" parTransId="{06742CC2-A468-4271-B22B-82A8779A68C8}" sibTransId="{949A9389-69F7-409F-8151-00D0CBBEEB95}"/>
    <dgm:cxn modelId="{8F988992-A2E1-4C1A-AE20-771251D0C11B}" srcId="{A8B93D40-5F04-4CB1-A901-DC79407085D5}" destId="{49403727-9B0B-4E95-8FAC-6EB0D1A37083}" srcOrd="3" destOrd="0" parTransId="{BD51A053-627C-4311-9403-CCC539A08F21}" sibTransId="{6FDDD909-18F6-47A0-8BBE-EA08A70F83E2}"/>
    <dgm:cxn modelId="{93C5519C-444A-4C1C-A2CD-5FEAF493EF74}" srcId="{A8B93D40-5F04-4CB1-A901-DC79407085D5}" destId="{C7873266-0232-4D85-A37D-95FD34E1EA10}" srcOrd="0" destOrd="0" parTransId="{31D17662-BD42-4542-AE43-5DE610C19157}" sibTransId="{CEF9C96D-B955-43F8-9E29-DAB9CFD3E0AC}"/>
    <dgm:cxn modelId="{A9DF4AAE-3C92-F449-903B-767DBF96924E}" type="presOf" srcId="{C7873266-0232-4D85-A37D-95FD34E1EA10}" destId="{49E6FDB8-741E-5942-8AD6-C7B766A1FEFE}" srcOrd="1" destOrd="0" presId="urn:microsoft.com/office/officeart/2005/8/layout/list1"/>
    <dgm:cxn modelId="{C74222C2-72EC-914A-96C3-8788C1640B58}" type="presOf" srcId="{39B48D9A-76D0-46E0-B0F5-30BDD32E792F}" destId="{B95E3C90-9CD3-F746-B618-7CA377F3CE9D}" srcOrd="1" destOrd="0" presId="urn:microsoft.com/office/officeart/2005/8/layout/list1"/>
    <dgm:cxn modelId="{656AC0EA-FA1F-4A4F-8936-97651D2D2DB4}" type="presOf" srcId="{E592C2F8-F2A4-4D11-9D5D-E98C017B5279}" destId="{B4527377-07CC-DF4F-A328-E21D9A1B6EC4}" srcOrd="0" destOrd="0" presId="urn:microsoft.com/office/officeart/2005/8/layout/list1"/>
    <dgm:cxn modelId="{D45115F0-4BC4-1C4C-94FE-CD4FF938CBF8}" type="presOf" srcId="{E592C2F8-F2A4-4D11-9D5D-E98C017B5279}" destId="{E2813161-5B5A-174E-A72E-6DB898DC5A44}" srcOrd="1" destOrd="0" presId="urn:microsoft.com/office/officeart/2005/8/layout/list1"/>
    <dgm:cxn modelId="{63FE2DA2-91B9-E54F-85C1-E619050267DC}" type="presParOf" srcId="{26875536-6A78-B143-96AF-7E66349FCBAD}" destId="{A7AB46A4-4150-5642-9A9E-769EDE5FF804}" srcOrd="0" destOrd="0" presId="urn:microsoft.com/office/officeart/2005/8/layout/list1"/>
    <dgm:cxn modelId="{90274639-9AD2-5247-B5C2-2177B34C0356}" type="presParOf" srcId="{A7AB46A4-4150-5642-9A9E-769EDE5FF804}" destId="{BA15E5F6-AE0A-9043-A4A9-CC3255BC951D}" srcOrd="0" destOrd="0" presId="urn:microsoft.com/office/officeart/2005/8/layout/list1"/>
    <dgm:cxn modelId="{D8481EBD-A5E8-9544-9C38-33DD936973F3}" type="presParOf" srcId="{A7AB46A4-4150-5642-9A9E-769EDE5FF804}" destId="{49E6FDB8-741E-5942-8AD6-C7B766A1FEFE}" srcOrd="1" destOrd="0" presId="urn:microsoft.com/office/officeart/2005/8/layout/list1"/>
    <dgm:cxn modelId="{8C8DEC6D-C1C7-084D-B8E4-071726FE329C}" type="presParOf" srcId="{26875536-6A78-B143-96AF-7E66349FCBAD}" destId="{B824E3C5-EDBA-624C-844B-0E49BFEB101F}" srcOrd="1" destOrd="0" presId="urn:microsoft.com/office/officeart/2005/8/layout/list1"/>
    <dgm:cxn modelId="{0D745128-1AE6-1642-BC07-7629DD0CC885}" type="presParOf" srcId="{26875536-6A78-B143-96AF-7E66349FCBAD}" destId="{2D0C0D09-EC0A-7D44-87D0-F742C80C2A0E}" srcOrd="2" destOrd="0" presId="urn:microsoft.com/office/officeart/2005/8/layout/list1"/>
    <dgm:cxn modelId="{F6B92928-A7F3-FD4F-A2E5-01E0AE9669AD}" type="presParOf" srcId="{26875536-6A78-B143-96AF-7E66349FCBAD}" destId="{F3656936-D6D1-3248-AE83-4EE58CE2F22C}" srcOrd="3" destOrd="0" presId="urn:microsoft.com/office/officeart/2005/8/layout/list1"/>
    <dgm:cxn modelId="{87BC6E85-E87E-DB4E-ABAA-48056159B90D}" type="presParOf" srcId="{26875536-6A78-B143-96AF-7E66349FCBAD}" destId="{FADD6AA6-F9D7-A043-A6EE-FA748F60B87E}" srcOrd="4" destOrd="0" presId="urn:microsoft.com/office/officeart/2005/8/layout/list1"/>
    <dgm:cxn modelId="{E35F576D-7993-4840-854E-0085CBDE5BEF}" type="presParOf" srcId="{FADD6AA6-F9D7-A043-A6EE-FA748F60B87E}" destId="{B4527377-07CC-DF4F-A328-E21D9A1B6EC4}" srcOrd="0" destOrd="0" presId="urn:microsoft.com/office/officeart/2005/8/layout/list1"/>
    <dgm:cxn modelId="{4259170F-46ED-164B-98E1-FE3155352D12}" type="presParOf" srcId="{FADD6AA6-F9D7-A043-A6EE-FA748F60B87E}" destId="{E2813161-5B5A-174E-A72E-6DB898DC5A44}" srcOrd="1" destOrd="0" presId="urn:microsoft.com/office/officeart/2005/8/layout/list1"/>
    <dgm:cxn modelId="{CCA6E3FE-3E24-0F44-8EE0-2BC2A2A6FBE2}" type="presParOf" srcId="{26875536-6A78-B143-96AF-7E66349FCBAD}" destId="{B35D1CCF-DDA2-5C49-AEA1-273F17B5A796}" srcOrd="5" destOrd="0" presId="urn:microsoft.com/office/officeart/2005/8/layout/list1"/>
    <dgm:cxn modelId="{424C71C0-940B-5843-88CD-2B057F3B3E48}" type="presParOf" srcId="{26875536-6A78-B143-96AF-7E66349FCBAD}" destId="{D7893E73-0CB8-FE47-83F4-ABBED940C8F1}" srcOrd="6" destOrd="0" presId="urn:microsoft.com/office/officeart/2005/8/layout/list1"/>
    <dgm:cxn modelId="{080D3AAA-8265-0743-A3EA-9FB2FDB11A17}" type="presParOf" srcId="{26875536-6A78-B143-96AF-7E66349FCBAD}" destId="{A6928522-8ED8-E145-85B4-1AFD32B02904}" srcOrd="7" destOrd="0" presId="urn:microsoft.com/office/officeart/2005/8/layout/list1"/>
    <dgm:cxn modelId="{1BC98C12-E2D5-D449-995C-3ECF346985A8}" type="presParOf" srcId="{26875536-6A78-B143-96AF-7E66349FCBAD}" destId="{E93E3BA4-5D30-C14F-8CA5-94B4D3F0592B}" srcOrd="8" destOrd="0" presId="urn:microsoft.com/office/officeart/2005/8/layout/list1"/>
    <dgm:cxn modelId="{77477D48-BEA9-8D49-8F2F-41CCE913327A}" type="presParOf" srcId="{E93E3BA4-5D30-C14F-8CA5-94B4D3F0592B}" destId="{2AE884E1-B242-734F-BFD5-7B4701E4BD9D}" srcOrd="0" destOrd="0" presId="urn:microsoft.com/office/officeart/2005/8/layout/list1"/>
    <dgm:cxn modelId="{D85412A9-4470-2F4D-82F4-B4B8A743A90B}" type="presParOf" srcId="{E93E3BA4-5D30-C14F-8CA5-94B4D3F0592B}" destId="{B95E3C90-9CD3-F746-B618-7CA377F3CE9D}" srcOrd="1" destOrd="0" presId="urn:microsoft.com/office/officeart/2005/8/layout/list1"/>
    <dgm:cxn modelId="{750B026F-21C1-2744-AC01-E0B152C7919A}" type="presParOf" srcId="{26875536-6A78-B143-96AF-7E66349FCBAD}" destId="{04F8832C-E896-1449-A44E-40E9556D08B4}" srcOrd="9" destOrd="0" presId="urn:microsoft.com/office/officeart/2005/8/layout/list1"/>
    <dgm:cxn modelId="{BE33B424-B56B-4345-9844-EC9B2202F54C}" type="presParOf" srcId="{26875536-6A78-B143-96AF-7E66349FCBAD}" destId="{51BCB23F-E2AE-504E-AC99-70FF031E8EE6}" srcOrd="10" destOrd="0" presId="urn:microsoft.com/office/officeart/2005/8/layout/list1"/>
    <dgm:cxn modelId="{85522FB2-DE09-F041-8AE3-FF022F96E9E0}" type="presParOf" srcId="{26875536-6A78-B143-96AF-7E66349FCBAD}" destId="{355EDB80-07A7-7642-92AF-04B9E5E5D1BF}" srcOrd="11" destOrd="0" presId="urn:microsoft.com/office/officeart/2005/8/layout/list1"/>
    <dgm:cxn modelId="{8562408B-5522-2F4C-B262-122C4528E573}" type="presParOf" srcId="{26875536-6A78-B143-96AF-7E66349FCBAD}" destId="{AB44FDA7-A62C-4949-AEAF-70F65991B4F8}" srcOrd="12" destOrd="0" presId="urn:microsoft.com/office/officeart/2005/8/layout/list1"/>
    <dgm:cxn modelId="{615BC866-A6B0-644A-913C-E7A976FC1EB4}" type="presParOf" srcId="{AB44FDA7-A62C-4949-AEAF-70F65991B4F8}" destId="{CBA3439F-6DC3-6446-BCEF-CE5F48B96D48}" srcOrd="0" destOrd="0" presId="urn:microsoft.com/office/officeart/2005/8/layout/list1"/>
    <dgm:cxn modelId="{FA64ECEC-7273-D94A-9AEE-347D439B653F}" type="presParOf" srcId="{AB44FDA7-A62C-4949-AEAF-70F65991B4F8}" destId="{9291613E-0510-7746-A58B-9B4C8AA116CB}" srcOrd="1" destOrd="0" presId="urn:microsoft.com/office/officeart/2005/8/layout/list1"/>
    <dgm:cxn modelId="{E1995C61-9629-8248-9435-FA362A1D5B81}" type="presParOf" srcId="{26875536-6A78-B143-96AF-7E66349FCBAD}" destId="{5D96E916-E748-204E-864F-9378AAFC5087}" srcOrd="13" destOrd="0" presId="urn:microsoft.com/office/officeart/2005/8/layout/list1"/>
    <dgm:cxn modelId="{F75C339C-97DD-4B45-BA8E-E60FBEC0DADB}" type="presParOf" srcId="{26875536-6A78-B143-96AF-7E66349FCBAD}" destId="{8E78BDCC-752E-A04D-8B3F-97DB9E3AF45F}" srcOrd="14" destOrd="0" presId="urn:microsoft.com/office/officeart/2005/8/layout/list1"/>
    <dgm:cxn modelId="{5CC4083B-3206-5248-8EB0-19F6BBA78B68}" type="presParOf" srcId="{26875536-6A78-B143-96AF-7E66349FCBAD}" destId="{7CBA20B1-557A-C54E-9DB3-8D50836A7A53}" srcOrd="15" destOrd="0" presId="urn:microsoft.com/office/officeart/2005/8/layout/list1"/>
    <dgm:cxn modelId="{C69F1184-F903-1449-9776-D6FFE73ECBB8}" type="presParOf" srcId="{26875536-6A78-B143-96AF-7E66349FCBAD}" destId="{10BC65AE-1AE3-3243-9B15-3D678351E0E9}" srcOrd="16" destOrd="0" presId="urn:microsoft.com/office/officeart/2005/8/layout/list1"/>
    <dgm:cxn modelId="{C32A4933-1B43-C641-98FD-4ADB532C3670}" type="presParOf" srcId="{10BC65AE-1AE3-3243-9B15-3D678351E0E9}" destId="{3AE03E0A-F680-9940-8D95-88FD71A20B27}" srcOrd="0" destOrd="0" presId="urn:microsoft.com/office/officeart/2005/8/layout/list1"/>
    <dgm:cxn modelId="{FE29542F-9175-1549-9005-6BDB645E4686}" type="presParOf" srcId="{10BC65AE-1AE3-3243-9B15-3D678351E0E9}" destId="{88E42410-E224-C449-B259-0A64C0672537}" srcOrd="1" destOrd="0" presId="urn:microsoft.com/office/officeart/2005/8/layout/list1"/>
    <dgm:cxn modelId="{095FA209-9EB8-654D-8137-7A6437CFACC0}" type="presParOf" srcId="{26875536-6A78-B143-96AF-7E66349FCBAD}" destId="{41AAE345-4CD1-1D49-B300-6548897C2CBB}" srcOrd="17" destOrd="0" presId="urn:microsoft.com/office/officeart/2005/8/layout/list1"/>
    <dgm:cxn modelId="{34D9848F-4407-D74D-8E74-07AB06B557F4}" type="presParOf" srcId="{26875536-6A78-B143-96AF-7E66349FCBAD}" destId="{5C284140-D025-9241-BD55-85AC5916D68B}" srcOrd="18"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7B651FF-D753-4B68-99C3-308D6F35EB21}" type="doc">
      <dgm:prSet loTypeId="urn:microsoft.com/office/officeart/2018/2/layout/IconVerticalSolidList" loCatId="icon" qsTypeId="urn:microsoft.com/office/officeart/2005/8/quickstyle/simple4" qsCatId="simple" csTypeId="urn:microsoft.com/office/officeart/2018/5/colors/Iconchunking_neutralicontext_colorful1" csCatId="colorful" phldr="1"/>
      <dgm:spPr/>
      <dgm:t>
        <a:bodyPr/>
        <a:lstStyle/>
        <a:p>
          <a:endParaRPr lang="en-US"/>
        </a:p>
      </dgm:t>
    </dgm:pt>
    <dgm:pt modelId="{67B86A03-AFC5-4F29-BC16-9CA7C527F0F9}">
      <dgm:prSet/>
      <dgm:spPr/>
      <dgm:t>
        <a:bodyPr/>
        <a:lstStyle/>
        <a:p>
          <a:r>
            <a:rPr lang="en-US"/>
            <a:t>Asynchronous Single Threaded Event Loop </a:t>
          </a:r>
        </a:p>
      </dgm:t>
    </dgm:pt>
    <dgm:pt modelId="{24A173F3-5E13-4651-BDB6-894BA70D7AAA}" type="parTrans" cxnId="{38D39D2C-DEEC-4C31-A79B-31C413954D9F}">
      <dgm:prSet/>
      <dgm:spPr/>
      <dgm:t>
        <a:bodyPr/>
        <a:lstStyle/>
        <a:p>
          <a:endParaRPr lang="en-US"/>
        </a:p>
      </dgm:t>
    </dgm:pt>
    <dgm:pt modelId="{8B09A26A-B591-4E23-9658-9714331A8FDA}" type="sibTrans" cxnId="{38D39D2C-DEEC-4C31-A79B-31C413954D9F}">
      <dgm:prSet/>
      <dgm:spPr/>
      <dgm:t>
        <a:bodyPr/>
        <a:lstStyle/>
        <a:p>
          <a:endParaRPr lang="en-US"/>
        </a:p>
      </dgm:t>
    </dgm:pt>
    <dgm:pt modelId="{A47EC375-2635-4093-B0F2-C0453A6878F9}">
      <dgm:prSet/>
      <dgm:spPr/>
      <dgm:t>
        <a:bodyPr/>
        <a:lstStyle/>
        <a:p>
          <a:r>
            <a:rPr lang="en-US"/>
            <a:t>Its just a basic </a:t>
          </a:r>
          <a:r>
            <a:rPr lang="en-US" i="1"/>
            <a:t>while(true) </a:t>
          </a:r>
          <a:r>
            <a:rPr lang="en-US"/>
            <a:t>loop</a:t>
          </a:r>
        </a:p>
      </dgm:t>
    </dgm:pt>
    <dgm:pt modelId="{8A9D8D53-394D-45CE-AE66-6D1BF272DB8E}" type="parTrans" cxnId="{406E5679-A605-4C97-BD6C-1EE1146D0185}">
      <dgm:prSet/>
      <dgm:spPr/>
      <dgm:t>
        <a:bodyPr/>
        <a:lstStyle/>
        <a:p>
          <a:endParaRPr lang="en-US"/>
        </a:p>
      </dgm:t>
    </dgm:pt>
    <dgm:pt modelId="{326FC758-6F4C-48F3-A907-87780D2E89FC}" type="sibTrans" cxnId="{406E5679-A605-4C97-BD6C-1EE1146D0185}">
      <dgm:prSet/>
      <dgm:spPr/>
      <dgm:t>
        <a:bodyPr/>
        <a:lstStyle/>
        <a:p>
          <a:endParaRPr lang="en-US"/>
        </a:p>
      </dgm:t>
    </dgm:pt>
    <dgm:pt modelId="{B0706396-7C6C-406B-9005-AB72BCA726B0}">
      <dgm:prSet/>
      <dgm:spPr/>
      <dgm:t>
        <a:bodyPr/>
        <a:lstStyle/>
        <a:p>
          <a:r>
            <a:rPr lang="en-US"/>
            <a:t>Redis handles all operations in this loop</a:t>
          </a:r>
        </a:p>
      </dgm:t>
    </dgm:pt>
    <dgm:pt modelId="{F3494385-3DC8-4567-B698-A5C02980DE11}" type="parTrans" cxnId="{6CFAA50D-A33B-4256-8C11-A926625D3DBE}">
      <dgm:prSet/>
      <dgm:spPr/>
      <dgm:t>
        <a:bodyPr/>
        <a:lstStyle/>
        <a:p>
          <a:endParaRPr lang="en-US"/>
        </a:p>
      </dgm:t>
    </dgm:pt>
    <dgm:pt modelId="{BC29CA82-CFE1-4DA6-9467-5BDEA43CF0DD}" type="sibTrans" cxnId="{6CFAA50D-A33B-4256-8C11-A926625D3DBE}">
      <dgm:prSet/>
      <dgm:spPr/>
      <dgm:t>
        <a:bodyPr/>
        <a:lstStyle/>
        <a:p>
          <a:endParaRPr lang="en-US"/>
        </a:p>
      </dgm:t>
    </dgm:pt>
    <dgm:pt modelId="{F9912DF6-E930-42EF-BBBC-26DAA2A23B35}">
      <dgm:prSet/>
      <dgm:spPr/>
      <dgm:t>
        <a:bodyPr/>
        <a:lstStyle/>
        <a:p>
          <a:r>
            <a:rPr lang="en-US"/>
            <a:t>Stores all data In-memory</a:t>
          </a:r>
        </a:p>
      </dgm:t>
    </dgm:pt>
    <dgm:pt modelId="{A742C646-EC1B-44BB-8603-7120D2C1C805}" type="parTrans" cxnId="{2655C202-69F5-42D9-841C-D92EFF8046E6}">
      <dgm:prSet/>
      <dgm:spPr/>
      <dgm:t>
        <a:bodyPr/>
        <a:lstStyle/>
        <a:p>
          <a:endParaRPr lang="en-US"/>
        </a:p>
      </dgm:t>
    </dgm:pt>
    <dgm:pt modelId="{39E2086A-E4B3-44F3-888F-E0817D3B4CDF}" type="sibTrans" cxnId="{2655C202-69F5-42D9-841C-D92EFF8046E6}">
      <dgm:prSet/>
      <dgm:spPr/>
      <dgm:t>
        <a:bodyPr/>
        <a:lstStyle/>
        <a:p>
          <a:endParaRPr lang="en-US"/>
        </a:p>
      </dgm:t>
    </dgm:pt>
    <dgm:pt modelId="{4C2F3A40-E97D-4CB2-947F-167A1C51B2D3}">
      <dgm:prSet/>
      <dgm:spPr/>
      <dgm:t>
        <a:bodyPr/>
        <a:lstStyle/>
        <a:p>
          <a:r>
            <a:rPr lang="en-US"/>
            <a:t>Optional backup\persistence to disk</a:t>
          </a:r>
        </a:p>
      </dgm:t>
    </dgm:pt>
    <dgm:pt modelId="{1EDAA9B7-A7BB-4E45-B26A-56C2E7EA28DC}" type="parTrans" cxnId="{4E1215F5-0A7C-4558-9E93-01CE50DEC13D}">
      <dgm:prSet/>
      <dgm:spPr/>
      <dgm:t>
        <a:bodyPr/>
        <a:lstStyle/>
        <a:p>
          <a:endParaRPr lang="en-US"/>
        </a:p>
      </dgm:t>
    </dgm:pt>
    <dgm:pt modelId="{08AEFACA-D5F2-44DB-ACB9-5A9E297FED9E}" type="sibTrans" cxnId="{4E1215F5-0A7C-4558-9E93-01CE50DEC13D}">
      <dgm:prSet/>
      <dgm:spPr/>
      <dgm:t>
        <a:bodyPr/>
        <a:lstStyle/>
        <a:p>
          <a:endParaRPr lang="en-US"/>
        </a:p>
      </dgm:t>
    </dgm:pt>
    <dgm:pt modelId="{E56061B1-C406-4B78-970B-7D019E1C0666}">
      <dgm:prSet/>
      <dgm:spPr/>
      <dgm:t>
        <a:bodyPr/>
        <a:lstStyle/>
        <a:p>
          <a:r>
            <a:rPr lang="en-US"/>
            <a:t>Redis is single-threaded</a:t>
          </a:r>
        </a:p>
      </dgm:t>
    </dgm:pt>
    <dgm:pt modelId="{4D5AD3E9-E580-49D7-A2A2-F01A881F9F42}" type="parTrans" cxnId="{78ED69B1-58EA-4A6C-8F52-873A3FD5F96A}">
      <dgm:prSet/>
      <dgm:spPr/>
      <dgm:t>
        <a:bodyPr/>
        <a:lstStyle/>
        <a:p>
          <a:endParaRPr lang="en-US"/>
        </a:p>
      </dgm:t>
    </dgm:pt>
    <dgm:pt modelId="{230A1CDB-EE96-45FC-B83B-7E4EA7074A3D}" type="sibTrans" cxnId="{78ED69B1-58EA-4A6C-8F52-873A3FD5F96A}">
      <dgm:prSet/>
      <dgm:spPr/>
      <dgm:t>
        <a:bodyPr/>
        <a:lstStyle/>
        <a:p>
          <a:endParaRPr lang="en-US"/>
        </a:p>
      </dgm:t>
    </dgm:pt>
    <dgm:pt modelId="{BF2AC05C-F503-4B66-8FE1-E130F6A25D75}">
      <dgm:prSet/>
      <dgm:spPr/>
      <dgm:t>
        <a:bodyPr/>
        <a:lstStyle/>
        <a:p>
          <a:r>
            <a:rPr lang="en-US"/>
            <a:t>Uses single core</a:t>
          </a:r>
        </a:p>
      </dgm:t>
    </dgm:pt>
    <dgm:pt modelId="{AF3007A8-58E2-4ADB-964E-AD7E71A7D9B9}" type="parTrans" cxnId="{BD84273C-33A2-47E2-BEA3-1CAC58EDF166}">
      <dgm:prSet/>
      <dgm:spPr/>
      <dgm:t>
        <a:bodyPr/>
        <a:lstStyle/>
        <a:p>
          <a:endParaRPr lang="en-US"/>
        </a:p>
      </dgm:t>
    </dgm:pt>
    <dgm:pt modelId="{B38EEE5D-90D5-4F2A-A1E1-78211F4DCE33}" type="sibTrans" cxnId="{BD84273C-33A2-47E2-BEA3-1CAC58EDF166}">
      <dgm:prSet/>
      <dgm:spPr/>
      <dgm:t>
        <a:bodyPr/>
        <a:lstStyle/>
        <a:p>
          <a:endParaRPr lang="en-US"/>
        </a:p>
      </dgm:t>
    </dgm:pt>
    <dgm:pt modelId="{875221C5-ACE2-4306-86D1-85E104434763}">
      <dgm:prSet/>
      <dgm:spPr/>
      <dgm:t>
        <a:bodyPr/>
        <a:lstStyle/>
        <a:p>
          <a:r>
            <a:rPr lang="en-US"/>
            <a:t>Exception - </a:t>
          </a:r>
          <a:r>
            <a:rPr lang="en-US" i="1"/>
            <a:t>append-only journal </a:t>
          </a:r>
          <a:r>
            <a:rPr lang="en-US"/>
            <a:t>– written using background thread</a:t>
          </a:r>
        </a:p>
      </dgm:t>
    </dgm:pt>
    <dgm:pt modelId="{51912120-2A1C-43F5-BCFE-B60835FD9893}" type="parTrans" cxnId="{B067BAAA-B08C-4BC6-AD9A-7A6F8A885085}">
      <dgm:prSet/>
      <dgm:spPr/>
      <dgm:t>
        <a:bodyPr/>
        <a:lstStyle/>
        <a:p>
          <a:endParaRPr lang="en-US"/>
        </a:p>
      </dgm:t>
    </dgm:pt>
    <dgm:pt modelId="{4420F1AB-F352-413E-AAE9-3183DBBFF9E9}" type="sibTrans" cxnId="{B067BAAA-B08C-4BC6-AD9A-7A6F8A885085}">
      <dgm:prSet/>
      <dgm:spPr/>
      <dgm:t>
        <a:bodyPr/>
        <a:lstStyle/>
        <a:p>
          <a:endParaRPr lang="en-US"/>
        </a:p>
      </dgm:t>
    </dgm:pt>
    <dgm:pt modelId="{E07C1C6D-71AB-4AF0-9FB4-1A67200ACFFD}" type="pres">
      <dgm:prSet presAssocID="{87B651FF-D753-4B68-99C3-308D6F35EB21}" presName="root" presStyleCnt="0">
        <dgm:presLayoutVars>
          <dgm:dir/>
          <dgm:resizeHandles val="exact"/>
        </dgm:presLayoutVars>
      </dgm:prSet>
      <dgm:spPr/>
    </dgm:pt>
    <dgm:pt modelId="{040D622B-65D7-4585-ADDC-BDB8FC100ECF}" type="pres">
      <dgm:prSet presAssocID="{67B86A03-AFC5-4F29-BC16-9CA7C527F0F9}" presName="compNode" presStyleCnt="0"/>
      <dgm:spPr/>
    </dgm:pt>
    <dgm:pt modelId="{72EFBF40-948B-4521-85FC-35AB50307A2E}" type="pres">
      <dgm:prSet presAssocID="{67B86A03-AFC5-4F29-BC16-9CA7C527F0F9}" presName="bgRect" presStyleLbl="bgShp" presStyleIdx="0" presStyleCnt="3"/>
      <dgm:spPr/>
    </dgm:pt>
    <dgm:pt modelId="{687CB7C0-B193-4558-BF16-0D9A5D0B5AE9}" type="pres">
      <dgm:prSet presAssocID="{67B86A03-AFC5-4F29-BC16-9CA7C527F0F9}"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ckmark"/>
        </a:ext>
      </dgm:extLst>
    </dgm:pt>
    <dgm:pt modelId="{9C6D864C-32A2-49B7-8923-FA6AA114CEC4}" type="pres">
      <dgm:prSet presAssocID="{67B86A03-AFC5-4F29-BC16-9CA7C527F0F9}" presName="spaceRect" presStyleCnt="0"/>
      <dgm:spPr/>
    </dgm:pt>
    <dgm:pt modelId="{97AD5B4A-C282-42CA-B68E-E976EF01A7BC}" type="pres">
      <dgm:prSet presAssocID="{67B86A03-AFC5-4F29-BC16-9CA7C527F0F9}" presName="parTx" presStyleLbl="revTx" presStyleIdx="0" presStyleCnt="6">
        <dgm:presLayoutVars>
          <dgm:chMax val="0"/>
          <dgm:chPref val="0"/>
        </dgm:presLayoutVars>
      </dgm:prSet>
      <dgm:spPr/>
    </dgm:pt>
    <dgm:pt modelId="{5301FB38-8D93-4967-959A-8F88A998F349}" type="pres">
      <dgm:prSet presAssocID="{67B86A03-AFC5-4F29-BC16-9CA7C527F0F9}" presName="desTx" presStyleLbl="revTx" presStyleIdx="1" presStyleCnt="6">
        <dgm:presLayoutVars/>
      </dgm:prSet>
      <dgm:spPr/>
    </dgm:pt>
    <dgm:pt modelId="{F50BD462-2BA3-41D7-8E68-DB1DD8C762C2}" type="pres">
      <dgm:prSet presAssocID="{8B09A26A-B591-4E23-9658-9714331A8FDA}" presName="sibTrans" presStyleCnt="0"/>
      <dgm:spPr/>
    </dgm:pt>
    <dgm:pt modelId="{28F933E6-466A-4723-B45D-FA86580C0901}" type="pres">
      <dgm:prSet presAssocID="{F9912DF6-E930-42EF-BBBC-26DAA2A23B35}" presName="compNode" presStyleCnt="0"/>
      <dgm:spPr/>
    </dgm:pt>
    <dgm:pt modelId="{84399C56-912C-4F72-BCD0-D621EA291C5E}" type="pres">
      <dgm:prSet presAssocID="{F9912DF6-E930-42EF-BBBC-26DAA2A23B35}" presName="bgRect" presStyleLbl="bgShp" presStyleIdx="1" presStyleCnt="3"/>
      <dgm:spPr/>
    </dgm:pt>
    <dgm:pt modelId="{08672E2B-E1FB-4801-9337-BDEB94DDE916}" type="pres">
      <dgm:prSet presAssocID="{F9912DF6-E930-42EF-BBBC-26DAA2A23B35}"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Arrow: U-turn"/>
        </a:ext>
      </dgm:extLst>
    </dgm:pt>
    <dgm:pt modelId="{B01478C3-DF78-4819-8D2C-A032DC84713C}" type="pres">
      <dgm:prSet presAssocID="{F9912DF6-E930-42EF-BBBC-26DAA2A23B35}" presName="spaceRect" presStyleCnt="0"/>
      <dgm:spPr/>
    </dgm:pt>
    <dgm:pt modelId="{A2D99DD1-ECFE-4523-9ECB-7700B8F3BAF5}" type="pres">
      <dgm:prSet presAssocID="{F9912DF6-E930-42EF-BBBC-26DAA2A23B35}" presName="parTx" presStyleLbl="revTx" presStyleIdx="2" presStyleCnt="6">
        <dgm:presLayoutVars>
          <dgm:chMax val="0"/>
          <dgm:chPref val="0"/>
        </dgm:presLayoutVars>
      </dgm:prSet>
      <dgm:spPr/>
    </dgm:pt>
    <dgm:pt modelId="{58420C79-4A65-4F24-8902-99913939F0C9}" type="pres">
      <dgm:prSet presAssocID="{F9912DF6-E930-42EF-BBBC-26DAA2A23B35}" presName="desTx" presStyleLbl="revTx" presStyleIdx="3" presStyleCnt="6">
        <dgm:presLayoutVars/>
      </dgm:prSet>
      <dgm:spPr/>
    </dgm:pt>
    <dgm:pt modelId="{823F6971-DED2-4F19-B4C4-BBB6FAC3C034}" type="pres">
      <dgm:prSet presAssocID="{39E2086A-E4B3-44F3-888F-E0817D3B4CDF}" presName="sibTrans" presStyleCnt="0"/>
      <dgm:spPr/>
    </dgm:pt>
    <dgm:pt modelId="{2387F28A-FFA0-4801-AAFD-5899A37A99AA}" type="pres">
      <dgm:prSet presAssocID="{E56061B1-C406-4B78-970B-7D019E1C0666}" presName="compNode" presStyleCnt="0"/>
      <dgm:spPr/>
    </dgm:pt>
    <dgm:pt modelId="{F095EB69-3C3E-4E45-8C38-FE49DF8E0FDE}" type="pres">
      <dgm:prSet presAssocID="{E56061B1-C406-4B78-970B-7D019E1C0666}" presName="bgRect" presStyleLbl="bgShp" presStyleIdx="2" presStyleCnt="3"/>
      <dgm:spPr/>
    </dgm:pt>
    <dgm:pt modelId="{A876047D-91C6-4723-8C5E-BA654ECC3C85}" type="pres">
      <dgm:prSet presAssocID="{E56061B1-C406-4B78-970B-7D019E1C0666}"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lose"/>
        </a:ext>
      </dgm:extLst>
    </dgm:pt>
    <dgm:pt modelId="{18C0E6EF-A322-4922-9546-05F65C8D6756}" type="pres">
      <dgm:prSet presAssocID="{E56061B1-C406-4B78-970B-7D019E1C0666}" presName="spaceRect" presStyleCnt="0"/>
      <dgm:spPr/>
    </dgm:pt>
    <dgm:pt modelId="{53418F35-2940-4C75-8832-F8AC0A6F37ED}" type="pres">
      <dgm:prSet presAssocID="{E56061B1-C406-4B78-970B-7D019E1C0666}" presName="parTx" presStyleLbl="revTx" presStyleIdx="4" presStyleCnt="6">
        <dgm:presLayoutVars>
          <dgm:chMax val="0"/>
          <dgm:chPref val="0"/>
        </dgm:presLayoutVars>
      </dgm:prSet>
      <dgm:spPr/>
    </dgm:pt>
    <dgm:pt modelId="{5D1D1DB7-3AF6-4BD2-8475-F9E3B04B92E3}" type="pres">
      <dgm:prSet presAssocID="{E56061B1-C406-4B78-970B-7D019E1C0666}" presName="desTx" presStyleLbl="revTx" presStyleIdx="5" presStyleCnt="6">
        <dgm:presLayoutVars/>
      </dgm:prSet>
      <dgm:spPr/>
    </dgm:pt>
  </dgm:ptLst>
  <dgm:cxnLst>
    <dgm:cxn modelId="{2655C202-69F5-42D9-841C-D92EFF8046E6}" srcId="{87B651FF-D753-4B68-99C3-308D6F35EB21}" destId="{F9912DF6-E930-42EF-BBBC-26DAA2A23B35}" srcOrd="1" destOrd="0" parTransId="{A742C646-EC1B-44BB-8603-7120D2C1C805}" sibTransId="{39E2086A-E4B3-44F3-888F-E0817D3B4CDF}"/>
    <dgm:cxn modelId="{8D311E08-D32F-490C-AA04-E9DC83A37013}" type="presOf" srcId="{67B86A03-AFC5-4F29-BC16-9CA7C527F0F9}" destId="{97AD5B4A-C282-42CA-B68E-E976EF01A7BC}" srcOrd="0" destOrd="0" presId="urn:microsoft.com/office/officeart/2018/2/layout/IconVerticalSolidList"/>
    <dgm:cxn modelId="{6CFAA50D-A33B-4256-8C11-A926625D3DBE}" srcId="{67B86A03-AFC5-4F29-BC16-9CA7C527F0F9}" destId="{B0706396-7C6C-406B-9005-AB72BCA726B0}" srcOrd="1" destOrd="0" parTransId="{F3494385-3DC8-4567-B698-A5C02980DE11}" sibTransId="{BC29CA82-CFE1-4DA6-9467-5BDEA43CF0DD}"/>
    <dgm:cxn modelId="{C499B416-83FE-4329-9F0E-C40567BEC204}" type="presOf" srcId="{E56061B1-C406-4B78-970B-7D019E1C0666}" destId="{53418F35-2940-4C75-8832-F8AC0A6F37ED}" srcOrd="0" destOrd="0" presId="urn:microsoft.com/office/officeart/2018/2/layout/IconVerticalSolidList"/>
    <dgm:cxn modelId="{38D39D2C-DEEC-4C31-A79B-31C413954D9F}" srcId="{87B651FF-D753-4B68-99C3-308D6F35EB21}" destId="{67B86A03-AFC5-4F29-BC16-9CA7C527F0F9}" srcOrd="0" destOrd="0" parTransId="{24A173F3-5E13-4651-BDB6-894BA70D7AAA}" sibTransId="{8B09A26A-B591-4E23-9658-9714331A8FDA}"/>
    <dgm:cxn modelId="{BD84273C-33A2-47E2-BEA3-1CAC58EDF166}" srcId="{E56061B1-C406-4B78-970B-7D019E1C0666}" destId="{BF2AC05C-F503-4B66-8FE1-E130F6A25D75}" srcOrd="0" destOrd="0" parTransId="{AF3007A8-58E2-4ADB-964E-AD7E71A7D9B9}" sibTransId="{B38EEE5D-90D5-4F2A-A1E1-78211F4DCE33}"/>
    <dgm:cxn modelId="{CC36EC5E-A4E6-49F0-9874-6E711E7C68D3}" type="presOf" srcId="{4C2F3A40-E97D-4CB2-947F-167A1C51B2D3}" destId="{58420C79-4A65-4F24-8902-99913939F0C9}" srcOrd="0" destOrd="0" presId="urn:microsoft.com/office/officeart/2018/2/layout/IconVerticalSolidList"/>
    <dgm:cxn modelId="{98CEEC65-606D-4A74-B2D7-821451F706E2}" type="presOf" srcId="{A47EC375-2635-4093-B0F2-C0453A6878F9}" destId="{5301FB38-8D93-4967-959A-8F88A998F349}" srcOrd="0" destOrd="0" presId="urn:microsoft.com/office/officeart/2018/2/layout/IconVerticalSolidList"/>
    <dgm:cxn modelId="{3C6D1766-5F53-423B-B135-2580750469EE}" type="presOf" srcId="{F9912DF6-E930-42EF-BBBC-26DAA2A23B35}" destId="{A2D99DD1-ECFE-4523-9ECB-7700B8F3BAF5}" srcOrd="0" destOrd="0" presId="urn:microsoft.com/office/officeart/2018/2/layout/IconVerticalSolidList"/>
    <dgm:cxn modelId="{2365BD69-3B28-44E2-A911-D1249693BA94}" type="presOf" srcId="{B0706396-7C6C-406B-9005-AB72BCA726B0}" destId="{5301FB38-8D93-4967-959A-8F88A998F349}" srcOrd="0" destOrd="1" presId="urn:microsoft.com/office/officeart/2018/2/layout/IconVerticalSolidList"/>
    <dgm:cxn modelId="{406E5679-A605-4C97-BD6C-1EE1146D0185}" srcId="{67B86A03-AFC5-4F29-BC16-9CA7C527F0F9}" destId="{A47EC375-2635-4093-B0F2-C0453A6878F9}" srcOrd="0" destOrd="0" parTransId="{8A9D8D53-394D-45CE-AE66-6D1BF272DB8E}" sibTransId="{326FC758-6F4C-48F3-A907-87780D2E89FC}"/>
    <dgm:cxn modelId="{8CF5BF8D-D0EA-414A-A7E9-D825695BF3AB}" type="presOf" srcId="{87B651FF-D753-4B68-99C3-308D6F35EB21}" destId="{E07C1C6D-71AB-4AF0-9FB4-1A67200ACFFD}" srcOrd="0" destOrd="0" presId="urn:microsoft.com/office/officeart/2018/2/layout/IconVerticalSolidList"/>
    <dgm:cxn modelId="{B067BAAA-B08C-4BC6-AD9A-7A6F8A885085}" srcId="{E56061B1-C406-4B78-970B-7D019E1C0666}" destId="{875221C5-ACE2-4306-86D1-85E104434763}" srcOrd="1" destOrd="0" parTransId="{51912120-2A1C-43F5-BCFE-B60835FD9893}" sibTransId="{4420F1AB-F352-413E-AAE9-3183DBBFF9E9}"/>
    <dgm:cxn modelId="{E598DCAF-04E6-4171-B65D-16F9BF19BB86}" type="presOf" srcId="{BF2AC05C-F503-4B66-8FE1-E130F6A25D75}" destId="{5D1D1DB7-3AF6-4BD2-8475-F9E3B04B92E3}" srcOrd="0" destOrd="0" presId="urn:microsoft.com/office/officeart/2018/2/layout/IconVerticalSolidList"/>
    <dgm:cxn modelId="{78ED69B1-58EA-4A6C-8F52-873A3FD5F96A}" srcId="{87B651FF-D753-4B68-99C3-308D6F35EB21}" destId="{E56061B1-C406-4B78-970B-7D019E1C0666}" srcOrd="2" destOrd="0" parTransId="{4D5AD3E9-E580-49D7-A2A2-F01A881F9F42}" sibTransId="{230A1CDB-EE96-45FC-B83B-7E4EA7074A3D}"/>
    <dgm:cxn modelId="{CA7959E4-F047-4C32-AF4D-0E357B03F813}" type="presOf" srcId="{875221C5-ACE2-4306-86D1-85E104434763}" destId="{5D1D1DB7-3AF6-4BD2-8475-F9E3B04B92E3}" srcOrd="0" destOrd="1" presId="urn:microsoft.com/office/officeart/2018/2/layout/IconVerticalSolidList"/>
    <dgm:cxn modelId="{4E1215F5-0A7C-4558-9E93-01CE50DEC13D}" srcId="{F9912DF6-E930-42EF-BBBC-26DAA2A23B35}" destId="{4C2F3A40-E97D-4CB2-947F-167A1C51B2D3}" srcOrd="0" destOrd="0" parTransId="{1EDAA9B7-A7BB-4E45-B26A-56C2E7EA28DC}" sibTransId="{08AEFACA-D5F2-44DB-ACB9-5A9E297FED9E}"/>
    <dgm:cxn modelId="{88D4724F-2B21-4C68-8C16-74519B731809}" type="presParOf" srcId="{E07C1C6D-71AB-4AF0-9FB4-1A67200ACFFD}" destId="{040D622B-65D7-4585-ADDC-BDB8FC100ECF}" srcOrd="0" destOrd="0" presId="urn:microsoft.com/office/officeart/2018/2/layout/IconVerticalSolidList"/>
    <dgm:cxn modelId="{BF831D4F-8F98-489E-A833-01E86CBB9BBC}" type="presParOf" srcId="{040D622B-65D7-4585-ADDC-BDB8FC100ECF}" destId="{72EFBF40-948B-4521-85FC-35AB50307A2E}" srcOrd="0" destOrd="0" presId="urn:microsoft.com/office/officeart/2018/2/layout/IconVerticalSolidList"/>
    <dgm:cxn modelId="{014766B1-CFBB-4894-8634-4CB984BF7DEF}" type="presParOf" srcId="{040D622B-65D7-4585-ADDC-BDB8FC100ECF}" destId="{687CB7C0-B193-4558-BF16-0D9A5D0B5AE9}" srcOrd="1" destOrd="0" presId="urn:microsoft.com/office/officeart/2018/2/layout/IconVerticalSolidList"/>
    <dgm:cxn modelId="{09C90020-30C8-4951-BBF6-6CE580739F0B}" type="presParOf" srcId="{040D622B-65D7-4585-ADDC-BDB8FC100ECF}" destId="{9C6D864C-32A2-49B7-8923-FA6AA114CEC4}" srcOrd="2" destOrd="0" presId="urn:microsoft.com/office/officeart/2018/2/layout/IconVerticalSolidList"/>
    <dgm:cxn modelId="{E153E136-040D-429B-9951-238106894B9D}" type="presParOf" srcId="{040D622B-65D7-4585-ADDC-BDB8FC100ECF}" destId="{97AD5B4A-C282-42CA-B68E-E976EF01A7BC}" srcOrd="3" destOrd="0" presId="urn:microsoft.com/office/officeart/2018/2/layout/IconVerticalSolidList"/>
    <dgm:cxn modelId="{4ABE5233-910B-43CF-BE57-E842F40E0E9F}" type="presParOf" srcId="{040D622B-65D7-4585-ADDC-BDB8FC100ECF}" destId="{5301FB38-8D93-4967-959A-8F88A998F349}" srcOrd="4" destOrd="0" presId="urn:microsoft.com/office/officeart/2018/2/layout/IconVerticalSolidList"/>
    <dgm:cxn modelId="{B5F7420C-22AB-4BFC-AA48-0A22DC5F9BC5}" type="presParOf" srcId="{E07C1C6D-71AB-4AF0-9FB4-1A67200ACFFD}" destId="{F50BD462-2BA3-41D7-8E68-DB1DD8C762C2}" srcOrd="1" destOrd="0" presId="urn:microsoft.com/office/officeart/2018/2/layout/IconVerticalSolidList"/>
    <dgm:cxn modelId="{2C2669AC-3748-4CDA-B072-5387658A7E4E}" type="presParOf" srcId="{E07C1C6D-71AB-4AF0-9FB4-1A67200ACFFD}" destId="{28F933E6-466A-4723-B45D-FA86580C0901}" srcOrd="2" destOrd="0" presId="urn:microsoft.com/office/officeart/2018/2/layout/IconVerticalSolidList"/>
    <dgm:cxn modelId="{1532E8B6-C07E-4A80-94F3-FAF24AA5DB8B}" type="presParOf" srcId="{28F933E6-466A-4723-B45D-FA86580C0901}" destId="{84399C56-912C-4F72-BCD0-D621EA291C5E}" srcOrd="0" destOrd="0" presId="urn:microsoft.com/office/officeart/2018/2/layout/IconVerticalSolidList"/>
    <dgm:cxn modelId="{BB72FA8E-B572-474A-BA02-67F085A5C41F}" type="presParOf" srcId="{28F933E6-466A-4723-B45D-FA86580C0901}" destId="{08672E2B-E1FB-4801-9337-BDEB94DDE916}" srcOrd="1" destOrd="0" presId="urn:microsoft.com/office/officeart/2018/2/layout/IconVerticalSolidList"/>
    <dgm:cxn modelId="{A08F699B-B63B-4059-93D3-E22CB098DBD9}" type="presParOf" srcId="{28F933E6-466A-4723-B45D-FA86580C0901}" destId="{B01478C3-DF78-4819-8D2C-A032DC84713C}" srcOrd="2" destOrd="0" presId="urn:microsoft.com/office/officeart/2018/2/layout/IconVerticalSolidList"/>
    <dgm:cxn modelId="{AB8224F1-93B0-454C-9018-5F26B74BA224}" type="presParOf" srcId="{28F933E6-466A-4723-B45D-FA86580C0901}" destId="{A2D99DD1-ECFE-4523-9ECB-7700B8F3BAF5}" srcOrd="3" destOrd="0" presId="urn:microsoft.com/office/officeart/2018/2/layout/IconVerticalSolidList"/>
    <dgm:cxn modelId="{DD19D1C6-2FC3-472D-8C7D-B3D15BD7650B}" type="presParOf" srcId="{28F933E6-466A-4723-B45D-FA86580C0901}" destId="{58420C79-4A65-4F24-8902-99913939F0C9}" srcOrd="4" destOrd="0" presId="urn:microsoft.com/office/officeart/2018/2/layout/IconVerticalSolidList"/>
    <dgm:cxn modelId="{DA0BF1A3-D6F2-4F08-A50E-FBE35A084BDF}" type="presParOf" srcId="{E07C1C6D-71AB-4AF0-9FB4-1A67200ACFFD}" destId="{823F6971-DED2-4F19-B4C4-BBB6FAC3C034}" srcOrd="3" destOrd="0" presId="urn:microsoft.com/office/officeart/2018/2/layout/IconVerticalSolidList"/>
    <dgm:cxn modelId="{B1A8AD71-0388-434A-A3CE-B9F402DDB7DB}" type="presParOf" srcId="{E07C1C6D-71AB-4AF0-9FB4-1A67200ACFFD}" destId="{2387F28A-FFA0-4801-AAFD-5899A37A99AA}" srcOrd="4" destOrd="0" presId="urn:microsoft.com/office/officeart/2018/2/layout/IconVerticalSolidList"/>
    <dgm:cxn modelId="{09C0DE58-6C28-481B-ABE2-E59E941EEC15}" type="presParOf" srcId="{2387F28A-FFA0-4801-AAFD-5899A37A99AA}" destId="{F095EB69-3C3E-4E45-8C38-FE49DF8E0FDE}" srcOrd="0" destOrd="0" presId="urn:microsoft.com/office/officeart/2018/2/layout/IconVerticalSolidList"/>
    <dgm:cxn modelId="{ACDFEDB3-FD34-4CCD-A486-496206A15031}" type="presParOf" srcId="{2387F28A-FFA0-4801-AAFD-5899A37A99AA}" destId="{A876047D-91C6-4723-8C5E-BA654ECC3C85}" srcOrd="1" destOrd="0" presId="urn:microsoft.com/office/officeart/2018/2/layout/IconVerticalSolidList"/>
    <dgm:cxn modelId="{C58FB7E7-9913-4BD6-B247-D0BBF845F318}" type="presParOf" srcId="{2387F28A-FFA0-4801-AAFD-5899A37A99AA}" destId="{18C0E6EF-A322-4922-9546-05F65C8D6756}" srcOrd="2" destOrd="0" presId="urn:microsoft.com/office/officeart/2018/2/layout/IconVerticalSolidList"/>
    <dgm:cxn modelId="{D5F4030D-35BA-4736-9742-3E3DC16899DD}" type="presParOf" srcId="{2387F28A-FFA0-4801-AAFD-5899A37A99AA}" destId="{53418F35-2940-4C75-8832-F8AC0A6F37ED}" srcOrd="3" destOrd="0" presId="urn:microsoft.com/office/officeart/2018/2/layout/IconVerticalSolidList"/>
    <dgm:cxn modelId="{6369F5B0-0666-4400-9646-5FE8ACE3BAAF}" type="presParOf" srcId="{2387F28A-FFA0-4801-AAFD-5899A37A99AA}" destId="{5D1D1DB7-3AF6-4BD2-8475-F9E3B04B92E3}" srcOrd="4"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CD7389-75F0-F94B-9A11-2992508AFCDE}">
      <dsp:nvSpPr>
        <dsp:cNvPr id="0" name=""/>
        <dsp:cNvSpPr/>
      </dsp:nvSpPr>
      <dsp:spPr>
        <a:xfrm>
          <a:off x="0" y="0"/>
          <a:ext cx="6492875"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8E446E2-6CD4-7D4D-AB22-EBDA9DB3420D}">
      <dsp:nvSpPr>
        <dsp:cNvPr id="0" name=""/>
        <dsp:cNvSpPr/>
      </dsp:nvSpPr>
      <dsp:spPr>
        <a:xfrm>
          <a:off x="0" y="0"/>
          <a:ext cx="6492875" cy="25527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t" anchorCtr="0">
          <a:noAutofit/>
        </a:bodyPr>
        <a:lstStyle/>
        <a:p>
          <a:pPr marL="0" lvl="0" indent="0" algn="l" defTabSz="1200150">
            <a:lnSpc>
              <a:spcPct val="90000"/>
            </a:lnSpc>
            <a:spcBef>
              <a:spcPct val="0"/>
            </a:spcBef>
            <a:spcAft>
              <a:spcPct val="35000"/>
            </a:spcAft>
            <a:buNone/>
          </a:pPr>
          <a:r>
            <a:rPr lang="en-US" sz="2700" kern="1200"/>
            <a:t>“We would like to make sure our database isn’t overtaxed, have the ability of updating the website automatically when we check in, have the application scale up/down when needed, have a fast response time to improve customer experience”</a:t>
          </a:r>
        </a:p>
      </dsp:txBody>
      <dsp:txXfrm>
        <a:off x="0" y="0"/>
        <a:ext cx="6492875" cy="2552700"/>
      </dsp:txXfrm>
    </dsp:sp>
    <dsp:sp modelId="{647A7B5A-BBC8-7149-B59A-97BC6EC00613}">
      <dsp:nvSpPr>
        <dsp:cNvPr id="0" name=""/>
        <dsp:cNvSpPr/>
      </dsp:nvSpPr>
      <dsp:spPr>
        <a:xfrm>
          <a:off x="0" y="2552700"/>
          <a:ext cx="6492875" cy="0"/>
        </a:xfrm>
        <a:prstGeom prst="line">
          <a:avLst/>
        </a:prstGeom>
        <a:solidFill>
          <a:schemeClr val="accent2">
            <a:hueOff val="-1455363"/>
            <a:satOff val="-83928"/>
            <a:lumOff val="8628"/>
            <a:alphaOff val="0"/>
          </a:schemeClr>
        </a:solidFill>
        <a:ln w="12700" cap="flat" cmpd="sng" algn="ctr">
          <a:solidFill>
            <a:schemeClr val="accent2">
              <a:hueOff val="-1455363"/>
              <a:satOff val="-83928"/>
              <a:lumOff val="862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FEA74E4-E51D-5F48-9A95-32A2BFB218F6}">
      <dsp:nvSpPr>
        <dsp:cNvPr id="0" name=""/>
        <dsp:cNvSpPr/>
      </dsp:nvSpPr>
      <dsp:spPr>
        <a:xfrm>
          <a:off x="0" y="2552700"/>
          <a:ext cx="6492875" cy="25527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t" anchorCtr="0">
          <a:noAutofit/>
        </a:bodyPr>
        <a:lstStyle/>
        <a:p>
          <a:pPr marL="0" lvl="0" indent="0" algn="l" defTabSz="1200150">
            <a:lnSpc>
              <a:spcPct val="90000"/>
            </a:lnSpc>
            <a:spcBef>
              <a:spcPct val="0"/>
            </a:spcBef>
            <a:spcAft>
              <a:spcPct val="35000"/>
            </a:spcAft>
            <a:buNone/>
          </a:pPr>
          <a:r>
            <a:rPr lang="en-US" sz="2700" kern="1200"/>
            <a:t>“Can you help us do this?”</a:t>
          </a:r>
        </a:p>
      </dsp:txBody>
      <dsp:txXfrm>
        <a:off x="0" y="2552700"/>
        <a:ext cx="6492875" cy="25527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A7AE0E-FCC6-4650-BF54-381AC9DBB79B}">
      <dsp:nvSpPr>
        <dsp:cNvPr id="0" name=""/>
        <dsp:cNvSpPr/>
      </dsp:nvSpPr>
      <dsp:spPr>
        <a:xfrm>
          <a:off x="898829" y="288"/>
          <a:ext cx="1001496" cy="1001496"/>
        </a:xfrm>
        <a:prstGeom prst="round2DiagRect">
          <a:avLst>
            <a:gd name="adj1" fmla="val 29727"/>
            <a:gd name="adj2" fmla="val 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8E8E4BA-2616-4F39-87B8-83659166FC26}">
      <dsp:nvSpPr>
        <dsp:cNvPr id="0" name=""/>
        <dsp:cNvSpPr/>
      </dsp:nvSpPr>
      <dsp:spPr>
        <a:xfrm>
          <a:off x="1112262" y="213721"/>
          <a:ext cx="574628" cy="57462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E8A6381-581E-4128-8D54-CA4AE1F94172}">
      <dsp:nvSpPr>
        <dsp:cNvPr id="0" name=""/>
        <dsp:cNvSpPr/>
      </dsp:nvSpPr>
      <dsp:spPr>
        <a:xfrm>
          <a:off x="578678" y="1313725"/>
          <a:ext cx="1641796" cy="6567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defRPr cap="all"/>
          </a:pPr>
          <a:r>
            <a:rPr lang="en-US" sz="1500" kern="1200"/>
            <a:t>Create a lab IaaS environment</a:t>
          </a:r>
        </a:p>
      </dsp:txBody>
      <dsp:txXfrm>
        <a:off x="578678" y="1313725"/>
        <a:ext cx="1641796" cy="656718"/>
      </dsp:txXfrm>
    </dsp:sp>
    <dsp:sp modelId="{D866F4BA-4B79-4582-9318-E58AA739D7A8}">
      <dsp:nvSpPr>
        <dsp:cNvPr id="0" name=""/>
        <dsp:cNvSpPr/>
      </dsp:nvSpPr>
      <dsp:spPr>
        <a:xfrm>
          <a:off x="2827940" y="288"/>
          <a:ext cx="1001496" cy="1001496"/>
        </a:xfrm>
        <a:prstGeom prst="round2DiagRect">
          <a:avLst>
            <a:gd name="adj1" fmla="val 29727"/>
            <a:gd name="adj2" fmla="val 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22CA120-B4C5-435A-86AA-353C4DD9759D}">
      <dsp:nvSpPr>
        <dsp:cNvPr id="0" name=""/>
        <dsp:cNvSpPr/>
      </dsp:nvSpPr>
      <dsp:spPr>
        <a:xfrm>
          <a:off x="3041374" y="213721"/>
          <a:ext cx="574628" cy="57462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069BEB9-CA79-4D28-B793-377461F2D03D}">
      <dsp:nvSpPr>
        <dsp:cNvPr id="0" name=""/>
        <dsp:cNvSpPr/>
      </dsp:nvSpPr>
      <dsp:spPr>
        <a:xfrm>
          <a:off x="2507790" y="1313725"/>
          <a:ext cx="1641796" cy="6567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defRPr cap="all"/>
          </a:pPr>
          <a:r>
            <a:rPr lang="en-US" sz="1500" kern="1200"/>
            <a:t>Perform migration to PaaS</a:t>
          </a:r>
        </a:p>
      </dsp:txBody>
      <dsp:txXfrm>
        <a:off x="2507790" y="1313725"/>
        <a:ext cx="1641796" cy="656718"/>
      </dsp:txXfrm>
    </dsp:sp>
    <dsp:sp modelId="{D420AA65-CDE7-47E0-BD05-9186E6B7EB89}">
      <dsp:nvSpPr>
        <dsp:cNvPr id="0" name=""/>
        <dsp:cNvSpPr/>
      </dsp:nvSpPr>
      <dsp:spPr>
        <a:xfrm>
          <a:off x="4757051" y="288"/>
          <a:ext cx="1001496" cy="1001496"/>
        </a:xfrm>
        <a:prstGeom prst="round2DiagRect">
          <a:avLst>
            <a:gd name="adj1" fmla="val 29727"/>
            <a:gd name="adj2" fmla="val 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1B387CD-636C-4E7B-A8B8-05D0A636539D}">
      <dsp:nvSpPr>
        <dsp:cNvPr id="0" name=""/>
        <dsp:cNvSpPr/>
      </dsp:nvSpPr>
      <dsp:spPr>
        <a:xfrm>
          <a:off x="4970485" y="213721"/>
          <a:ext cx="574628" cy="57462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75FCB56-4650-4C95-AFC2-CB6686BCB2E1}">
      <dsp:nvSpPr>
        <dsp:cNvPr id="0" name=""/>
        <dsp:cNvSpPr/>
      </dsp:nvSpPr>
      <dsp:spPr>
        <a:xfrm>
          <a:off x="4436901" y="1313725"/>
          <a:ext cx="1641796" cy="6567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defRPr cap="all"/>
          </a:pPr>
          <a:r>
            <a:rPr lang="en-US" sz="1500" kern="1200"/>
            <a:t>Implement DevOps CI/CD &amp; App Insights</a:t>
          </a:r>
        </a:p>
      </dsp:txBody>
      <dsp:txXfrm>
        <a:off x="4436901" y="1313725"/>
        <a:ext cx="1641796" cy="656718"/>
      </dsp:txXfrm>
    </dsp:sp>
    <dsp:sp modelId="{8246830E-0089-4654-813B-E05574EBAC2F}">
      <dsp:nvSpPr>
        <dsp:cNvPr id="0" name=""/>
        <dsp:cNvSpPr/>
      </dsp:nvSpPr>
      <dsp:spPr>
        <a:xfrm>
          <a:off x="6686163" y="288"/>
          <a:ext cx="1001496" cy="1001496"/>
        </a:xfrm>
        <a:prstGeom prst="round2DiagRect">
          <a:avLst>
            <a:gd name="adj1" fmla="val 29727"/>
            <a:gd name="adj2" fmla="val 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5F6D20C-0963-4649-B8AB-4764D51C7650}">
      <dsp:nvSpPr>
        <dsp:cNvPr id="0" name=""/>
        <dsp:cNvSpPr/>
      </dsp:nvSpPr>
      <dsp:spPr>
        <a:xfrm>
          <a:off x="6899596" y="213721"/>
          <a:ext cx="574628" cy="57462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81856B0-A37A-4BB5-9AD9-7992F480B4C7}">
      <dsp:nvSpPr>
        <dsp:cNvPr id="0" name=""/>
        <dsp:cNvSpPr/>
      </dsp:nvSpPr>
      <dsp:spPr>
        <a:xfrm>
          <a:off x="6366012" y="1313725"/>
          <a:ext cx="1641796" cy="6567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defRPr cap="all"/>
          </a:pPr>
          <a:r>
            <a:rPr lang="en-US" sz="1500" kern="1200"/>
            <a:t>Optimize &amp; Protect Web App/Database</a:t>
          </a:r>
        </a:p>
      </dsp:txBody>
      <dsp:txXfrm>
        <a:off x="6366012" y="1313725"/>
        <a:ext cx="1641796" cy="656718"/>
      </dsp:txXfrm>
    </dsp:sp>
    <dsp:sp modelId="{372A1BFE-4EDB-421C-A337-9344F3D742A8}">
      <dsp:nvSpPr>
        <dsp:cNvPr id="0" name=""/>
        <dsp:cNvSpPr/>
      </dsp:nvSpPr>
      <dsp:spPr>
        <a:xfrm>
          <a:off x="8615274" y="288"/>
          <a:ext cx="1001496" cy="1001496"/>
        </a:xfrm>
        <a:prstGeom prst="round2DiagRect">
          <a:avLst>
            <a:gd name="adj1" fmla="val 29727"/>
            <a:gd name="adj2" fmla="val 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DAAD44F-C84B-4A03-B24E-817E33AE9F19}">
      <dsp:nvSpPr>
        <dsp:cNvPr id="0" name=""/>
        <dsp:cNvSpPr/>
      </dsp:nvSpPr>
      <dsp:spPr>
        <a:xfrm>
          <a:off x="8828708" y="213721"/>
          <a:ext cx="574628" cy="57462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A31A51C-3D82-4A72-8AE2-E0284D8AFAEA}">
      <dsp:nvSpPr>
        <dsp:cNvPr id="0" name=""/>
        <dsp:cNvSpPr/>
      </dsp:nvSpPr>
      <dsp:spPr>
        <a:xfrm>
          <a:off x="8295124" y="1313725"/>
          <a:ext cx="1641796" cy="6567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defRPr cap="all"/>
          </a:pPr>
          <a:r>
            <a:rPr lang="en-US" sz="1500" kern="1200"/>
            <a:t>Breaking out code out into serverless</a:t>
          </a:r>
        </a:p>
      </dsp:txBody>
      <dsp:txXfrm>
        <a:off x="8295124" y="1313725"/>
        <a:ext cx="1641796" cy="656718"/>
      </dsp:txXfrm>
    </dsp:sp>
    <dsp:sp modelId="{110F44A7-830B-44BA-A929-F7673F9F60F6}">
      <dsp:nvSpPr>
        <dsp:cNvPr id="0" name=""/>
        <dsp:cNvSpPr/>
      </dsp:nvSpPr>
      <dsp:spPr>
        <a:xfrm>
          <a:off x="4757051" y="2380893"/>
          <a:ext cx="1001496" cy="1001496"/>
        </a:xfrm>
        <a:prstGeom prst="round2DiagRect">
          <a:avLst>
            <a:gd name="adj1" fmla="val 29727"/>
            <a:gd name="adj2" fmla="val 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5F522E9-69A1-44B1-948D-C86B10721187}">
      <dsp:nvSpPr>
        <dsp:cNvPr id="0" name=""/>
        <dsp:cNvSpPr/>
      </dsp:nvSpPr>
      <dsp:spPr>
        <a:xfrm>
          <a:off x="4970485" y="2594327"/>
          <a:ext cx="574628" cy="574628"/>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A645DEC-FC05-4B98-8F80-AF32ADE19BE7}">
      <dsp:nvSpPr>
        <dsp:cNvPr id="0" name=""/>
        <dsp:cNvSpPr/>
      </dsp:nvSpPr>
      <dsp:spPr>
        <a:xfrm>
          <a:off x="4436901" y="3694331"/>
          <a:ext cx="1641796" cy="6567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defRPr cap="all"/>
          </a:pPr>
          <a:r>
            <a:rPr lang="en-US" sz="1500" kern="1200"/>
            <a:t>Monetize &amp; manage your data and API services </a:t>
          </a:r>
        </a:p>
      </dsp:txBody>
      <dsp:txXfrm>
        <a:off x="4436901" y="3694331"/>
        <a:ext cx="1641796" cy="65671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017E73-BD0E-4340-B4B0-5DA102AD2187}">
      <dsp:nvSpPr>
        <dsp:cNvPr id="0" name=""/>
        <dsp:cNvSpPr/>
      </dsp:nvSpPr>
      <dsp:spPr>
        <a:xfrm>
          <a:off x="0" y="1903"/>
          <a:ext cx="6513603" cy="81125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A68351CB-BB7F-4892-AC8A-B3E740D21032}">
      <dsp:nvSpPr>
        <dsp:cNvPr id="0" name=""/>
        <dsp:cNvSpPr/>
      </dsp:nvSpPr>
      <dsp:spPr>
        <a:xfrm>
          <a:off x="245405" y="184436"/>
          <a:ext cx="446191" cy="44619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9D476E54-3355-4F23-ADBA-2E63F48911A6}">
      <dsp:nvSpPr>
        <dsp:cNvPr id="0" name=""/>
        <dsp:cNvSpPr/>
      </dsp:nvSpPr>
      <dsp:spPr>
        <a:xfrm>
          <a:off x="937002" y="1903"/>
          <a:ext cx="5576601" cy="8112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858" tIns="85858" rIns="85858" bIns="85858" numCol="1" spcCol="1270" anchor="ctr" anchorCtr="0">
          <a:noAutofit/>
        </a:bodyPr>
        <a:lstStyle/>
        <a:p>
          <a:pPr marL="0" lvl="0" indent="0" algn="l" defTabSz="844550">
            <a:lnSpc>
              <a:spcPct val="90000"/>
            </a:lnSpc>
            <a:spcBef>
              <a:spcPct val="0"/>
            </a:spcBef>
            <a:spcAft>
              <a:spcPct val="35000"/>
            </a:spcAft>
            <a:buNone/>
          </a:pPr>
          <a:r>
            <a:rPr lang="en-US" sz="1900" b="1" kern="1200"/>
            <a:t>Easy Enablement &amp; Integration</a:t>
          </a:r>
          <a:endParaRPr lang="en-US" sz="1900" kern="1200"/>
        </a:p>
      </dsp:txBody>
      <dsp:txXfrm>
        <a:off x="937002" y="1903"/>
        <a:ext cx="5576601" cy="811257"/>
      </dsp:txXfrm>
    </dsp:sp>
    <dsp:sp modelId="{DF37FC63-DD79-4B07-B4D8-BC5D8E618503}">
      <dsp:nvSpPr>
        <dsp:cNvPr id="0" name=""/>
        <dsp:cNvSpPr/>
      </dsp:nvSpPr>
      <dsp:spPr>
        <a:xfrm>
          <a:off x="0" y="1015975"/>
          <a:ext cx="6513603" cy="81125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A8505828-8E45-436D-919D-373CC4286399}">
      <dsp:nvSpPr>
        <dsp:cNvPr id="0" name=""/>
        <dsp:cNvSpPr/>
      </dsp:nvSpPr>
      <dsp:spPr>
        <a:xfrm>
          <a:off x="245405" y="1198508"/>
          <a:ext cx="446191" cy="44619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7B0E5DD9-61DB-43B3-92F2-66C5A6E2548B}">
      <dsp:nvSpPr>
        <dsp:cNvPr id="0" name=""/>
        <dsp:cNvSpPr/>
      </dsp:nvSpPr>
      <dsp:spPr>
        <a:xfrm>
          <a:off x="937002" y="1015975"/>
          <a:ext cx="5576601" cy="8112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858" tIns="85858" rIns="85858" bIns="85858" numCol="1" spcCol="1270" anchor="ctr" anchorCtr="0">
          <a:noAutofit/>
        </a:bodyPr>
        <a:lstStyle/>
        <a:p>
          <a:pPr marL="0" lvl="0" indent="0" algn="l" defTabSz="844550">
            <a:lnSpc>
              <a:spcPct val="90000"/>
            </a:lnSpc>
            <a:spcBef>
              <a:spcPct val="0"/>
            </a:spcBef>
            <a:spcAft>
              <a:spcPct val="35000"/>
            </a:spcAft>
            <a:buNone/>
          </a:pPr>
          <a:r>
            <a:rPr lang="en-US" sz="1900" b="1" kern="1200"/>
            <a:t>No Development / No Code Required</a:t>
          </a:r>
          <a:endParaRPr lang="en-US" sz="1900" kern="1200"/>
        </a:p>
      </dsp:txBody>
      <dsp:txXfrm>
        <a:off x="937002" y="1015975"/>
        <a:ext cx="5576601" cy="811257"/>
      </dsp:txXfrm>
    </dsp:sp>
    <dsp:sp modelId="{3F7BA49E-72A5-4BA7-B812-CC99F6515E5E}">
      <dsp:nvSpPr>
        <dsp:cNvPr id="0" name=""/>
        <dsp:cNvSpPr/>
      </dsp:nvSpPr>
      <dsp:spPr>
        <a:xfrm>
          <a:off x="0" y="2030048"/>
          <a:ext cx="6513603" cy="81125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381A4A83-1860-4C32-A528-F69593196B22}">
      <dsp:nvSpPr>
        <dsp:cNvPr id="0" name=""/>
        <dsp:cNvSpPr/>
      </dsp:nvSpPr>
      <dsp:spPr>
        <a:xfrm>
          <a:off x="245405" y="2212581"/>
          <a:ext cx="446191" cy="44619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F84FEE2F-0461-4FA8-AFBF-B7BA0294D00D}">
      <dsp:nvSpPr>
        <dsp:cNvPr id="0" name=""/>
        <dsp:cNvSpPr/>
      </dsp:nvSpPr>
      <dsp:spPr>
        <a:xfrm>
          <a:off x="937002" y="2030048"/>
          <a:ext cx="5576601" cy="8112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858" tIns="85858" rIns="85858" bIns="85858" numCol="1" spcCol="1270" anchor="ctr" anchorCtr="0">
          <a:noAutofit/>
        </a:bodyPr>
        <a:lstStyle/>
        <a:p>
          <a:pPr marL="0" lvl="0" indent="0" algn="l" defTabSz="844550">
            <a:lnSpc>
              <a:spcPct val="90000"/>
            </a:lnSpc>
            <a:spcBef>
              <a:spcPct val="0"/>
            </a:spcBef>
            <a:spcAft>
              <a:spcPct val="35000"/>
            </a:spcAft>
            <a:buNone/>
          </a:pPr>
          <a:r>
            <a:rPr lang="en-US" sz="1900" b="1" kern="1200"/>
            <a:t>Customer Self-Service Activation</a:t>
          </a:r>
          <a:endParaRPr lang="en-US" sz="1900" kern="1200"/>
        </a:p>
      </dsp:txBody>
      <dsp:txXfrm>
        <a:off x="937002" y="2030048"/>
        <a:ext cx="5576601" cy="811257"/>
      </dsp:txXfrm>
    </dsp:sp>
    <dsp:sp modelId="{F854B48F-E489-43A6-AF61-44710CA2F146}">
      <dsp:nvSpPr>
        <dsp:cNvPr id="0" name=""/>
        <dsp:cNvSpPr/>
      </dsp:nvSpPr>
      <dsp:spPr>
        <a:xfrm>
          <a:off x="0" y="3044120"/>
          <a:ext cx="6513603" cy="81125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5C2F5964-40DB-47C1-A4E6-D185360B8554}">
      <dsp:nvSpPr>
        <dsp:cNvPr id="0" name=""/>
        <dsp:cNvSpPr/>
      </dsp:nvSpPr>
      <dsp:spPr>
        <a:xfrm>
          <a:off x="245405" y="3226653"/>
          <a:ext cx="446191" cy="446191"/>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5FC059A5-38B0-4A62-8C7A-F3937D0787B4}">
      <dsp:nvSpPr>
        <dsp:cNvPr id="0" name=""/>
        <dsp:cNvSpPr/>
      </dsp:nvSpPr>
      <dsp:spPr>
        <a:xfrm>
          <a:off x="937002" y="3044120"/>
          <a:ext cx="5576601" cy="8112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858" tIns="85858" rIns="85858" bIns="85858" numCol="1" spcCol="1270" anchor="ctr" anchorCtr="0">
          <a:noAutofit/>
        </a:bodyPr>
        <a:lstStyle/>
        <a:p>
          <a:pPr marL="0" lvl="0" indent="0" algn="l" defTabSz="844550">
            <a:lnSpc>
              <a:spcPct val="90000"/>
            </a:lnSpc>
            <a:spcBef>
              <a:spcPct val="0"/>
            </a:spcBef>
            <a:spcAft>
              <a:spcPct val="35000"/>
            </a:spcAft>
            <a:buNone/>
          </a:pPr>
          <a:r>
            <a:rPr lang="en-US" sz="1900" b="1" kern="1200"/>
            <a:t>Enhances User Experience</a:t>
          </a:r>
          <a:endParaRPr lang="en-US" sz="1900" kern="1200"/>
        </a:p>
      </dsp:txBody>
      <dsp:txXfrm>
        <a:off x="937002" y="3044120"/>
        <a:ext cx="5576601" cy="811257"/>
      </dsp:txXfrm>
    </dsp:sp>
    <dsp:sp modelId="{44ADEE06-9E83-4737-B23B-23E8D743507F}">
      <dsp:nvSpPr>
        <dsp:cNvPr id="0" name=""/>
        <dsp:cNvSpPr/>
      </dsp:nvSpPr>
      <dsp:spPr>
        <a:xfrm>
          <a:off x="0" y="4058192"/>
          <a:ext cx="6513603" cy="81125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1C9A939A-8DC9-4DBA-9CAE-705530519A30}">
      <dsp:nvSpPr>
        <dsp:cNvPr id="0" name=""/>
        <dsp:cNvSpPr/>
      </dsp:nvSpPr>
      <dsp:spPr>
        <a:xfrm>
          <a:off x="245405" y="4240725"/>
          <a:ext cx="446191" cy="446191"/>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D62E8478-1C96-4A44-BF3B-E2FB940DCD57}">
      <dsp:nvSpPr>
        <dsp:cNvPr id="0" name=""/>
        <dsp:cNvSpPr/>
      </dsp:nvSpPr>
      <dsp:spPr>
        <a:xfrm>
          <a:off x="937002" y="4058192"/>
          <a:ext cx="5576601" cy="8112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858" tIns="85858" rIns="85858" bIns="85858" numCol="1" spcCol="1270" anchor="ctr" anchorCtr="0">
          <a:noAutofit/>
        </a:bodyPr>
        <a:lstStyle/>
        <a:p>
          <a:pPr marL="0" lvl="0" indent="0" algn="l" defTabSz="844550">
            <a:lnSpc>
              <a:spcPct val="90000"/>
            </a:lnSpc>
            <a:spcBef>
              <a:spcPct val="0"/>
            </a:spcBef>
            <a:spcAft>
              <a:spcPct val="35000"/>
            </a:spcAft>
            <a:buNone/>
          </a:pPr>
          <a:r>
            <a:rPr lang="en-US" sz="1900" b="1" kern="1200"/>
            <a:t>Improves Scalability of Any Internet Facing Service</a:t>
          </a:r>
          <a:endParaRPr lang="en-US" sz="1900" kern="1200"/>
        </a:p>
      </dsp:txBody>
      <dsp:txXfrm>
        <a:off x="937002" y="4058192"/>
        <a:ext cx="5576601" cy="811257"/>
      </dsp:txXfrm>
    </dsp:sp>
    <dsp:sp modelId="{DF4E682E-761C-4703-B852-6887E148CE24}">
      <dsp:nvSpPr>
        <dsp:cNvPr id="0" name=""/>
        <dsp:cNvSpPr/>
      </dsp:nvSpPr>
      <dsp:spPr>
        <a:xfrm>
          <a:off x="0" y="5072264"/>
          <a:ext cx="6513603" cy="81125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CC135E0B-B4B5-4D89-BC38-C6C553E20961}">
      <dsp:nvSpPr>
        <dsp:cNvPr id="0" name=""/>
        <dsp:cNvSpPr/>
      </dsp:nvSpPr>
      <dsp:spPr>
        <a:xfrm>
          <a:off x="245405" y="5254797"/>
          <a:ext cx="446191" cy="446191"/>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2E585B37-1574-4212-AB35-4C8779CF1510}">
      <dsp:nvSpPr>
        <dsp:cNvPr id="0" name=""/>
        <dsp:cNvSpPr/>
      </dsp:nvSpPr>
      <dsp:spPr>
        <a:xfrm>
          <a:off x="937002" y="5072264"/>
          <a:ext cx="5576601" cy="8112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858" tIns="85858" rIns="85858" bIns="85858" numCol="1" spcCol="1270" anchor="ctr" anchorCtr="0">
          <a:noAutofit/>
        </a:bodyPr>
        <a:lstStyle/>
        <a:p>
          <a:pPr marL="0" lvl="0" indent="0" algn="l" defTabSz="844550">
            <a:lnSpc>
              <a:spcPct val="90000"/>
            </a:lnSpc>
            <a:spcBef>
              <a:spcPct val="0"/>
            </a:spcBef>
            <a:spcAft>
              <a:spcPct val="35000"/>
            </a:spcAft>
            <a:buNone/>
          </a:pPr>
          <a:r>
            <a:rPr lang="en-US" sz="1900" b="1" kern="1200"/>
            <a:t>Automatic Scaling, Increased Usage Increased Consumption</a:t>
          </a:r>
          <a:endParaRPr lang="en-US" sz="1900" kern="1200"/>
        </a:p>
      </dsp:txBody>
      <dsp:txXfrm>
        <a:off x="937002" y="5072264"/>
        <a:ext cx="5576601" cy="81125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E224B6-A308-4E2C-8EAB-FA816890A3FB}">
      <dsp:nvSpPr>
        <dsp:cNvPr id="0" name=""/>
        <dsp:cNvSpPr/>
      </dsp:nvSpPr>
      <dsp:spPr>
        <a:xfrm>
          <a:off x="0" y="718"/>
          <a:ext cx="6513603" cy="603486"/>
        </a:xfrm>
        <a:prstGeom prst="roundRect">
          <a:avLst>
            <a:gd name="adj" fmla="val 10000"/>
          </a:avLst>
        </a:prstGeom>
        <a:solidFill>
          <a:schemeClr val="accent2">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C7F87D2D-2F7F-4E92-B92F-BDDDEB01E110}">
      <dsp:nvSpPr>
        <dsp:cNvPr id="0" name=""/>
        <dsp:cNvSpPr/>
      </dsp:nvSpPr>
      <dsp:spPr>
        <a:xfrm>
          <a:off x="182554" y="136502"/>
          <a:ext cx="331917" cy="33191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AD7171AC-FED7-4BC9-871F-A844D08ED37C}">
      <dsp:nvSpPr>
        <dsp:cNvPr id="0" name=""/>
        <dsp:cNvSpPr/>
      </dsp:nvSpPr>
      <dsp:spPr>
        <a:xfrm>
          <a:off x="697026" y="718"/>
          <a:ext cx="2931121" cy="6034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869" tIns="63869" rIns="63869" bIns="63869" numCol="1" spcCol="1270" anchor="ctr" anchorCtr="0">
          <a:noAutofit/>
        </a:bodyPr>
        <a:lstStyle/>
        <a:p>
          <a:pPr marL="0" lvl="0" indent="0" algn="l" defTabSz="711200">
            <a:lnSpc>
              <a:spcPct val="90000"/>
            </a:lnSpc>
            <a:spcBef>
              <a:spcPct val="0"/>
            </a:spcBef>
            <a:spcAft>
              <a:spcPct val="35000"/>
            </a:spcAft>
            <a:buNone/>
          </a:pPr>
          <a:r>
            <a:rPr lang="en-US" sz="1600" kern="1200"/>
            <a:t>Low latency, high throughput key-value store</a:t>
          </a:r>
        </a:p>
      </dsp:txBody>
      <dsp:txXfrm>
        <a:off x="697026" y="718"/>
        <a:ext cx="2931121" cy="603486"/>
      </dsp:txXfrm>
    </dsp:sp>
    <dsp:sp modelId="{3D1FAA2C-6F62-495D-90F0-55E326F032B4}">
      <dsp:nvSpPr>
        <dsp:cNvPr id="0" name=""/>
        <dsp:cNvSpPr/>
      </dsp:nvSpPr>
      <dsp:spPr>
        <a:xfrm>
          <a:off x="3628148" y="718"/>
          <a:ext cx="2885455" cy="6034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869" tIns="63869" rIns="63869" bIns="63869" numCol="1" spcCol="1270" anchor="ctr" anchorCtr="0">
          <a:noAutofit/>
        </a:bodyPr>
        <a:lstStyle/>
        <a:p>
          <a:pPr marL="0" lvl="0" indent="0" algn="l" defTabSz="577850">
            <a:lnSpc>
              <a:spcPct val="90000"/>
            </a:lnSpc>
            <a:spcBef>
              <a:spcPct val="0"/>
            </a:spcBef>
            <a:spcAft>
              <a:spcPct val="35000"/>
            </a:spcAft>
            <a:buNone/>
          </a:pPr>
          <a:r>
            <a:rPr lang="en-US" sz="1300" kern="1200"/>
            <a:t>Per Key expiry, choice of eviction policies.</a:t>
          </a:r>
        </a:p>
      </dsp:txBody>
      <dsp:txXfrm>
        <a:off x="3628148" y="718"/>
        <a:ext cx="2885455" cy="603486"/>
      </dsp:txXfrm>
    </dsp:sp>
    <dsp:sp modelId="{81769EDF-CAB8-4D32-8968-07AB49BB71C9}">
      <dsp:nvSpPr>
        <dsp:cNvPr id="0" name=""/>
        <dsp:cNvSpPr/>
      </dsp:nvSpPr>
      <dsp:spPr>
        <a:xfrm>
          <a:off x="0" y="755076"/>
          <a:ext cx="6513603" cy="603486"/>
        </a:xfrm>
        <a:prstGeom prst="roundRect">
          <a:avLst>
            <a:gd name="adj" fmla="val 10000"/>
          </a:avLst>
        </a:prstGeom>
        <a:solidFill>
          <a:schemeClr val="accent3">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4F5B4E6E-E270-4D30-9BF3-F026897CEDC0}">
      <dsp:nvSpPr>
        <dsp:cNvPr id="0" name=""/>
        <dsp:cNvSpPr/>
      </dsp:nvSpPr>
      <dsp:spPr>
        <a:xfrm>
          <a:off x="182554" y="890860"/>
          <a:ext cx="331917" cy="33191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6A42E275-5DB7-4901-AD6E-ABF7DDADCC23}">
      <dsp:nvSpPr>
        <dsp:cNvPr id="0" name=""/>
        <dsp:cNvSpPr/>
      </dsp:nvSpPr>
      <dsp:spPr>
        <a:xfrm>
          <a:off x="697026" y="755076"/>
          <a:ext cx="5816577" cy="6034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869" tIns="63869" rIns="63869" bIns="63869" numCol="1" spcCol="1270" anchor="ctr" anchorCtr="0">
          <a:noAutofit/>
        </a:bodyPr>
        <a:lstStyle/>
        <a:p>
          <a:pPr marL="0" lvl="0" indent="0" algn="l" defTabSz="711200">
            <a:lnSpc>
              <a:spcPct val="90000"/>
            </a:lnSpc>
            <a:spcBef>
              <a:spcPct val="0"/>
            </a:spcBef>
            <a:spcAft>
              <a:spcPct val="35000"/>
            </a:spcAft>
            <a:buNone/>
          </a:pPr>
          <a:r>
            <a:rPr lang="en-US" sz="1600" kern="1200"/>
            <a:t>Atomic operations on data types</a:t>
          </a:r>
        </a:p>
      </dsp:txBody>
      <dsp:txXfrm>
        <a:off x="697026" y="755076"/>
        <a:ext cx="5816577" cy="603486"/>
      </dsp:txXfrm>
    </dsp:sp>
    <dsp:sp modelId="{FF916E3D-5DB7-4B1B-AD79-02B85C264F10}">
      <dsp:nvSpPr>
        <dsp:cNvPr id="0" name=""/>
        <dsp:cNvSpPr/>
      </dsp:nvSpPr>
      <dsp:spPr>
        <a:xfrm>
          <a:off x="0" y="1509433"/>
          <a:ext cx="6513603" cy="603486"/>
        </a:xfrm>
        <a:prstGeom prst="roundRect">
          <a:avLst>
            <a:gd name="adj" fmla="val 10000"/>
          </a:avLst>
        </a:prstGeom>
        <a:solidFill>
          <a:schemeClr val="accent4">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2DAA6045-CDCB-421B-91B6-45E103EF06E3}">
      <dsp:nvSpPr>
        <dsp:cNvPr id="0" name=""/>
        <dsp:cNvSpPr/>
      </dsp:nvSpPr>
      <dsp:spPr>
        <a:xfrm>
          <a:off x="182554" y="1645217"/>
          <a:ext cx="331917" cy="33191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453CDAE1-2F2C-4158-88F2-BAAE1CCAEEBD}">
      <dsp:nvSpPr>
        <dsp:cNvPr id="0" name=""/>
        <dsp:cNvSpPr/>
      </dsp:nvSpPr>
      <dsp:spPr>
        <a:xfrm>
          <a:off x="697026" y="1509433"/>
          <a:ext cx="5816577" cy="6034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869" tIns="63869" rIns="63869" bIns="63869" numCol="1" spcCol="1270" anchor="ctr" anchorCtr="0">
          <a:noAutofit/>
        </a:bodyPr>
        <a:lstStyle/>
        <a:p>
          <a:pPr marL="0" lvl="0" indent="0" algn="l" defTabSz="711200">
            <a:lnSpc>
              <a:spcPct val="90000"/>
            </a:lnSpc>
            <a:spcBef>
              <a:spcPct val="0"/>
            </a:spcBef>
            <a:spcAft>
              <a:spcPct val="35000"/>
            </a:spcAft>
            <a:buNone/>
          </a:pPr>
          <a:r>
            <a:rPr lang="en-US" sz="1600" kern="1200"/>
            <a:t>Strings, hashes, lists, sets, sorted sets, and bitmaps.</a:t>
          </a:r>
        </a:p>
      </dsp:txBody>
      <dsp:txXfrm>
        <a:off x="697026" y="1509433"/>
        <a:ext cx="5816577" cy="603486"/>
      </dsp:txXfrm>
    </dsp:sp>
    <dsp:sp modelId="{5BABCDEB-0E4E-475F-A0A0-F01AC5BBAD33}">
      <dsp:nvSpPr>
        <dsp:cNvPr id="0" name=""/>
        <dsp:cNvSpPr/>
      </dsp:nvSpPr>
      <dsp:spPr>
        <a:xfrm>
          <a:off x="0" y="2263791"/>
          <a:ext cx="6513603" cy="603486"/>
        </a:xfrm>
        <a:prstGeom prst="roundRect">
          <a:avLst>
            <a:gd name="adj" fmla="val 10000"/>
          </a:avLst>
        </a:prstGeom>
        <a:solidFill>
          <a:schemeClr val="accent5">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22D8B3E7-2AA6-497D-A1E6-FEC8EAF39AC9}">
      <dsp:nvSpPr>
        <dsp:cNvPr id="0" name=""/>
        <dsp:cNvSpPr/>
      </dsp:nvSpPr>
      <dsp:spPr>
        <a:xfrm>
          <a:off x="182554" y="2399575"/>
          <a:ext cx="331917" cy="331917"/>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42C37D3C-AE85-48B8-A8C6-F61F772C0B9A}">
      <dsp:nvSpPr>
        <dsp:cNvPr id="0" name=""/>
        <dsp:cNvSpPr/>
      </dsp:nvSpPr>
      <dsp:spPr>
        <a:xfrm>
          <a:off x="697026" y="2263791"/>
          <a:ext cx="5816577" cy="6034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869" tIns="63869" rIns="63869" bIns="63869" numCol="1" spcCol="1270" anchor="ctr" anchorCtr="0">
          <a:noAutofit/>
        </a:bodyPr>
        <a:lstStyle/>
        <a:p>
          <a:pPr marL="0" lvl="0" indent="0" algn="l" defTabSz="711200">
            <a:lnSpc>
              <a:spcPct val="90000"/>
            </a:lnSpc>
            <a:spcBef>
              <a:spcPct val="0"/>
            </a:spcBef>
            <a:spcAft>
              <a:spcPct val="35000"/>
            </a:spcAft>
            <a:buNone/>
          </a:pPr>
          <a:r>
            <a:rPr lang="en-US" sz="1600" kern="1200"/>
            <a:t>Transactions</a:t>
          </a:r>
        </a:p>
      </dsp:txBody>
      <dsp:txXfrm>
        <a:off x="697026" y="2263791"/>
        <a:ext cx="5816577" cy="603486"/>
      </dsp:txXfrm>
    </dsp:sp>
    <dsp:sp modelId="{B4E8153B-72E1-48C2-AA56-24D7BF4B3387}">
      <dsp:nvSpPr>
        <dsp:cNvPr id="0" name=""/>
        <dsp:cNvSpPr/>
      </dsp:nvSpPr>
      <dsp:spPr>
        <a:xfrm>
          <a:off x="0" y="3018148"/>
          <a:ext cx="6513603" cy="603486"/>
        </a:xfrm>
        <a:prstGeom prst="roundRect">
          <a:avLst>
            <a:gd name="adj" fmla="val 10000"/>
          </a:avLst>
        </a:prstGeom>
        <a:solidFill>
          <a:schemeClr val="accent6">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F9786716-8645-4C76-933D-766961F2D2EE}">
      <dsp:nvSpPr>
        <dsp:cNvPr id="0" name=""/>
        <dsp:cNvSpPr/>
      </dsp:nvSpPr>
      <dsp:spPr>
        <a:xfrm>
          <a:off x="182554" y="3153933"/>
          <a:ext cx="331917" cy="331917"/>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3EB6E0F6-3C1A-497F-A910-977CA76BE106}">
      <dsp:nvSpPr>
        <dsp:cNvPr id="0" name=""/>
        <dsp:cNvSpPr/>
      </dsp:nvSpPr>
      <dsp:spPr>
        <a:xfrm>
          <a:off x="697026" y="3018148"/>
          <a:ext cx="5816577" cy="6034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869" tIns="63869" rIns="63869" bIns="63869" numCol="1" spcCol="1270" anchor="ctr" anchorCtr="0">
          <a:noAutofit/>
        </a:bodyPr>
        <a:lstStyle/>
        <a:p>
          <a:pPr marL="0" lvl="0" indent="0" algn="l" defTabSz="711200">
            <a:lnSpc>
              <a:spcPct val="90000"/>
            </a:lnSpc>
            <a:spcBef>
              <a:spcPct val="0"/>
            </a:spcBef>
            <a:spcAft>
              <a:spcPct val="35000"/>
            </a:spcAft>
            <a:buNone/>
          </a:pPr>
          <a:r>
            <a:rPr lang="en-US" sz="1600" kern="1200"/>
            <a:t>Publisher-Subscriber pattern</a:t>
          </a:r>
        </a:p>
      </dsp:txBody>
      <dsp:txXfrm>
        <a:off x="697026" y="3018148"/>
        <a:ext cx="5816577" cy="603486"/>
      </dsp:txXfrm>
    </dsp:sp>
    <dsp:sp modelId="{06C0AF89-0ADB-4754-B174-565B67DF2368}">
      <dsp:nvSpPr>
        <dsp:cNvPr id="0" name=""/>
        <dsp:cNvSpPr/>
      </dsp:nvSpPr>
      <dsp:spPr>
        <a:xfrm>
          <a:off x="0" y="3772506"/>
          <a:ext cx="6513603" cy="603486"/>
        </a:xfrm>
        <a:prstGeom prst="roundRect">
          <a:avLst>
            <a:gd name="adj" fmla="val 10000"/>
          </a:avLst>
        </a:prstGeom>
        <a:solidFill>
          <a:schemeClr val="accent2">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931A7871-B03B-48E1-B536-2276D5DA78D9}">
      <dsp:nvSpPr>
        <dsp:cNvPr id="0" name=""/>
        <dsp:cNvSpPr/>
      </dsp:nvSpPr>
      <dsp:spPr>
        <a:xfrm>
          <a:off x="182554" y="3908290"/>
          <a:ext cx="331917" cy="331917"/>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B30C4A2C-BA18-446A-A45B-3C10C4605D5D}">
      <dsp:nvSpPr>
        <dsp:cNvPr id="0" name=""/>
        <dsp:cNvSpPr/>
      </dsp:nvSpPr>
      <dsp:spPr>
        <a:xfrm>
          <a:off x="697026" y="3772506"/>
          <a:ext cx="5816577" cy="6034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869" tIns="63869" rIns="63869" bIns="63869" numCol="1" spcCol="1270" anchor="ctr" anchorCtr="0">
          <a:noAutofit/>
        </a:bodyPr>
        <a:lstStyle/>
        <a:p>
          <a:pPr marL="0" lvl="0" indent="0" algn="l" defTabSz="711200">
            <a:lnSpc>
              <a:spcPct val="90000"/>
            </a:lnSpc>
            <a:spcBef>
              <a:spcPct val="0"/>
            </a:spcBef>
            <a:spcAft>
              <a:spcPct val="35000"/>
            </a:spcAft>
            <a:buNone/>
          </a:pPr>
          <a:r>
            <a:rPr lang="en-US" sz="1600" kern="1200"/>
            <a:t>LUA scripting</a:t>
          </a:r>
        </a:p>
      </dsp:txBody>
      <dsp:txXfrm>
        <a:off x="697026" y="3772506"/>
        <a:ext cx="5816577" cy="603486"/>
      </dsp:txXfrm>
    </dsp:sp>
    <dsp:sp modelId="{59B72C1D-45BB-4B6B-9248-F4BD2FA3E4D3}">
      <dsp:nvSpPr>
        <dsp:cNvPr id="0" name=""/>
        <dsp:cNvSpPr/>
      </dsp:nvSpPr>
      <dsp:spPr>
        <a:xfrm>
          <a:off x="0" y="4526863"/>
          <a:ext cx="6513603" cy="603486"/>
        </a:xfrm>
        <a:prstGeom prst="roundRect">
          <a:avLst>
            <a:gd name="adj" fmla="val 10000"/>
          </a:avLst>
        </a:prstGeom>
        <a:solidFill>
          <a:schemeClr val="accent3">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E1CEFE54-F132-436F-9EC3-FAB4E3A29D96}">
      <dsp:nvSpPr>
        <dsp:cNvPr id="0" name=""/>
        <dsp:cNvSpPr/>
      </dsp:nvSpPr>
      <dsp:spPr>
        <a:xfrm>
          <a:off x="182554" y="4662648"/>
          <a:ext cx="331917" cy="331917"/>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60E44DAE-0D7A-4A26-A4F6-28395D689E41}">
      <dsp:nvSpPr>
        <dsp:cNvPr id="0" name=""/>
        <dsp:cNvSpPr/>
      </dsp:nvSpPr>
      <dsp:spPr>
        <a:xfrm>
          <a:off x="697026" y="4526863"/>
          <a:ext cx="5816577" cy="6034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869" tIns="63869" rIns="63869" bIns="63869" numCol="1" spcCol="1270" anchor="ctr" anchorCtr="0">
          <a:noAutofit/>
        </a:bodyPr>
        <a:lstStyle/>
        <a:p>
          <a:pPr marL="0" lvl="0" indent="0" algn="l" defTabSz="711200">
            <a:lnSpc>
              <a:spcPct val="90000"/>
            </a:lnSpc>
            <a:spcBef>
              <a:spcPct val="0"/>
            </a:spcBef>
            <a:spcAft>
              <a:spcPct val="35000"/>
            </a:spcAft>
            <a:buNone/>
          </a:pPr>
          <a:r>
            <a:rPr lang="en-US" sz="1600" kern="1200"/>
            <a:t>Pipelining</a:t>
          </a:r>
        </a:p>
      </dsp:txBody>
      <dsp:txXfrm>
        <a:off x="697026" y="4526863"/>
        <a:ext cx="5816577" cy="603486"/>
      </dsp:txXfrm>
    </dsp:sp>
    <dsp:sp modelId="{3D76FD1E-EEE3-47C0-83CC-1FE544777142}">
      <dsp:nvSpPr>
        <dsp:cNvPr id="0" name=""/>
        <dsp:cNvSpPr/>
      </dsp:nvSpPr>
      <dsp:spPr>
        <a:xfrm>
          <a:off x="0" y="5281221"/>
          <a:ext cx="6513603" cy="603486"/>
        </a:xfrm>
        <a:prstGeom prst="roundRect">
          <a:avLst>
            <a:gd name="adj" fmla="val 10000"/>
          </a:avLst>
        </a:prstGeom>
        <a:solidFill>
          <a:schemeClr val="accent4">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03A2FAEA-F1E8-4372-AFF7-6271C5603D1E}">
      <dsp:nvSpPr>
        <dsp:cNvPr id="0" name=""/>
        <dsp:cNvSpPr/>
      </dsp:nvSpPr>
      <dsp:spPr>
        <a:xfrm>
          <a:off x="182554" y="5417005"/>
          <a:ext cx="331917" cy="331917"/>
        </a:xfrm>
        <a:prstGeom prst="rect">
          <a:avLst/>
        </a:prstGeom>
        <a:gradFill rotWithShape="0">
          <a:gsLst>
            <a:gs pos="0">
              <a:schemeClr val="bg1">
                <a:hueOff val="0"/>
                <a:satOff val="0"/>
                <a:lumOff val="0"/>
                <a:alphaOff val="0"/>
                <a:satMod val="103000"/>
                <a:lumMod val="102000"/>
                <a:tint val="94000"/>
              </a:schemeClr>
            </a:gs>
            <a:gs pos="50000">
              <a:schemeClr val="bg1">
                <a:hueOff val="0"/>
                <a:satOff val="0"/>
                <a:lumOff val="0"/>
                <a:alphaOff val="0"/>
                <a:satMod val="110000"/>
                <a:lumMod val="100000"/>
                <a:shade val="100000"/>
              </a:schemeClr>
            </a:gs>
            <a:gs pos="100000">
              <a:schemeClr val="bg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B9936A67-D41E-4EAC-94C6-1C466F463E56}">
      <dsp:nvSpPr>
        <dsp:cNvPr id="0" name=""/>
        <dsp:cNvSpPr/>
      </dsp:nvSpPr>
      <dsp:spPr>
        <a:xfrm>
          <a:off x="697026" y="5281221"/>
          <a:ext cx="5816577" cy="6034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869" tIns="63869" rIns="63869" bIns="63869" numCol="1" spcCol="1270" anchor="ctr" anchorCtr="0">
          <a:noAutofit/>
        </a:bodyPr>
        <a:lstStyle/>
        <a:p>
          <a:pPr marL="0" lvl="0" indent="0" algn="l" defTabSz="711200">
            <a:lnSpc>
              <a:spcPct val="90000"/>
            </a:lnSpc>
            <a:spcBef>
              <a:spcPct val="0"/>
            </a:spcBef>
            <a:spcAft>
              <a:spcPct val="35000"/>
            </a:spcAft>
            <a:buNone/>
          </a:pPr>
          <a:r>
            <a:rPr lang="en-US" sz="1600" kern="1200"/>
            <a:t>Client libraries in multiple languages</a:t>
          </a:r>
        </a:p>
      </dsp:txBody>
      <dsp:txXfrm>
        <a:off x="697026" y="5281221"/>
        <a:ext cx="5816577" cy="60348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0C0D09-EC0A-7D44-87D0-F742C80C2A0E}">
      <dsp:nvSpPr>
        <dsp:cNvPr id="0" name=""/>
        <dsp:cNvSpPr/>
      </dsp:nvSpPr>
      <dsp:spPr>
        <a:xfrm>
          <a:off x="0" y="346080"/>
          <a:ext cx="6492875" cy="5796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9E6FDB8-741E-5942-8AD6-C7B766A1FEFE}">
      <dsp:nvSpPr>
        <dsp:cNvPr id="0" name=""/>
        <dsp:cNvSpPr/>
      </dsp:nvSpPr>
      <dsp:spPr>
        <a:xfrm>
          <a:off x="324643" y="6600"/>
          <a:ext cx="4545012" cy="6789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791" tIns="0" rIns="171791" bIns="0" numCol="1" spcCol="1270" anchor="ctr" anchorCtr="0">
          <a:noAutofit/>
        </a:bodyPr>
        <a:lstStyle/>
        <a:p>
          <a:pPr marL="0" lvl="0" indent="0" algn="l" defTabSz="1022350">
            <a:lnSpc>
              <a:spcPct val="90000"/>
            </a:lnSpc>
            <a:spcBef>
              <a:spcPct val="0"/>
            </a:spcBef>
            <a:spcAft>
              <a:spcPct val="35000"/>
            </a:spcAft>
            <a:buNone/>
          </a:pPr>
          <a:r>
            <a:rPr lang="en-US" sz="2300" kern="1200"/>
            <a:t>In-Memory makes it fast</a:t>
          </a:r>
        </a:p>
      </dsp:txBody>
      <dsp:txXfrm>
        <a:off x="357787" y="39744"/>
        <a:ext cx="4478724" cy="612672"/>
      </dsp:txXfrm>
    </dsp:sp>
    <dsp:sp modelId="{D7893E73-0CB8-FE47-83F4-ABBED940C8F1}">
      <dsp:nvSpPr>
        <dsp:cNvPr id="0" name=""/>
        <dsp:cNvSpPr/>
      </dsp:nvSpPr>
      <dsp:spPr>
        <a:xfrm>
          <a:off x="0" y="1389360"/>
          <a:ext cx="6492875" cy="579600"/>
        </a:xfrm>
        <a:prstGeom prst="rect">
          <a:avLst/>
        </a:prstGeom>
        <a:solidFill>
          <a:schemeClr val="lt1">
            <a:alpha val="90000"/>
            <a:hueOff val="0"/>
            <a:satOff val="0"/>
            <a:lumOff val="0"/>
            <a:alphaOff val="0"/>
          </a:schemeClr>
        </a:solidFill>
        <a:ln w="12700" cap="flat" cmpd="sng" algn="ctr">
          <a:solidFill>
            <a:schemeClr val="accent2">
              <a:hueOff val="-363841"/>
              <a:satOff val="-20982"/>
              <a:lumOff val="2157"/>
              <a:alphaOff val="0"/>
            </a:schemeClr>
          </a:solidFill>
          <a:prstDash val="solid"/>
          <a:miter lim="800000"/>
        </a:ln>
        <a:effectLst/>
      </dsp:spPr>
      <dsp:style>
        <a:lnRef idx="2">
          <a:scrgbClr r="0" g="0" b="0"/>
        </a:lnRef>
        <a:fillRef idx="1">
          <a:scrgbClr r="0" g="0" b="0"/>
        </a:fillRef>
        <a:effectRef idx="0">
          <a:scrgbClr r="0" g="0" b="0"/>
        </a:effectRef>
        <a:fontRef idx="minor"/>
      </dsp:style>
    </dsp:sp>
    <dsp:sp modelId="{E2813161-5B5A-174E-A72E-6DB898DC5A44}">
      <dsp:nvSpPr>
        <dsp:cNvPr id="0" name=""/>
        <dsp:cNvSpPr/>
      </dsp:nvSpPr>
      <dsp:spPr>
        <a:xfrm>
          <a:off x="324643" y="1049880"/>
          <a:ext cx="4545012" cy="678960"/>
        </a:xfrm>
        <a:prstGeom prst="roundRect">
          <a:avLst/>
        </a:prstGeom>
        <a:solidFill>
          <a:schemeClr val="accent2">
            <a:hueOff val="-363841"/>
            <a:satOff val="-20982"/>
            <a:lumOff val="21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791" tIns="0" rIns="171791" bIns="0" numCol="1" spcCol="1270" anchor="ctr" anchorCtr="0">
          <a:noAutofit/>
        </a:bodyPr>
        <a:lstStyle/>
        <a:p>
          <a:pPr marL="0" lvl="0" indent="0" algn="l" defTabSz="1022350">
            <a:lnSpc>
              <a:spcPct val="90000"/>
            </a:lnSpc>
            <a:spcBef>
              <a:spcPct val="0"/>
            </a:spcBef>
            <a:spcAft>
              <a:spcPct val="35000"/>
            </a:spcAft>
            <a:buNone/>
          </a:pPr>
          <a:r>
            <a:rPr lang="en-US" sz="2300" kern="1200"/>
            <a:t>Scale-Out</a:t>
          </a:r>
        </a:p>
      </dsp:txBody>
      <dsp:txXfrm>
        <a:off x="357787" y="1083024"/>
        <a:ext cx="4478724" cy="612672"/>
      </dsp:txXfrm>
    </dsp:sp>
    <dsp:sp modelId="{51BCB23F-E2AE-504E-AC99-70FF031E8EE6}">
      <dsp:nvSpPr>
        <dsp:cNvPr id="0" name=""/>
        <dsp:cNvSpPr/>
      </dsp:nvSpPr>
      <dsp:spPr>
        <a:xfrm>
          <a:off x="0" y="2432640"/>
          <a:ext cx="6492875" cy="579600"/>
        </a:xfrm>
        <a:prstGeom prst="rect">
          <a:avLst/>
        </a:prstGeom>
        <a:solidFill>
          <a:schemeClr val="lt1">
            <a:alpha val="90000"/>
            <a:hueOff val="0"/>
            <a:satOff val="0"/>
            <a:lumOff val="0"/>
            <a:alphaOff val="0"/>
          </a:schemeClr>
        </a:solidFill>
        <a:ln w="12700" cap="flat" cmpd="sng" algn="ctr">
          <a:solidFill>
            <a:schemeClr val="accent2">
              <a:hueOff val="-727682"/>
              <a:satOff val="-41964"/>
              <a:lumOff val="4314"/>
              <a:alphaOff val="0"/>
            </a:schemeClr>
          </a:solidFill>
          <a:prstDash val="solid"/>
          <a:miter lim="800000"/>
        </a:ln>
        <a:effectLst/>
      </dsp:spPr>
      <dsp:style>
        <a:lnRef idx="2">
          <a:scrgbClr r="0" g="0" b="0"/>
        </a:lnRef>
        <a:fillRef idx="1">
          <a:scrgbClr r="0" g="0" b="0"/>
        </a:fillRef>
        <a:effectRef idx="0">
          <a:scrgbClr r="0" g="0" b="0"/>
        </a:effectRef>
        <a:fontRef idx="minor"/>
      </dsp:style>
    </dsp:sp>
    <dsp:sp modelId="{B95E3C90-9CD3-F746-B618-7CA377F3CE9D}">
      <dsp:nvSpPr>
        <dsp:cNvPr id="0" name=""/>
        <dsp:cNvSpPr/>
      </dsp:nvSpPr>
      <dsp:spPr>
        <a:xfrm>
          <a:off x="324643" y="2093160"/>
          <a:ext cx="4545012" cy="678960"/>
        </a:xfrm>
        <a:prstGeom prst="roundRect">
          <a:avLst/>
        </a:prstGeom>
        <a:solidFill>
          <a:schemeClr val="accent2">
            <a:hueOff val="-727682"/>
            <a:satOff val="-41964"/>
            <a:lumOff val="431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791" tIns="0" rIns="171791" bIns="0" numCol="1" spcCol="1270" anchor="ctr" anchorCtr="0">
          <a:noAutofit/>
        </a:bodyPr>
        <a:lstStyle/>
        <a:p>
          <a:pPr marL="0" lvl="0" indent="0" algn="l" defTabSz="1022350">
            <a:lnSpc>
              <a:spcPct val="90000"/>
            </a:lnSpc>
            <a:spcBef>
              <a:spcPct val="0"/>
            </a:spcBef>
            <a:spcAft>
              <a:spcPct val="35000"/>
            </a:spcAft>
            <a:buNone/>
          </a:pPr>
          <a:r>
            <a:rPr lang="en-US" sz="2300" kern="1200"/>
            <a:t>Dynamic Schema</a:t>
          </a:r>
        </a:p>
      </dsp:txBody>
      <dsp:txXfrm>
        <a:off x="357787" y="2126304"/>
        <a:ext cx="4478724" cy="612672"/>
      </dsp:txXfrm>
    </dsp:sp>
    <dsp:sp modelId="{8E78BDCC-752E-A04D-8B3F-97DB9E3AF45F}">
      <dsp:nvSpPr>
        <dsp:cNvPr id="0" name=""/>
        <dsp:cNvSpPr/>
      </dsp:nvSpPr>
      <dsp:spPr>
        <a:xfrm>
          <a:off x="0" y="3475920"/>
          <a:ext cx="6492875" cy="579600"/>
        </a:xfrm>
        <a:prstGeom prst="rect">
          <a:avLst/>
        </a:prstGeom>
        <a:solidFill>
          <a:schemeClr val="lt1">
            <a:alpha val="90000"/>
            <a:hueOff val="0"/>
            <a:satOff val="0"/>
            <a:lumOff val="0"/>
            <a:alphaOff val="0"/>
          </a:schemeClr>
        </a:solidFill>
        <a:ln w="12700" cap="flat" cmpd="sng" algn="ctr">
          <a:solidFill>
            <a:schemeClr val="accent2">
              <a:hueOff val="-1091522"/>
              <a:satOff val="-62946"/>
              <a:lumOff val="6471"/>
              <a:alphaOff val="0"/>
            </a:schemeClr>
          </a:solidFill>
          <a:prstDash val="solid"/>
          <a:miter lim="800000"/>
        </a:ln>
        <a:effectLst/>
      </dsp:spPr>
      <dsp:style>
        <a:lnRef idx="2">
          <a:scrgbClr r="0" g="0" b="0"/>
        </a:lnRef>
        <a:fillRef idx="1">
          <a:scrgbClr r="0" g="0" b="0"/>
        </a:fillRef>
        <a:effectRef idx="0">
          <a:scrgbClr r="0" g="0" b="0"/>
        </a:effectRef>
        <a:fontRef idx="minor"/>
      </dsp:style>
    </dsp:sp>
    <dsp:sp modelId="{9291613E-0510-7746-A58B-9B4C8AA116CB}">
      <dsp:nvSpPr>
        <dsp:cNvPr id="0" name=""/>
        <dsp:cNvSpPr/>
      </dsp:nvSpPr>
      <dsp:spPr>
        <a:xfrm>
          <a:off x="324643" y="3136440"/>
          <a:ext cx="4545012" cy="678960"/>
        </a:xfrm>
        <a:prstGeom prst="roundRect">
          <a:avLst/>
        </a:prstGeom>
        <a:solidFill>
          <a:schemeClr val="accent2">
            <a:hueOff val="-1091522"/>
            <a:satOff val="-62946"/>
            <a:lumOff val="647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791" tIns="0" rIns="171791" bIns="0" numCol="1" spcCol="1270" anchor="ctr" anchorCtr="0">
          <a:noAutofit/>
        </a:bodyPr>
        <a:lstStyle/>
        <a:p>
          <a:pPr marL="0" lvl="0" indent="0" algn="l" defTabSz="1022350">
            <a:lnSpc>
              <a:spcPct val="90000"/>
            </a:lnSpc>
            <a:spcBef>
              <a:spcPct val="0"/>
            </a:spcBef>
            <a:spcAft>
              <a:spcPct val="35000"/>
            </a:spcAft>
            <a:buNone/>
          </a:pPr>
          <a:r>
            <a:rPr lang="en-US" sz="2300" kern="1200"/>
            <a:t>Reduce expensive database access</a:t>
          </a:r>
        </a:p>
      </dsp:txBody>
      <dsp:txXfrm>
        <a:off x="357787" y="3169584"/>
        <a:ext cx="4478724" cy="612672"/>
      </dsp:txXfrm>
    </dsp:sp>
    <dsp:sp modelId="{5C284140-D025-9241-BD55-85AC5916D68B}">
      <dsp:nvSpPr>
        <dsp:cNvPr id="0" name=""/>
        <dsp:cNvSpPr/>
      </dsp:nvSpPr>
      <dsp:spPr>
        <a:xfrm>
          <a:off x="0" y="4519200"/>
          <a:ext cx="6492875" cy="579600"/>
        </a:xfrm>
        <a:prstGeom prst="rect">
          <a:avLst/>
        </a:prstGeom>
        <a:solidFill>
          <a:schemeClr val="lt1">
            <a:alpha val="90000"/>
            <a:hueOff val="0"/>
            <a:satOff val="0"/>
            <a:lumOff val="0"/>
            <a:alphaOff val="0"/>
          </a:schemeClr>
        </a:solidFill>
        <a:ln w="12700" cap="flat" cmpd="sng" algn="ctr">
          <a:solidFill>
            <a:schemeClr val="accent2">
              <a:hueOff val="-1455363"/>
              <a:satOff val="-83928"/>
              <a:lumOff val="8628"/>
              <a:alphaOff val="0"/>
            </a:schemeClr>
          </a:solidFill>
          <a:prstDash val="solid"/>
          <a:miter lim="800000"/>
        </a:ln>
        <a:effectLst/>
      </dsp:spPr>
      <dsp:style>
        <a:lnRef idx="2">
          <a:scrgbClr r="0" g="0" b="0"/>
        </a:lnRef>
        <a:fillRef idx="1">
          <a:scrgbClr r="0" g="0" b="0"/>
        </a:fillRef>
        <a:effectRef idx="0">
          <a:scrgbClr r="0" g="0" b="0"/>
        </a:effectRef>
        <a:fontRef idx="minor"/>
      </dsp:style>
    </dsp:sp>
    <dsp:sp modelId="{88E42410-E224-C449-B259-0A64C0672537}">
      <dsp:nvSpPr>
        <dsp:cNvPr id="0" name=""/>
        <dsp:cNvSpPr/>
      </dsp:nvSpPr>
      <dsp:spPr>
        <a:xfrm>
          <a:off x="324643" y="4179720"/>
          <a:ext cx="4545012" cy="678960"/>
        </a:xfrm>
        <a:prstGeom prst="roundRect">
          <a:avLst/>
        </a:prstGeom>
        <a:solidFill>
          <a:schemeClr val="accent2">
            <a:hueOff val="-1455363"/>
            <a:satOff val="-83928"/>
            <a:lumOff val="86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791" tIns="0" rIns="171791" bIns="0" numCol="1" spcCol="1270" anchor="ctr" anchorCtr="0">
          <a:noAutofit/>
        </a:bodyPr>
        <a:lstStyle/>
        <a:p>
          <a:pPr marL="0" lvl="0" indent="0" algn="l" defTabSz="1022350">
            <a:lnSpc>
              <a:spcPct val="90000"/>
            </a:lnSpc>
            <a:spcBef>
              <a:spcPct val="0"/>
            </a:spcBef>
            <a:spcAft>
              <a:spcPct val="35000"/>
            </a:spcAft>
            <a:buNone/>
          </a:pPr>
          <a:r>
            <a:rPr lang="en-US" sz="2300" kern="1200"/>
            <a:t>Flexible with TTL and LRU options</a:t>
          </a:r>
        </a:p>
      </dsp:txBody>
      <dsp:txXfrm>
        <a:off x="357787" y="4212864"/>
        <a:ext cx="4478724" cy="61267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EFBF40-948B-4521-85FC-35AB50307A2E}">
      <dsp:nvSpPr>
        <dsp:cNvPr id="0" name=""/>
        <dsp:cNvSpPr/>
      </dsp:nvSpPr>
      <dsp:spPr>
        <a:xfrm>
          <a:off x="0" y="718"/>
          <a:ext cx="6513603" cy="1681139"/>
        </a:xfrm>
        <a:prstGeom prst="roundRect">
          <a:avLst>
            <a:gd name="adj" fmla="val 10000"/>
          </a:avLst>
        </a:prstGeom>
        <a:solidFill>
          <a:schemeClr val="accent2">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687CB7C0-B193-4558-BF16-0D9A5D0B5AE9}">
      <dsp:nvSpPr>
        <dsp:cNvPr id="0" name=""/>
        <dsp:cNvSpPr/>
      </dsp:nvSpPr>
      <dsp:spPr>
        <a:xfrm>
          <a:off x="508544" y="378974"/>
          <a:ext cx="924626" cy="92462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97AD5B4A-C282-42CA-B68E-E976EF01A7BC}">
      <dsp:nvSpPr>
        <dsp:cNvPr id="0" name=""/>
        <dsp:cNvSpPr/>
      </dsp:nvSpPr>
      <dsp:spPr>
        <a:xfrm>
          <a:off x="1941716" y="718"/>
          <a:ext cx="2931121" cy="16811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921" tIns="177921" rIns="177921" bIns="177921" numCol="1" spcCol="1270" anchor="ctr" anchorCtr="0">
          <a:noAutofit/>
        </a:bodyPr>
        <a:lstStyle/>
        <a:p>
          <a:pPr marL="0" lvl="0" indent="0" algn="l" defTabSz="1111250">
            <a:lnSpc>
              <a:spcPct val="90000"/>
            </a:lnSpc>
            <a:spcBef>
              <a:spcPct val="0"/>
            </a:spcBef>
            <a:spcAft>
              <a:spcPct val="35000"/>
            </a:spcAft>
            <a:buNone/>
          </a:pPr>
          <a:r>
            <a:rPr lang="en-US" sz="2500" kern="1200"/>
            <a:t>Asynchronous Single Threaded Event Loop </a:t>
          </a:r>
        </a:p>
      </dsp:txBody>
      <dsp:txXfrm>
        <a:off x="1941716" y="718"/>
        <a:ext cx="2931121" cy="1681139"/>
      </dsp:txXfrm>
    </dsp:sp>
    <dsp:sp modelId="{5301FB38-8D93-4967-959A-8F88A998F349}">
      <dsp:nvSpPr>
        <dsp:cNvPr id="0" name=""/>
        <dsp:cNvSpPr/>
      </dsp:nvSpPr>
      <dsp:spPr>
        <a:xfrm>
          <a:off x="4872838" y="718"/>
          <a:ext cx="1640765" cy="16811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921" tIns="177921" rIns="177921" bIns="177921" numCol="1" spcCol="1270" anchor="ctr" anchorCtr="0">
          <a:noAutofit/>
        </a:bodyPr>
        <a:lstStyle/>
        <a:p>
          <a:pPr marL="0" lvl="0" indent="0" algn="l" defTabSz="488950">
            <a:lnSpc>
              <a:spcPct val="90000"/>
            </a:lnSpc>
            <a:spcBef>
              <a:spcPct val="0"/>
            </a:spcBef>
            <a:spcAft>
              <a:spcPct val="35000"/>
            </a:spcAft>
            <a:buNone/>
          </a:pPr>
          <a:r>
            <a:rPr lang="en-US" sz="1100" kern="1200"/>
            <a:t>Its just a basic </a:t>
          </a:r>
          <a:r>
            <a:rPr lang="en-US" sz="1100" i="1" kern="1200"/>
            <a:t>while(true) </a:t>
          </a:r>
          <a:r>
            <a:rPr lang="en-US" sz="1100" kern="1200"/>
            <a:t>loop</a:t>
          </a:r>
        </a:p>
        <a:p>
          <a:pPr marL="0" lvl="0" indent="0" algn="l" defTabSz="488950">
            <a:lnSpc>
              <a:spcPct val="90000"/>
            </a:lnSpc>
            <a:spcBef>
              <a:spcPct val="0"/>
            </a:spcBef>
            <a:spcAft>
              <a:spcPct val="35000"/>
            </a:spcAft>
            <a:buNone/>
          </a:pPr>
          <a:r>
            <a:rPr lang="en-US" sz="1100" kern="1200"/>
            <a:t>Redis handles all operations in this loop</a:t>
          </a:r>
        </a:p>
      </dsp:txBody>
      <dsp:txXfrm>
        <a:off x="4872838" y="718"/>
        <a:ext cx="1640765" cy="1681139"/>
      </dsp:txXfrm>
    </dsp:sp>
    <dsp:sp modelId="{84399C56-912C-4F72-BCD0-D621EA291C5E}">
      <dsp:nvSpPr>
        <dsp:cNvPr id="0" name=""/>
        <dsp:cNvSpPr/>
      </dsp:nvSpPr>
      <dsp:spPr>
        <a:xfrm>
          <a:off x="0" y="2102143"/>
          <a:ext cx="6513603" cy="1681139"/>
        </a:xfrm>
        <a:prstGeom prst="roundRect">
          <a:avLst>
            <a:gd name="adj" fmla="val 10000"/>
          </a:avLst>
        </a:prstGeom>
        <a:solidFill>
          <a:schemeClr val="accent3">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08672E2B-E1FB-4801-9337-BDEB94DDE916}">
      <dsp:nvSpPr>
        <dsp:cNvPr id="0" name=""/>
        <dsp:cNvSpPr/>
      </dsp:nvSpPr>
      <dsp:spPr>
        <a:xfrm>
          <a:off x="508544" y="2480399"/>
          <a:ext cx="924626" cy="92462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A2D99DD1-ECFE-4523-9ECB-7700B8F3BAF5}">
      <dsp:nvSpPr>
        <dsp:cNvPr id="0" name=""/>
        <dsp:cNvSpPr/>
      </dsp:nvSpPr>
      <dsp:spPr>
        <a:xfrm>
          <a:off x="1941716" y="2102143"/>
          <a:ext cx="2931121" cy="16811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921" tIns="177921" rIns="177921" bIns="177921" numCol="1" spcCol="1270" anchor="ctr" anchorCtr="0">
          <a:noAutofit/>
        </a:bodyPr>
        <a:lstStyle/>
        <a:p>
          <a:pPr marL="0" lvl="0" indent="0" algn="l" defTabSz="1111250">
            <a:lnSpc>
              <a:spcPct val="90000"/>
            </a:lnSpc>
            <a:spcBef>
              <a:spcPct val="0"/>
            </a:spcBef>
            <a:spcAft>
              <a:spcPct val="35000"/>
            </a:spcAft>
            <a:buNone/>
          </a:pPr>
          <a:r>
            <a:rPr lang="en-US" sz="2500" kern="1200"/>
            <a:t>Stores all data In-memory</a:t>
          </a:r>
        </a:p>
      </dsp:txBody>
      <dsp:txXfrm>
        <a:off x="1941716" y="2102143"/>
        <a:ext cx="2931121" cy="1681139"/>
      </dsp:txXfrm>
    </dsp:sp>
    <dsp:sp modelId="{58420C79-4A65-4F24-8902-99913939F0C9}">
      <dsp:nvSpPr>
        <dsp:cNvPr id="0" name=""/>
        <dsp:cNvSpPr/>
      </dsp:nvSpPr>
      <dsp:spPr>
        <a:xfrm>
          <a:off x="4872838" y="2102143"/>
          <a:ext cx="1640765" cy="16811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921" tIns="177921" rIns="177921" bIns="177921" numCol="1" spcCol="1270" anchor="ctr" anchorCtr="0">
          <a:noAutofit/>
        </a:bodyPr>
        <a:lstStyle/>
        <a:p>
          <a:pPr marL="0" lvl="0" indent="0" algn="l" defTabSz="488950">
            <a:lnSpc>
              <a:spcPct val="90000"/>
            </a:lnSpc>
            <a:spcBef>
              <a:spcPct val="0"/>
            </a:spcBef>
            <a:spcAft>
              <a:spcPct val="35000"/>
            </a:spcAft>
            <a:buNone/>
          </a:pPr>
          <a:r>
            <a:rPr lang="en-US" sz="1100" kern="1200"/>
            <a:t>Optional backup\persistence to disk</a:t>
          </a:r>
        </a:p>
      </dsp:txBody>
      <dsp:txXfrm>
        <a:off x="4872838" y="2102143"/>
        <a:ext cx="1640765" cy="1681139"/>
      </dsp:txXfrm>
    </dsp:sp>
    <dsp:sp modelId="{F095EB69-3C3E-4E45-8C38-FE49DF8E0FDE}">
      <dsp:nvSpPr>
        <dsp:cNvPr id="0" name=""/>
        <dsp:cNvSpPr/>
      </dsp:nvSpPr>
      <dsp:spPr>
        <a:xfrm>
          <a:off x="0" y="4203567"/>
          <a:ext cx="6513603" cy="1681139"/>
        </a:xfrm>
        <a:prstGeom prst="roundRect">
          <a:avLst>
            <a:gd name="adj" fmla="val 10000"/>
          </a:avLst>
        </a:prstGeom>
        <a:solidFill>
          <a:schemeClr val="accent4">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A876047D-91C6-4723-8C5E-BA654ECC3C85}">
      <dsp:nvSpPr>
        <dsp:cNvPr id="0" name=""/>
        <dsp:cNvSpPr/>
      </dsp:nvSpPr>
      <dsp:spPr>
        <a:xfrm>
          <a:off x="508544" y="4581824"/>
          <a:ext cx="924626" cy="92462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53418F35-2940-4C75-8832-F8AC0A6F37ED}">
      <dsp:nvSpPr>
        <dsp:cNvPr id="0" name=""/>
        <dsp:cNvSpPr/>
      </dsp:nvSpPr>
      <dsp:spPr>
        <a:xfrm>
          <a:off x="1941716" y="4203567"/>
          <a:ext cx="2931121" cy="16811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921" tIns="177921" rIns="177921" bIns="177921" numCol="1" spcCol="1270" anchor="ctr" anchorCtr="0">
          <a:noAutofit/>
        </a:bodyPr>
        <a:lstStyle/>
        <a:p>
          <a:pPr marL="0" lvl="0" indent="0" algn="l" defTabSz="1111250">
            <a:lnSpc>
              <a:spcPct val="90000"/>
            </a:lnSpc>
            <a:spcBef>
              <a:spcPct val="0"/>
            </a:spcBef>
            <a:spcAft>
              <a:spcPct val="35000"/>
            </a:spcAft>
            <a:buNone/>
          </a:pPr>
          <a:r>
            <a:rPr lang="en-US" sz="2500" kern="1200"/>
            <a:t>Redis is single-threaded</a:t>
          </a:r>
        </a:p>
      </dsp:txBody>
      <dsp:txXfrm>
        <a:off x="1941716" y="4203567"/>
        <a:ext cx="2931121" cy="1681139"/>
      </dsp:txXfrm>
    </dsp:sp>
    <dsp:sp modelId="{5D1D1DB7-3AF6-4BD2-8475-F9E3B04B92E3}">
      <dsp:nvSpPr>
        <dsp:cNvPr id="0" name=""/>
        <dsp:cNvSpPr/>
      </dsp:nvSpPr>
      <dsp:spPr>
        <a:xfrm>
          <a:off x="4872838" y="4203567"/>
          <a:ext cx="1640765" cy="16811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921" tIns="177921" rIns="177921" bIns="177921" numCol="1" spcCol="1270" anchor="ctr" anchorCtr="0">
          <a:noAutofit/>
        </a:bodyPr>
        <a:lstStyle/>
        <a:p>
          <a:pPr marL="0" lvl="0" indent="0" algn="l" defTabSz="488950">
            <a:lnSpc>
              <a:spcPct val="90000"/>
            </a:lnSpc>
            <a:spcBef>
              <a:spcPct val="0"/>
            </a:spcBef>
            <a:spcAft>
              <a:spcPct val="35000"/>
            </a:spcAft>
            <a:buNone/>
          </a:pPr>
          <a:r>
            <a:rPr lang="en-US" sz="1100" kern="1200"/>
            <a:t>Uses single core</a:t>
          </a:r>
        </a:p>
        <a:p>
          <a:pPr marL="0" lvl="0" indent="0" algn="l" defTabSz="488950">
            <a:lnSpc>
              <a:spcPct val="90000"/>
            </a:lnSpc>
            <a:spcBef>
              <a:spcPct val="0"/>
            </a:spcBef>
            <a:spcAft>
              <a:spcPct val="35000"/>
            </a:spcAft>
            <a:buNone/>
          </a:pPr>
          <a:r>
            <a:rPr lang="en-US" sz="1100" kern="1200"/>
            <a:t>Exception - </a:t>
          </a:r>
          <a:r>
            <a:rPr lang="en-US" sz="1100" i="1" kern="1200"/>
            <a:t>append-only journal </a:t>
          </a:r>
          <a:r>
            <a:rPr lang="en-US" sz="1100" kern="1200"/>
            <a:t>– written using background thread</a:t>
          </a:r>
        </a:p>
      </dsp:txBody>
      <dsp:txXfrm>
        <a:off x="4872838" y="4203567"/>
        <a:ext cx="1640765" cy="1681139"/>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18/5/layout/IconLeafLabelList">
  <dgm:title val="Icon Leaf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round2DiagRect" r:blip="">
            <dgm:adjLst/>
            <dgm:extLst>
              <a:ext uri="{B698B0E9-8C71-41B9-8309-B3DCBF30829C}">
                <dgm1612:spPr xmlns:dgm1612="http://schemas.microsoft.com/office/drawing/2016/12/diagram">
                  <a:prstGeom prst="round2DiagRect">
                    <a:avLst>
                      <a:gd name="adj1" fmla="val 29727"/>
                      <a:gd name="adj2" fmla="val 0"/>
                    </a:avLst>
                  </a:prstGeom>
                </dgm1612:spPr>
              </a:ext>
            </dgm:ext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7002651-B92E-41A1-B9EA-2B3EFD8E89CF}" type="datetimeFigureOut">
              <a:rPr lang="en-US" smtClean="0"/>
              <a:t>10/16/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BDE52D9-F922-4090-A14A-9207F4CB7FF8}" type="slidenum">
              <a:rPr lang="en-US" smtClean="0"/>
              <a:t>‹#›</a:t>
            </a:fld>
            <a:endParaRPr lang="en-US"/>
          </a:p>
        </p:txBody>
      </p:sp>
    </p:spTree>
    <p:extLst>
      <p:ext uri="{BB962C8B-B14F-4D97-AF65-F5344CB8AC3E}">
        <p14:creationId xmlns:p14="http://schemas.microsoft.com/office/powerpoint/2010/main" val="2303100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8" Type="http://schemas.openxmlformats.org/officeDocument/2006/relationships/hyperlink" Target="https://azure.microsoft.com/en-us/documentation/articles/sql-database-disaster-recovery/" TargetMode="External"/><Relationship Id="rId3" Type="http://schemas.openxmlformats.org/officeDocument/2006/relationships/hyperlink" Target="https://msdn.microsoft.com/library/mt204009.aspx" TargetMode="External"/><Relationship Id="rId7" Type="http://schemas.openxmlformats.org/officeDocument/2006/relationships/hyperlink" Target="https://azure.microsoft.com/en-us/documentation/articles/sql-database-business-continuity-design/" TargetMode="External"/><Relationship Id="rId2" Type="http://schemas.openxmlformats.org/officeDocument/2006/relationships/slide" Target="../slides/slide32.xml"/><Relationship Id="rId1" Type="http://schemas.openxmlformats.org/officeDocument/2006/relationships/notesMaster" Target="../notesMasters/notesMaster1.xml"/><Relationship Id="rId6" Type="http://schemas.openxmlformats.org/officeDocument/2006/relationships/hyperlink" Target="https://azure.microsoft.com/en-us/documentation/articles/sql-database-user-error-recovery/" TargetMode="External"/><Relationship Id="rId5" Type="http://schemas.openxmlformats.org/officeDocument/2006/relationships/hyperlink" Target="https://azure.microsoft.com/en-us/documentation/articles/sql-database-manage-azure-ssms/" TargetMode="External"/><Relationship Id="rId4" Type="http://schemas.openxmlformats.org/officeDocument/2006/relationships/hyperlink" Target="https://msdn.microsoft.com/library/mt238290" TargetMode="External"/><Relationship Id="rId9" Type="http://schemas.openxmlformats.org/officeDocument/2006/relationships/hyperlink" Target="https://azure.microsoft.com/en-us/documentation/articles/sql-database-business-continuity-application-upgrade/" TargetMode="Externa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review.docs.microsoft.com/en-us/azure/sql-database/sql-database-advisor" TargetMode="External"/><Relationship Id="rId2" Type="http://schemas.openxmlformats.org/officeDocument/2006/relationships/slide" Target="../slides/slide36.xml"/><Relationship Id="rId1" Type="http://schemas.openxmlformats.org/officeDocument/2006/relationships/notesMaster" Target="../notesMasters/notesMaster1.xml"/><Relationship Id="rId5" Type="http://schemas.openxmlformats.org/officeDocument/2006/relationships/hyperlink" Target="https://blogs.msdn.microsoft.com/sqlserverstorageengine/2017/04/19/introducing-batch-mode-adaptive-joins/" TargetMode="External"/><Relationship Id="rId4" Type="http://schemas.openxmlformats.org/officeDocument/2006/relationships/hyperlink" Target="https://blogs.msdn.microsoft.com/sqlserverstorageengine/2017/04/19/introducing-interleaved-execution-for-multi-statement-table-valued-functions/" TargetMode="Externa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15310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18</a:t>
            </a:fld>
            <a:endParaRPr lang="en-US"/>
          </a:p>
        </p:txBody>
      </p:sp>
    </p:spTree>
    <p:extLst>
      <p:ext uri="{BB962C8B-B14F-4D97-AF65-F5344CB8AC3E}">
        <p14:creationId xmlns:p14="http://schemas.microsoft.com/office/powerpoint/2010/main" val="18124983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8027" indent="-178027">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0/16/18 10:2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79185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de.js based </a:t>
            </a:r>
            <a:r>
              <a:rPr lang="en-US" dirty="0" err="1"/>
              <a:t>xplat</a:t>
            </a:r>
            <a:r>
              <a:rPr lang="en-US" dirty="0"/>
              <a:t> agent</a:t>
            </a:r>
          </a:p>
          <a:p>
            <a:r>
              <a:rPr lang="en-US" dirty="0"/>
              <a:t>OOB support for common </a:t>
            </a:r>
            <a:r>
              <a:rPr lang="en-US" dirty="0" err="1"/>
              <a:t>xplat</a:t>
            </a:r>
            <a:r>
              <a:rPr lang="en-US" dirty="0"/>
              <a:t> technologies</a:t>
            </a:r>
          </a:p>
          <a:p>
            <a:r>
              <a:rPr lang="en-US" dirty="0"/>
              <a:t>Open Source</a:t>
            </a:r>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1D322E2-881D-4372-AF90-D16EF85FEB29}" type="datetime1">
              <a:rPr lang="en-US" smtClean="0"/>
              <a:t>10/16/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17815922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22</a:t>
            </a:fld>
            <a:endParaRPr lang="en-US"/>
          </a:p>
        </p:txBody>
      </p:sp>
    </p:spTree>
    <p:extLst>
      <p:ext uri="{BB962C8B-B14F-4D97-AF65-F5344CB8AC3E}">
        <p14:creationId xmlns:p14="http://schemas.microsoft.com/office/powerpoint/2010/main" val="18124983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DDFC2B6-5D76-4D7B-9ED3-4AF53D3E833D}" type="slidenum">
              <a:rPr lang="en-US" smtClean="0"/>
              <a:t>24</a:t>
            </a:fld>
            <a:endParaRPr lang="en-US"/>
          </a:p>
        </p:txBody>
      </p:sp>
    </p:spTree>
    <p:extLst>
      <p:ext uri="{BB962C8B-B14F-4D97-AF65-F5344CB8AC3E}">
        <p14:creationId xmlns:p14="http://schemas.microsoft.com/office/powerpoint/2010/main" val="7393311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25</a:t>
            </a:fld>
            <a:endParaRPr lang="en-US"/>
          </a:p>
        </p:txBody>
      </p:sp>
    </p:spTree>
    <p:extLst>
      <p:ext uri="{BB962C8B-B14F-4D97-AF65-F5344CB8AC3E}">
        <p14:creationId xmlns:p14="http://schemas.microsoft.com/office/powerpoint/2010/main" val="18124983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26</a:t>
            </a:fld>
            <a:endParaRPr lang="en-US"/>
          </a:p>
        </p:txBody>
      </p:sp>
    </p:spTree>
    <p:extLst>
      <p:ext uri="{BB962C8B-B14F-4D97-AF65-F5344CB8AC3E}">
        <p14:creationId xmlns:p14="http://schemas.microsoft.com/office/powerpoint/2010/main" val="18124983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SQL Server is our mission critical OLTP database with industry-leading TPC-E performance benchmarks. We’ve been recognized by Gartner as a leader in Operational Database Management four years in a ro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a:solidFill>
                <a:schemeClr val="tx1"/>
              </a:solidFill>
              <a:effectLst/>
              <a:latin typeface="+mn-lt"/>
              <a:ea typeface="+mn-ea"/>
              <a:cs typeface="+mn-cs"/>
            </a:endParaRPr>
          </a:p>
          <a:p>
            <a:pPr lvl="0"/>
            <a:r>
              <a:rPr lang="en-US" sz="1200" b="1" kern="1200">
                <a:solidFill>
                  <a:schemeClr val="tx1"/>
                </a:solidFill>
                <a:effectLst/>
                <a:latin typeface="+mn-lt"/>
                <a:ea typeface="+mn-ea"/>
                <a:cs typeface="+mn-cs"/>
              </a:rPr>
              <a:t>Azure SQL Database </a:t>
            </a:r>
            <a:r>
              <a:rPr lang="en-US" sz="1200" kern="1200">
                <a:solidFill>
                  <a:schemeClr val="tx1"/>
                </a:solidFill>
                <a:effectLst/>
                <a:latin typeface="+mn-lt"/>
                <a:ea typeface="+mn-ea"/>
                <a:cs typeface="+mn-cs"/>
              </a:rPr>
              <a:t>is the cloud answer to managing your operational data - built on SQL Server, so your existing applications and skills transfer.  And as a managed database service, so it can save you time and money in both set-up and administration</a:t>
            </a:r>
            <a:r>
              <a:rPr lang="en-US" sz="1200" b="1" kern="1200">
                <a:solidFill>
                  <a:schemeClr val="tx1"/>
                </a:solidFill>
                <a:effectLst/>
                <a:latin typeface="+mn-lt"/>
                <a:ea typeface="+mn-ea"/>
                <a:cs typeface="+mn-cs"/>
              </a:rPr>
              <a:t>.</a:t>
            </a:r>
          </a:p>
          <a:p>
            <a:pPr lvl="0"/>
            <a:endParaRPr lang="en-US" sz="1200" kern="1200">
              <a:solidFill>
                <a:schemeClr val="tx1"/>
              </a:solidFill>
              <a:effectLst/>
              <a:latin typeface="+mn-lt"/>
              <a:ea typeface="+mn-ea"/>
              <a:cs typeface="+mn-cs"/>
            </a:endParaRPr>
          </a:p>
          <a:p>
            <a:pPr lvl="0"/>
            <a:r>
              <a:rPr lang="en-US" sz="1200" b="0" kern="1200">
                <a:solidFill>
                  <a:schemeClr val="tx1"/>
                </a:solidFill>
                <a:effectLst/>
                <a:latin typeface="+mn-lt"/>
                <a:ea typeface="+mn-ea"/>
                <a:cs typeface="+mn-cs"/>
              </a:rPr>
              <a:t>Cosmos DB is our </a:t>
            </a:r>
            <a:r>
              <a:rPr lang="en-US" sz="1200" kern="1200">
                <a:solidFill>
                  <a:schemeClr val="tx1"/>
                </a:solidFill>
                <a:effectLst/>
                <a:latin typeface="+mn-lt"/>
                <a:ea typeface="+mn-ea"/>
                <a:cs typeface="+mn-cs"/>
              </a:rPr>
              <a:t>database-as-a-service </a:t>
            </a:r>
            <a:r>
              <a:rPr lang="en-US" sz="1200" b="0" kern="1200">
                <a:solidFill>
                  <a:schemeClr val="tx1"/>
                </a:solidFill>
                <a:effectLst/>
                <a:latin typeface="+mn-lt"/>
                <a:ea typeface="+mn-ea"/>
                <a:cs typeface="+mn-cs"/>
              </a:rPr>
              <a:t>NoSQL database service designed for modern mobile and web applications</a:t>
            </a:r>
            <a:r>
              <a:rPr lang="en-US" sz="1200" kern="1200">
                <a:solidFill>
                  <a:schemeClr val="tx1"/>
                </a:solidFill>
                <a:effectLst/>
                <a:latin typeface="+mn-lt"/>
                <a:ea typeface="+mn-ea"/>
                <a:cs typeface="+mn-cs"/>
              </a:rPr>
              <a:t>. </a:t>
            </a:r>
          </a:p>
          <a:p>
            <a:pPr lvl="0"/>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SQL Server continues to be viable for data warehousing. </a:t>
            </a:r>
            <a:r>
              <a:rPr lang="en-US"/>
              <a:t>Today we have companies doing petabyte scale data warehousing in a scale up SMP architecture just with SQL Serv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pPr lvl="0"/>
            <a:r>
              <a:rPr lang="en-US" sz="1200" b="1" kern="1200">
                <a:solidFill>
                  <a:schemeClr val="tx1"/>
                </a:solidFill>
                <a:effectLst/>
                <a:latin typeface="+mn-lt"/>
                <a:ea typeface="+mn-ea"/>
                <a:cs typeface="+mn-cs"/>
              </a:rPr>
              <a:t>Azure SQL Data Warehouse </a:t>
            </a:r>
            <a:r>
              <a:rPr lang="en-US" sz="1200" kern="1200">
                <a:solidFill>
                  <a:schemeClr val="tx1"/>
                </a:solidFill>
                <a:effectLst/>
                <a:latin typeface="+mn-lt"/>
                <a:ea typeface="+mn-ea"/>
                <a:cs typeface="+mn-cs"/>
              </a:rPr>
              <a:t>is the industry’s first enterprise-class cloud data warehouse that can grow, shrink, and pause in seconds.  </a:t>
            </a:r>
          </a:p>
          <a:p>
            <a:pPr lvl="0"/>
            <a:endParaRPr lang="en-US" sz="1200" b="1" kern="1200">
              <a:solidFill>
                <a:schemeClr val="tx1"/>
              </a:solidFill>
              <a:effectLst/>
              <a:latin typeface="+mn-lt"/>
              <a:ea typeface="+mn-ea"/>
              <a:cs typeface="+mn-cs"/>
            </a:endParaRPr>
          </a:p>
          <a:p>
            <a:pPr lvl="0"/>
            <a:r>
              <a:rPr lang="en-US" sz="1200" b="1" kern="1200">
                <a:solidFill>
                  <a:schemeClr val="tx1"/>
                </a:solidFill>
                <a:effectLst/>
                <a:latin typeface="+mn-lt"/>
                <a:ea typeface="+mn-ea"/>
                <a:cs typeface="+mn-cs"/>
              </a:rPr>
              <a:t>Azure Data Lake - </a:t>
            </a:r>
            <a:r>
              <a:rPr lang="en-US" sz="1200" kern="1200">
                <a:solidFill>
                  <a:schemeClr val="tx1"/>
                </a:solidFill>
                <a:effectLst/>
                <a:latin typeface="+mn-lt"/>
                <a:ea typeface="+mn-ea"/>
                <a:cs typeface="+mn-cs"/>
              </a:rPr>
              <a:t>Offers data management and analytics at scale to customers, as Azure Data Lake.  It is composed of three parts: </a:t>
            </a:r>
            <a:r>
              <a:rPr lang="en-US" sz="1200" b="1" kern="1200">
                <a:solidFill>
                  <a:schemeClr val="tx1"/>
                </a:solidFill>
                <a:effectLst/>
                <a:latin typeface="+mn-lt"/>
                <a:ea typeface="+mn-ea"/>
                <a:cs typeface="+mn-cs"/>
              </a:rPr>
              <a:t>Azure Data Lake Store, Azure Data Lake Analytics, and HD Insight.  </a:t>
            </a:r>
            <a:r>
              <a:rPr lang="en-US" sz="1200" kern="1200">
                <a:solidFill>
                  <a:schemeClr val="tx1"/>
                </a:solidFill>
                <a:effectLst/>
                <a:latin typeface="+mn-lt"/>
                <a:ea typeface="+mn-ea"/>
                <a:cs typeface="+mn-cs"/>
              </a:rPr>
              <a:t>Together with these products, you can store big data of any size and type, and analyze it with familiar open-source tools – all while getting a leading, enterprise-class SLA.</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F80E2B-B978-4B3B-B24B-28D259BA0D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37834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3132595-DB9C-4A20-9180-4C8077C4FAA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0503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93265-1090-4937-9024-BA1D2F1104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56522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f you have a Mac… great! You’re already a step ahead.</a:t>
            </a:r>
          </a:p>
          <a:p>
            <a:br>
              <a:rPr lang="en-US"/>
            </a:br>
            <a:r>
              <a:rPr lang="en-US"/>
              <a:t>If not, get your Windows box loaded up with all the tools that work well in the OSS worl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D71AE-08D6-4951-B1CF-CF97299DB5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45350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1863"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mn-lt"/>
              <a:ea typeface="MS PGothic" panose="020B0600070205080204" pitchFamily="34" charset="-128"/>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8566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effectLst/>
                <a:latin typeface="Segoe UI" panose="020B0502040204020203" pitchFamily="34" charset="0"/>
                <a:cs typeface="Segoe UI" panose="020B0502040204020203" pitchFamily="34" charset="0"/>
              </a:rPr>
              <a:t>Objective: </a:t>
            </a:r>
            <a:r>
              <a:rPr lang="en-US" sz="1000" b="0" dirty="0">
                <a:effectLst/>
                <a:latin typeface="Segoe UI" panose="020B0502040204020203" pitchFamily="34" charset="0"/>
                <a:cs typeface="Segoe UI" panose="020B0502040204020203" pitchFamily="34" charset="0"/>
              </a:rPr>
              <a:t>This slide is intended</a:t>
            </a:r>
            <a:r>
              <a:rPr lang="en-US" sz="1000" b="0" baseline="0" dirty="0">
                <a:effectLst/>
                <a:latin typeface="Segoe UI" panose="020B0502040204020203" pitchFamily="34" charset="0"/>
                <a:cs typeface="Segoe UI" panose="020B0502040204020203" pitchFamily="34" charset="0"/>
              </a:rPr>
              <a:t> to break down the features and services of Azure SQL Database</a:t>
            </a:r>
            <a:endParaRPr lang="en-US" sz="1000" b="0" dirty="0">
              <a:effectLst/>
              <a:latin typeface="Segoe UI" panose="020B0502040204020203" pitchFamily="34" charset="0"/>
              <a:cs typeface="Segoe UI" panose="020B0502040204020203" pitchFamily="34" charset="0"/>
            </a:endParaRPr>
          </a:p>
          <a:p>
            <a:endParaRPr lang="en-US" sz="1000" dirty="0">
              <a:effectLst/>
              <a:latin typeface="Segoe UI" panose="020B0502040204020203" pitchFamily="34" charset="0"/>
              <a:cs typeface="Segoe UI" panose="020B0502040204020203" pitchFamily="34" charset="0"/>
            </a:endParaRPr>
          </a:p>
          <a:p>
            <a:r>
              <a:rPr lang="en-US" sz="1000" b="1" dirty="0">
                <a:effectLst/>
                <a:latin typeface="Segoe UI" panose="020B0502040204020203" pitchFamily="34" charset="0"/>
                <a:cs typeface="Segoe UI" panose="020B0502040204020203" pitchFamily="34" charset="0"/>
              </a:rPr>
              <a:t>Talking Points:</a:t>
            </a:r>
          </a:p>
          <a:p>
            <a:pPr marL="171450" indent="-171450">
              <a:buFont typeface="Arial" panose="020B0604020202020204" pitchFamily="34" charset="0"/>
              <a:buChar char="•"/>
            </a:pPr>
            <a:r>
              <a:rPr lang="en-US" sz="1000" b="1" dirty="0">
                <a:effectLst/>
                <a:latin typeface="Segoe UI" panose="020B0502040204020203" pitchFamily="34" charset="0"/>
                <a:cs typeface="Segoe UI" panose="020B0502040204020203" pitchFamily="34" charset="0"/>
              </a:rPr>
              <a:t>Relational</a:t>
            </a:r>
            <a:r>
              <a:rPr lang="en-US" sz="1000" b="1" baseline="0" dirty="0">
                <a:effectLst/>
                <a:latin typeface="Segoe UI" panose="020B0502040204020203" pitchFamily="34" charset="0"/>
                <a:cs typeface="Segoe UI" panose="020B0502040204020203" pitchFamily="34" charset="0"/>
              </a:rPr>
              <a:t> Database Service</a:t>
            </a:r>
          </a:p>
          <a:p>
            <a:pPr marL="628650" lvl="1" indent="-171450">
              <a:buFont typeface="Arial" panose="020B0604020202020204" pitchFamily="34" charset="0"/>
              <a:buChar char="•"/>
            </a:pPr>
            <a:r>
              <a:rPr lang="en-US" sz="1000" b="0" dirty="0">
                <a:effectLst/>
                <a:latin typeface="Segoe UI" panose="020B0502040204020203" pitchFamily="34" charset="0"/>
                <a:cs typeface="Segoe UI" panose="020B0502040204020203" pitchFamily="34" charset="0"/>
              </a:rPr>
              <a:t>Azure SQL Database has been designed as a fully managed database solution that is highly compatible with existing management tools, with the added feature of built-in high availability and predictable performance during scale-out. If you decide to use SQL on VMs, which is the IaaS model, then you have the choice of installing any of the many SQL Server images on Azure VM.</a:t>
            </a:r>
          </a:p>
          <a:p>
            <a:pPr marL="171450" indent="-171450">
              <a:buFont typeface="Arial" panose="020B0604020202020204" pitchFamily="34" charset="0"/>
              <a:buChar char="•"/>
            </a:pPr>
            <a:r>
              <a:rPr lang="en-US" sz="1000" b="1" dirty="0">
                <a:effectLst/>
                <a:latin typeface="Segoe UI" panose="020B0502040204020203" pitchFamily="34" charset="0"/>
                <a:cs typeface="Segoe UI" panose="020B0502040204020203" pitchFamily="34" charset="0"/>
              </a:rPr>
              <a:t>Tools and Features</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Most of the Transact-SQL features that applications depend on are supported in both Microsoft SQL Server and Azure SQL Database. A partial list of supported features for applications follows:</a:t>
            </a:r>
          </a:p>
          <a:p>
            <a:pPr marL="1085850" lvl="2"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Data types</a:t>
            </a:r>
          </a:p>
          <a:p>
            <a:pPr marL="1085850" lvl="2"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Operators</a:t>
            </a:r>
          </a:p>
          <a:p>
            <a:pPr marL="1085850" lvl="2"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String, arithmetic, logical, and cursor functions</a:t>
            </a:r>
          </a:p>
          <a:p>
            <a:pPr marL="628650" lvl="2"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However, Azure SQL Database is designed to isolate features from any dependency on the </a:t>
            </a:r>
            <a:r>
              <a:rPr lang="en-US" sz="1000" b="1" dirty="0">
                <a:latin typeface="Segoe UI" panose="020B0502040204020203" pitchFamily="34" charset="0"/>
                <a:cs typeface="Segoe UI" panose="020B0502040204020203" pitchFamily="34" charset="0"/>
              </a:rPr>
              <a:t>master</a:t>
            </a:r>
            <a:r>
              <a:rPr lang="en-US" sz="1000" dirty="0">
                <a:latin typeface="Segoe UI" panose="020B0502040204020203" pitchFamily="34" charset="0"/>
                <a:cs typeface="Segoe UI" panose="020B0502040204020203" pitchFamily="34" charset="0"/>
              </a:rPr>
              <a:t> database. As a consequence, many server-level activities are inappropriate for SQL Database and are unsupported. This topic details the features that are not fully supported in SQL Database.</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SQL Server Management Studio (SSMS) and SQL Server Data Tools (SSDT) in Visual Studio are client tools that run on your computer and allow you to connect to, manage, and develop your database in the cloud. If you're an application developer familiar with Visual Studio or other integrated development environments (IDEs), </a:t>
            </a:r>
            <a:r>
              <a:rPr lang="en-US" sz="1000" dirty="0">
                <a:latin typeface="Segoe UI" panose="020B0502040204020203" pitchFamily="34" charset="0"/>
                <a:cs typeface="Segoe UI" panose="020B0502040204020203" pitchFamily="34" charset="0"/>
                <a:hlinkClick r:id="rId3"/>
              </a:rPr>
              <a:t>try using SSDT in Visual Studio</a:t>
            </a:r>
            <a:r>
              <a:rPr lang="en-US" sz="1000" dirty="0">
                <a:latin typeface="Segoe UI" panose="020B0502040204020203" pitchFamily="34" charset="0"/>
                <a:cs typeface="Segoe UI" panose="020B0502040204020203" pitchFamily="34" charset="0"/>
              </a:rPr>
              <a:t>. Many database administrators are familiar with SSMS, which can be used with Azure SQL databases. </a:t>
            </a:r>
            <a:r>
              <a:rPr lang="en-US" sz="1000" dirty="0">
                <a:latin typeface="Segoe UI" panose="020B0502040204020203" pitchFamily="34" charset="0"/>
                <a:cs typeface="Segoe UI" panose="020B0502040204020203" pitchFamily="34" charset="0"/>
                <a:hlinkClick r:id="rId4"/>
              </a:rPr>
              <a:t>Download the latest version of SSMS</a:t>
            </a:r>
            <a:r>
              <a:rPr lang="en-US" sz="1000" dirty="0">
                <a:latin typeface="Segoe UI" panose="020B0502040204020203" pitchFamily="34" charset="0"/>
                <a:cs typeface="Segoe UI" panose="020B0502040204020203" pitchFamily="34" charset="0"/>
              </a:rPr>
              <a:t> and always use the latest release when working with Azure SQL Database. For more information on managing your Azure SQL Databases with SSMS, see </a:t>
            </a:r>
            <a:r>
              <a:rPr lang="en-US" sz="1000" dirty="0">
                <a:latin typeface="Segoe UI" panose="020B0502040204020203" pitchFamily="34" charset="0"/>
                <a:cs typeface="Segoe UI" panose="020B0502040204020203" pitchFamily="34" charset="0"/>
                <a:hlinkClick r:id="rId5"/>
              </a:rPr>
              <a:t>Manage SQL Databases using SSMS</a:t>
            </a:r>
            <a:r>
              <a:rPr lang="en-US" sz="1000" dirty="0">
                <a:latin typeface="Segoe UI" panose="020B0502040204020203" pitchFamily="34" charset="0"/>
                <a:cs typeface="Segoe UI" panose="020B0502040204020203" pitchFamily="34" charset="0"/>
              </a:rPr>
              <a:t>.</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To migrate a compatible SQL Server database, Microsoft provides several migration methods for various scenarios. The method you choose depends upon your tolerance for downtime, the size and complexity of your SQL Server database, and your connectivity to the Microsoft Azure cloud. </a:t>
            </a:r>
            <a:endParaRPr lang="en-US" sz="1000" b="0" dirty="0">
              <a:effectLst/>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sz="1000" b="1" dirty="0">
                <a:latin typeface="Segoe UI" panose="020B0502040204020203" pitchFamily="34" charset="0"/>
                <a:cs typeface="Segoe UI" panose="020B0502040204020203" pitchFamily="34" charset="0"/>
              </a:rPr>
              <a:t>Business Continuity</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Point-in-time restore is designed to return your database to an earlier point in time. It uses the database backups, incremental backups, and transaction log backups that the service automatically maintain for every user database. This capability is available for all service tiers. You can go back seven days with Basic, 35 days with Standard, and 35 days with Premium. Refer to </a:t>
            </a:r>
            <a:r>
              <a:rPr lang="en-US" sz="1000" dirty="0">
                <a:latin typeface="Segoe UI" panose="020B0502040204020203" pitchFamily="34" charset="0"/>
                <a:cs typeface="Segoe UI" panose="020B0502040204020203" pitchFamily="34" charset="0"/>
                <a:hlinkClick r:id="rId6"/>
              </a:rPr>
              <a:t>Recover from human error</a:t>
            </a:r>
            <a:r>
              <a:rPr lang="en-US" sz="1000" dirty="0">
                <a:latin typeface="Segoe UI" panose="020B0502040204020203" pitchFamily="34" charset="0"/>
                <a:cs typeface="Segoe UI" panose="020B0502040204020203" pitchFamily="34" charset="0"/>
              </a:rPr>
              <a:t> for details on how to use point-in-time restore.</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Active geo-replication is available for </a:t>
            </a:r>
            <a:r>
              <a:rPr lang="en-US" sz="1000" dirty="0" err="1">
                <a:latin typeface="Segoe UI" panose="020B0502040204020203" pitchFamily="34" charset="0"/>
                <a:cs typeface="Segoe UI" panose="020B0502040204020203" pitchFamily="34" charset="0"/>
              </a:rPr>
              <a:t>for</a:t>
            </a:r>
            <a:r>
              <a:rPr lang="en-US" sz="1000" dirty="0">
                <a:latin typeface="Segoe UI" panose="020B0502040204020203" pitchFamily="34" charset="0"/>
                <a:cs typeface="Segoe UI" panose="020B0502040204020203" pitchFamily="34" charset="0"/>
              </a:rPr>
              <a:t> databases</a:t>
            </a:r>
            <a:r>
              <a:rPr lang="en-US" sz="1000" baseline="0" dirty="0">
                <a:latin typeface="Segoe UI" panose="020B0502040204020203" pitchFamily="34" charset="0"/>
                <a:cs typeface="Segoe UI" panose="020B0502040204020203" pitchFamily="34" charset="0"/>
              </a:rPr>
              <a:t> in all service tiers</a:t>
            </a:r>
            <a:r>
              <a:rPr lang="en-US" sz="1000" dirty="0">
                <a:latin typeface="Segoe UI" panose="020B0502040204020203" pitchFamily="34" charset="0"/>
                <a:cs typeface="Segoe UI" panose="020B0502040204020203" pitchFamily="34" charset="0"/>
              </a:rPr>
              <a:t>. It’s designed for write-intensive applications with the most aggressive recovery requirements. Using active geo-replication, you can create up to four readable secondaries on servers in different regions. You can initiate failover to any of the secondaries in the same way as standard geo-replication. In addition, active geo-replication can be used to support the application upgrade or relocation scenarios, as well as load balancing for read-only workloads.</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Refer to </a:t>
            </a:r>
            <a:r>
              <a:rPr lang="en-US" sz="1000" dirty="0">
                <a:latin typeface="Segoe UI" panose="020B0502040204020203" pitchFamily="34" charset="0"/>
                <a:cs typeface="Segoe UI" panose="020B0502040204020203" pitchFamily="34" charset="0"/>
                <a:hlinkClick r:id="rId7"/>
              </a:rPr>
              <a:t>Design for business continuity</a:t>
            </a:r>
            <a:r>
              <a:rPr lang="en-US" sz="1000" dirty="0">
                <a:latin typeface="Segoe UI" panose="020B0502040204020203" pitchFamily="34" charset="0"/>
                <a:cs typeface="Segoe UI" panose="020B0502040204020203" pitchFamily="34" charset="0"/>
              </a:rPr>
              <a:t> for details on how to configure geo-replication and to </a:t>
            </a:r>
            <a:r>
              <a:rPr lang="en-US" sz="1000" dirty="0">
                <a:latin typeface="Segoe UI" panose="020B0502040204020203" pitchFamily="34" charset="0"/>
                <a:cs typeface="Segoe UI" panose="020B0502040204020203" pitchFamily="34" charset="0"/>
                <a:hlinkClick r:id="rId8"/>
              </a:rPr>
              <a:t>Recover from an outage</a:t>
            </a:r>
            <a:r>
              <a:rPr lang="en-US" sz="1000" dirty="0">
                <a:latin typeface="Segoe UI" panose="020B0502040204020203" pitchFamily="34" charset="0"/>
                <a:cs typeface="Segoe UI" panose="020B0502040204020203" pitchFamily="34" charset="0"/>
              </a:rPr>
              <a:t> for details of how to failover to the secondary database. Refer to </a:t>
            </a:r>
            <a:r>
              <a:rPr lang="en-US" sz="1000" dirty="0">
                <a:latin typeface="Segoe UI" panose="020B0502040204020203" pitchFamily="34" charset="0"/>
                <a:cs typeface="Segoe UI" panose="020B0502040204020203" pitchFamily="34" charset="0"/>
                <a:hlinkClick r:id="rId9"/>
              </a:rPr>
              <a:t>Application upgrade without downtime</a:t>
            </a:r>
            <a:r>
              <a:rPr lang="en-US" sz="1000" dirty="0">
                <a:latin typeface="Segoe UI" panose="020B0502040204020203" pitchFamily="34" charset="0"/>
                <a:cs typeface="Segoe UI" panose="020B0502040204020203" pitchFamily="34" charset="0"/>
              </a:rPr>
              <a:t> for details on how to implement the application upgrade without downtime.</a:t>
            </a:r>
          </a:p>
          <a:p>
            <a:pPr marL="171450" indent="-171450">
              <a:buFont typeface="Arial" panose="020B0604020202020204" pitchFamily="34" charset="0"/>
              <a:buChar char="•"/>
            </a:pPr>
            <a:r>
              <a:rPr lang="en-US" sz="1000" b="1" dirty="0">
                <a:latin typeface="Segoe UI" panose="020B0502040204020203" pitchFamily="34" charset="0"/>
                <a:cs typeface="Segoe UI" panose="020B0502040204020203" pitchFamily="34" charset="0"/>
              </a:rPr>
              <a:t>Scale</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The service is a database as a utility with pay-as-you-grow scaling. This means that you can have more data storage and capacity as your service grows. This in turn means that you can have multitenant solutions and can manage multiple servers that are covered by a service-level agreement.</a:t>
            </a:r>
          </a:p>
          <a:p>
            <a:pPr marL="628650" lvl="1"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Pools in Azure SQL Database enable software-as-a-service (SaaS) developers to optimize the price performance for a group of databases within a prescribed budget while delivering performance elasticity for each database. Pools enable the ISV to purchase elastic Database Transaction Units (eDTUs) for a pool shared by multiple databases to accommodate unpredictable periods of usage by individual databases. </a:t>
            </a:r>
            <a:endParaRPr lang="en-US" sz="1000" b="1" dirty="0">
              <a:latin typeface="Segoe UI" panose="020B0502040204020203" pitchFamily="34" charset="0"/>
              <a:cs typeface="Segoe UI" panose="020B0502040204020203" pitchFamily="34" charset="0"/>
            </a:endParaRPr>
          </a:p>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23165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effectLst/>
                <a:latin typeface="Segoe UI" panose="020B0502040204020203" pitchFamily="34" charset="0"/>
                <a:cs typeface="Segoe UI" panose="020B0502040204020203" pitchFamily="34" charset="0"/>
              </a:rPr>
              <a:t>Objective: </a:t>
            </a:r>
            <a:r>
              <a:rPr lang="en-US" sz="1000" b="0" dirty="0">
                <a:effectLst/>
                <a:latin typeface="Segoe UI" panose="020B0502040204020203" pitchFamily="34" charset="0"/>
                <a:cs typeface="Segoe UI" panose="020B0502040204020203" pitchFamily="34" charset="0"/>
              </a:rPr>
              <a:t>This slide is intended</a:t>
            </a:r>
            <a:r>
              <a:rPr lang="en-US" sz="1000" b="0" baseline="0" dirty="0">
                <a:effectLst/>
                <a:latin typeface="Segoe UI" panose="020B0502040204020203" pitchFamily="34" charset="0"/>
                <a:cs typeface="Segoe UI" panose="020B0502040204020203" pitchFamily="34" charset="0"/>
              </a:rPr>
              <a:t> to break down the features and services of Azure SQL Database.</a:t>
            </a:r>
            <a:endParaRPr lang="en-US" sz="1000" b="0" dirty="0">
              <a:effectLst/>
              <a:latin typeface="Segoe UI" panose="020B0502040204020203" pitchFamily="34" charset="0"/>
              <a:cs typeface="Segoe UI" panose="020B0502040204020203" pitchFamily="34" charset="0"/>
            </a:endParaRPr>
          </a:p>
          <a:p>
            <a:endParaRPr lang="en-US" sz="1000" dirty="0">
              <a:effectLst/>
              <a:latin typeface="Segoe UI" panose="020B0502040204020203" pitchFamily="34" charset="0"/>
              <a:cs typeface="Segoe UI" panose="020B0502040204020203" pitchFamily="34" charset="0"/>
            </a:endParaRPr>
          </a:p>
          <a:p>
            <a:r>
              <a:rPr lang="en-US" sz="1000" b="1" dirty="0">
                <a:effectLst/>
                <a:latin typeface="Segoe UI" panose="020B0502040204020203" pitchFamily="34" charset="0"/>
                <a:cs typeface="Segoe UI" panose="020B0502040204020203" pitchFamily="34" charset="0"/>
              </a:rPr>
              <a:t>Talking Poi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1"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itchFamily="34" charset="0"/>
                <a:cs typeface="Segoe UI" panose="020B0502040204020203" pitchFamily="34" charset="0"/>
              </a:rPr>
              <a:t>Scales on the fly </a:t>
            </a:r>
            <a:r>
              <a:rPr kumimoji="0" lang="en-US" sz="1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itchFamily="34" charset="0"/>
                <a:cs typeface="Segoe UI" panose="020B0502040204020203" pitchFamily="34" charset="0"/>
              </a:rPr>
              <a:t>- </a:t>
            </a:r>
            <a:r>
              <a:rPr lang="en-US" sz="1000" b="1" i="0" kern="1200" dirty="0">
                <a:solidFill>
                  <a:schemeClr val="tx1"/>
                </a:solidFill>
                <a:effectLst/>
                <a:latin typeface="Segoe UI" panose="020B0502040204020203" pitchFamily="34" charset="0"/>
                <a:cs typeface="Segoe UI" panose="020B0502040204020203" pitchFamily="34" charset="0"/>
              </a:rPr>
              <a:t>Scale performance anytime, anywhere, without app downtime</a:t>
            </a:r>
          </a:p>
          <a:p>
            <a:pPr marL="628650" lvl="1" indent="-171450">
              <a:buFont typeface="Arial" panose="020B0604020202020204" pitchFamily="34" charset="0"/>
              <a:buChar char="•"/>
            </a:pPr>
            <a:r>
              <a:rPr lang="en-US" sz="1000" b="0" i="0" kern="1200" dirty="0">
                <a:solidFill>
                  <a:schemeClr val="tx1"/>
                </a:solidFill>
                <a:effectLst/>
                <a:latin typeface="Segoe UI" panose="020B0502040204020203" pitchFamily="34" charset="0"/>
                <a:cs typeface="Segoe UI" panose="020B0502040204020203" pitchFamily="34" charset="0"/>
              </a:rPr>
              <a:t>When demand for your app grows from a handful of devices and customers to millions, SQL Database is the database service that can scale along with you—on the fly and with no app downtim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1"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itchFamily="34" charset="0"/>
                <a:cs typeface="Segoe UI" panose="020B0502040204020203" pitchFamily="34" charset="0"/>
              </a:rPr>
              <a:t>Redefines multitenancy </a:t>
            </a:r>
            <a:r>
              <a:rPr kumimoji="0" lang="en-US" sz="1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itchFamily="34" charset="0"/>
                <a:cs typeface="Segoe UI" panose="020B0502040204020203" pitchFamily="34" charset="0"/>
              </a:rPr>
              <a:t>- </a:t>
            </a:r>
            <a:r>
              <a:rPr lang="en-US" sz="1000" b="1" i="0" kern="1200" dirty="0">
                <a:solidFill>
                  <a:schemeClr val="tx1"/>
                </a:solidFill>
                <a:effectLst/>
                <a:latin typeface="Segoe UI" panose="020B0502040204020203" pitchFamily="34" charset="0"/>
                <a:cs typeface="Segoe UI" panose="020B0502040204020203" pitchFamily="34" charset="0"/>
              </a:rPr>
              <a:t>Build multitenant apps with customer isolation and efficiency</a:t>
            </a:r>
          </a:p>
          <a:p>
            <a:pPr marL="628650" lvl="1" indent="-171450">
              <a:buFont typeface="Arial" panose="020B0604020202020204" pitchFamily="34" charset="0"/>
              <a:buChar char="•"/>
            </a:pPr>
            <a:r>
              <a:rPr lang="en-US" sz="1000" b="0" i="0" kern="1200" dirty="0">
                <a:solidFill>
                  <a:schemeClr val="tx1"/>
                </a:solidFill>
                <a:effectLst/>
                <a:latin typeface="Segoe UI" panose="020B0502040204020203" pitchFamily="34" charset="0"/>
                <a:cs typeface="Segoe UI" panose="020B0502040204020203" pitchFamily="34" charset="0"/>
              </a:rPr>
              <a:t>If you’re a SaaS app developer writing a multitenant app that services many customers, you often make tradeoffs in customer performance, management, and security. With SQL Database elastic database pools, you no longer have to make that compromise. </a:t>
            </a:r>
            <a:r>
              <a:rPr lang="en-US" sz="1000" b="0" i="0" u="none" strike="noStrike" kern="1200" dirty="0">
                <a:solidFill>
                  <a:schemeClr val="tx1"/>
                </a:solidFill>
                <a:effectLst/>
                <a:latin typeface="Segoe UI" panose="020B0502040204020203" pitchFamily="34" charset="0"/>
                <a:cs typeface="Segoe UI" panose="020B0502040204020203" pitchFamily="34" charset="0"/>
              </a:rPr>
              <a:t>Creating elastic database pools</a:t>
            </a:r>
            <a:r>
              <a:rPr lang="en-US" sz="1000" b="0" i="0" kern="1200" dirty="0">
                <a:solidFill>
                  <a:schemeClr val="tx1"/>
                </a:solidFill>
                <a:effectLst/>
                <a:latin typeface="Segoe UI" panose="020B0502040204020203" pitchFamily="34" charset="0"/>
                <a:cs typeface="Segoe UI" panose="020B0502040204020203" pitchFamily="34" charset="0"/>
              </a:rPr>
              <a:t> help you manage and monitor multitenant apps and gain isolation benefits of one customer per database.</a:t>
            </a:r>
          </a:p>
          <a:p>
            <a:pPr marL="171450" indent="-171450">
              <a:buFont typeface="Arial" panose="020B0604020202020204" pitchFamily="34" charset="0"/>
              <a:buChar char="•"/>
            </a:pPr>
            <a:r>
              <a:rPr lang="en-US" sz="1000" b="1" i="1" kern="1200" dirty="0">
                <a:solidFill>
                  <a:schemeClr val="tx1"/>
                </a:solidFill>
                <a:effectLst/>
                <a:latin typeface="Segoe UI" panose="020B0502040204020203" pitchFamily="34" charset="0"/>
                <a:cs typeface="Segoe UI" panose="020B0502040204020203" pitchFamily="34" charset="0"/>
              </a:rPr>
              <a:t>Learns and adapts </a:t>
            </a:r>
            <a:r>
              <a:rPr lang="en-US" sz="1000" b="1" dirty="0">
                <a:latin typeface="Segoe UI" panose="020B0502040204020203" pitchFamily="34" charset="0"/>
                <a:cs typeface="Segoe UI" panose="020B0502040204020203" pitchFamily="34" charset="0"/>
              </a:rPr>
              <a:t>–</a:t>
            </a:r>
            <a:r>
              <a:rPr lang="en-US" sz="1000" b="1" i="0" kern="1200" dirty="0">
                <a:solidFill>
                  <a:schemeClr val="tx1"/>
                </a:solidFill>
                <a:effectLst/>
                <a:latin typeface="Segoe UI" panose="020B0502040204020203" pitchFamily="34" charset="0"/>
                <a:cs typeface="Segoe UI" panose="020B0502040204020203" pitchFamily="34" charset="0"/>
              </a:rPr>
              <a:t> Learn and adapt dynamically with your app</a:t>
            </a:r>
          </a:p>
          <a:p>
            <a:pPr marL="628650" lvl="1" indent="-171450">
              <a:buFont typeface="Arial" panose="020B0604020202020204" pitchFamily="34" charset="0"/>
              <a:buChar char="•"/>
            </a:pPr>
            <a:r>
              <a:rPr lang="en-US" sz="1000" b="0" i="0" kern="1200" dirty="0">
                <a:solidFill>
                  <a:schemeClr val="tx1"/>
                </a:solidFill>
                <a:effectLst/>
                <a:latin typeface="Segoe UI" panose="020B0502040204020203" pitchFamily="34" charset="0"/>
                <a:cs typeface="Segoe UI" panose="020B0502040204020203" pitchFamily="34" charset="0"/>
              </a:rPr>
              <a:t>As your app runs, Azure SQL Database continuously </a:t>
            </a:r>
            <a:r>
              <a:rPr lang="en-US" sz="1000" b="0" i="0" u="none" strike="noStrike" kern="1200" dirty="0">
                <a:solidFill>
                  <a:schemeClr val="tx1"/>
                </a:solidFill>
                <a:effectLst/>
                <a:latin typeface="Segoe UI" panose="020B0502040204020203" pitchFamily="34" charset="0"/>
                <a:cs typeface="Segoe UI" panose="020B0502040204020203" pitchFamily="34" charset="0"/>
              </a:rPr>
              <a:t>learns your unique app patterns</a:t>
            </a:r>
            <a:r>
              <a:rPr lang="en-US" sz="1000" b="0" i="0" kern="1200" dirty="0">
                <a:solidFill>
                  <a:schemeClr val="tx1"/>
                </a:solidFill>
                <a:effectLst/>
                <a:latin typeface="Segoe UI" panose="020B0502040204020203" pitchFamily="34" charset="0"/>
                <a:cs typeface="Segoe UI" panose="020B0502040204020203" pitchFamily="34" charset="0"/>
              </a:rPr>
              <a:t>, adaptively tunes your performance, and automatically improves reliability and data protection—freeing you to focus on your app.</a:t>
            </a:r>
          </a:p>
          <a:p>
            <a:pPr marL="171450" indent="-171450">
              <a:buFont typeface="Arial" panose="020B0604020202020204" pitchFamily="34" charset="0"/>
              <a:buChar char="•"/>
            </a:pPr>
            <a:r>
              <a:rPr kumimoji="0" lang="en-US" sz="1000" b="1" i="1"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itchFamily="34" charset="0"/>
                <a:cs typeface="Segoe UI" panose="020B0502040204020203" pitchFamily="34" charset="0"/>
              </a:rPr>
              <a:t>Works with your environment </a:t>
            </a:r>
            <a:r>
              <a:rPr kumimoji="0" lang="en-US" sz="1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itchFamily="34" charset="0"/>
                <a:cs typeface="Segoe UI" panose="020B0502040204020203" pitchFamily="34" charset="0"/>
              </a:rPr>
              <a:t>- </a:t>
            </a:r>
            <a:r>
              <a:rPr lang="en-US" sz="1000" b="1" i="0" kern="1200" dirty="0">
                <a:solidFill>
                  <a:schemeClr val="tx1"/>
                </a:solidFill>
                <a:effectLst/>
                <a:latin typeface="Segoe UI" panose="020B0502040204020203" pitchFamily="34" charset="0"/>
                <a:cs typeface="Segoe UI" panose="020B0502040204020203" pitchFamily="34" charset="0"/>
              </a:rPr>
              <a:t>Work within your preferred development environments</a:t>
            </a:r>
          </a:p>
          <a:p>
            <a:pPr marL="628650" lvl="1" indent="-171450">
              <a:buFont typeface="Arial" panose="020B0604020202020204" pitchFamily="34" charset="0"/>
              <a:buChar char="•"/>
            </a:pPr>
            <a:r>
              <a:rPr lang="en-US" sz="1000" b="0" i="0" kern="1200" dirty="0">
                <a:solidFill>
                  <a:schemeClr val="tx1"/>
                </a:solidFill>
                <a:effectLst/>
                <a:latin typeface="Segoe UI" panose="020B0502040204020203" pitchFamily="34" charset="0"/>
                <a:cs typeface="Segoe UI" panose="020B0502040204020203" pitchFamily="34" charset="0"/>
              </a:rPr>
              <a:t>Develop your app with the tools and platforms you prefer. Microsoft Azure SQL Database make it easy to </a:t>
            </a:r>
            <a:r>
              <a:rPr lang="en-US" sz="1000" b="0" i="0" u="none" strike="noStrike" kern="1200" dirty="0">
                <a:solidFill>
                  <a:schemeClr val="tx1"/>
                </a:solidFill>
                <a:effectLst/>
                <a:latin typeface="Segoe UI" panose="020B0502040204020203" pitchFamily="34" charset="0"/>
                <a:cs typeface="Segoe UI" panose="020B0502040204020203" pitchFamily="34" charset="0"/>
              </a:rPr>
              <a:t>connect to SQL Database with a variety of technologies</a:t>
            </a:r>
            <a:r>
              <a:rPr lang="en-US" sz="1000" b="0" i="0" kern="1200" dirty="0">
                <a:solidFill>
                  <a:schemeClr val="tx1"/>
                </a:solidFill>
                <a:effectLst/>
                <a:latin typeface="Segoe UI" panose="020B0502040204020203" pitchFamily="34" charset="0"/>
                <a:cs typeface="Segoe UI" panose="020B0502040204020203" pitchFamily="34" charset="0"/>
              </a:rPr>
              <a:t> enabling you to focus on developing</a:t>
            </a:r>
            <a:r>
              <a:rPr lang="en-US" sz="1000" b="0" i="0" kern="1200" baseline="0" dirty="0">
                <a:solidFill>
                  <a:schemeClr val="tx1"/>
                </a:solidFill>
                <a:effectLst/>
                <a:latin typeface="Segoe UI" panose="020B0502040204020203" pitchFamily="34" charset="0"/>
                <a:cs typeface="Segoe UI" panose="020B0502040204020203" pitchFamily="34" charset="0"/>
              </a:rPr>
              <a:t> business logic and apps using tools you are familiar with</a:t>
            </a:r>
            <a:r>
              <a:rPr lang="en-US" sz="1000" b="0" i="0" kern="1200" dirty="0">
                <a:solidFill>
                  <a:schemeClr val="tx1"/>
                </a:solidFill>
                <a:effectLst/>
                <a:latin typeface="Segoe UI" panose="020B0502040204020203" pitchFamily="34" charset="0"/>
                <a:cs typeface="Segoe UI" panose="020B0502040204020203" pitchFamily="34" charset="0"/>
              </a:rPr>
              <a:t>.</a:t>
            </a:r>
          </a:p>
          <a:p>
            <a:pPr marL="171450" indent="-171450">
              <a:buFont typeface="Arial" panose="020B0604020202020204" pitchFamily="34" charset="0"/>
              <a:buChar char="•"/>
            </a:pPr>
            <a:r>
              <a:rPr lang="en-US" sz="1000" b="1" i="1" kern="1200" dirty="0">
                <a:solidFill>
                  <a:schemeClr val="tx1"/>
                </a:solidFill>
                <a:effectLst/>
                <a:latin typeface="Segoe UI" panose="020B0502040204020203" pitchFamily="34" charset="0"/>
                <a:cs typeface="Segoe UI" panose="020B0502040204020203" pitchFamily="34" charset="0"/>
              </a:rPr>
              <a:t>Protects and secures </a:t>
            </a:r>
            <a:r>
              <a:rPr lang="en-US" sz="1000" b="1" dirty="0">
                <a:latin typeface="Segoe UI" panose="020B0502040204020203" pitchFamily="34" charset="0"/>
                <a:cs typeface="Segoe UI" panose="020B0502040204020203" pitchFamily="34" charset="0"/>
              </a:rPr>
              <a:t>–</a:t>
            </a:r>
            <a:r>
              <a:rPr lang="en-US" sz="1000" b="1" i="1" kern="1200" dirty="0">
                <a:solidFill>
                  <a:schemeClr val="tx1"/>
                </a:solidFill>
                <a:effectLst/>
                <a:latin typeface="Segoe UI" panose="020B0502040204020203" pitchFamily="34" charset="0"/>
                <a:cs typeface="Segoe UI" panose="020B0502040204020203" pitchFamily="34" charset="0"/>
              </a:rPr>
              <a:t> </a:t>
            </a:r>
            <a:r>
              <a:rPr lang="en-US" sz="1000" b="1" i="0" kern="1200" dirty="0">
                <a:solidFill>
                  <a:schemeClr val="tx1"/>
                </a:solidFill>
                <a:effectLst/>
                <a:latin typeface="Segoe UI" panose="020B0502040204020203" pitchFamily="34" charset="0"/>
                <a:cs typeface="Segoe UI" panose="020B0502040204020203" pitchFamily="34" charset="0"/>
              </a:rPr>
              <a:t>Help protect and secure your app data</a:t>
            </a:r>
          </a:p>
          <a:p>
            <a:pPr marL="628650" lvl="1" indent="-171450">
              <a:buFont typeface="Arial" panose="020B0604020202020204" pitchFamily="34" charset="0"/>
              <a:buChar char="•"/>
            </a:pPr>
            <a:r>
              <a:rPr lang="en-US" sz="1000" b="0" i="0" kern="1200" dirty="0">
                <a:solidFill>
                  <a:schemeClr val="tx1"/>
                </a:solidFill>
                <a:effectLst/>
                <a:latin typeface="Segoe UI" panose="020B0502040204020203" pitchFamily="34" charset="0"/>
                <a:cs typeface="Segoe UI" panose="020B0502040204020203" pitchFamily="34" charset="0"/>
              </a:rPr>
              <a:t>Build security-enhanced apps in the cloud with built-in data protection, high availability, and security features—without implementing custom code. With physical and operational security built in to Azure, SQL Database can help you meet the most stringent regulatory compliances.</a:t>
            </a:r>
          </a:p>
          <a:p>
            <a:endParaRPr lang="en-US" sz="1000" b="0" i="0" kern="1200" dirty="0">
              <a:solidFill>
                <a:schemeClr val="tx1"/>
              </a:solidFill>
              <a:effectLst/>
              <a:latin typeface="Segoe UI" panose="020B0502040204020203" pitchFamily="34" charset="0"/>
              <a:cs typeface="Segoe UI" panose="020B0502040204020203" pitchFamily="34" charset="0"/>
            </a:endParaRPr>
          </a:p>
          <a:p>
            <a:endParaRPr lang="en-US" sz="1000" b="0" i="0" kern="1200" dirty="0">
              <a:solidFill>
                <a:schemeClr val="tx1"/>
              </a:solidFill>
              <a:effectLst/>
              <a:latin typeface="Segoe UI" panose="020B0502040204020203" pitchFamily="34" charset="0"/>
              <a:cs typeface="Segoe UI" panose="020B0502040204020203" pitchFamily="34" charset="0"/>
            </a:endParaRPr>
          </a:p>
          <a:p>
            <a:endParaRPr lang="en-US" sz="1000" b="1" dirty="0">
              <a:effectLst/>
              <a:latin typeface="Segoe UI" panose="020B0502040204020203" pitchFamily="34" charset="0"/>
              <a:cs typeface="Segoe UI" panose="020B0502040204020203" pitchFamily="34" charset="0"/>
            </a:endParaRPr>
          </a:p>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95937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8687" lvl="0">
              <a:lnSpc>
                <a:spcPct val="105000"/>
              </a:lnSpc>
              <a:spcAft>
                <a:spcPts val="815"/>
              </a:spcAft>
              <a:tabLst>
                <a:tab pos="698830" algn="l"/>
              </a:tabLst>
            </a:pPr>
            <a:r>
              <a:rPr lang="en-US" dirty="0"/>
              <a:t>SQL Database delivers predictable performance at multiple service levels that provides dynamic scalability with no downtime, built-in intelligent optimization, global scalability and availability, and advanced security options — </a:t>
            </a:r>
            <a:r>
              <a:rPr lang="en-US" b="1" dirty="0"/>
              <a:t>all with near-zero administration</a:t>
            </a:r>
            <a:r>
              <a:rPr lang="en-US" dirty="0"/>
              <a:t>. These capabilities allow you to focus on rapid app development and accelerating your time to market, rather than allocating precious time and resources to managing virtual machines and infrastructure. </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8852">
              <a:lnSpc>
                <a:spcPct val="105000"/>
              </a:lnSpc>
              <a:tabLst>
                <a:tab pos="712108" algn="l"/>
              </a:tabLst>
            </a:pPr>
            <a:endParaRPr lang="en-US" sz="1100" dirty="0">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2440D9-4A20-4B59-8775-EB984F15109E}"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80372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65887" lvl="1">
              <a:lnSpc>
                <a:spcPct val="105000"/>
              </a:lnSpc>
              <a:spcAft>
                <a:spcPts val="815"/>
              </a:spcAft>
              <a:tabLst>
                <a:tab pos="698830" algn="l"/>
              </a:tabLst>
            </a:pPr>
            <a:r>
              <a:rPr lang="en-US" b="1" dirty="0">
                <a:latin typeface="Segoe UI" panose="020B0502040204020203" pitchFamily="34" charset="0"/>
                <a:ea typeface="Calibri" panose="020F0502020204030204" pitchFamily="34" charset="0"/>
                <a:cs typeface="Times New Roman" panose="02020603050405020304" pitchFamily="18" charset="0"/>
              </a:rPr>
              <a:t>Intelligent Threat Detection - </a:t>
            </a:r>
            <a:r>
              <a:rPr lang="en-US" sz="1100" b="1" dirty="0"/>
              <a:t>SQL Threat Detection </a:t>
            </a:r>
            <a:r>
              <a:rPr lang="en-US" sz="1100" dirty="0"/>
              <a:t>provides a new layer of security, which enables customers to detect and respond to potential threats as they occur by providing security alerts on anomalous activities. Users will receive an alert upon suspicious database activities, potential vulnerabilities, and SQL injection attacks, as well as anomalous database access patterns. SQL Threat Detection alerts provide details of suspicious activity and recommend action on how to investigate and mitigate the threat. Threat Detection makes it simple to address potential threats to the database without the need to be a security expert or manage advanced security monitoring systems.</a:t>
            </a:r>
          </a:p>
          <a:p>
            <a:pPr marL="465887" lvl="1">
              <a:lnSpc>
                <a:spcPct val="105000"/>
              </a:lnSpc>
              <a:spcAft>
                <a:spcPts val="815"/>
              </a:spcAft>
              <a:tabLst>
                <a:tab pos="698830" algn="l"/>
              </a:tabLst>
            </a:pPr>
            <a:endParaRPr lang="en-US" sz="1100" dirty="0"/>
          </a:p>
          <a:p>
            <a:pPr marL="465887" lvl="1">
              <a:lnSpc>
                <a:spcPct val="105000"/>
              </a:lnSpc>
              <a:spcAft>
                <a:spcPts val="815"/>
              </a:spcAft>
              <a:tabLst>
                <a:tab pos="698830" algn="l"/>
              </a:tabLst>
            </a:pPr>
            <a:r>
              <a:rPr lang="en-US" sz="1200" b="0" i="0" u="none" strike="noStrike" kern="1200" dirty="0">
                <a:solidFill>
                  <a:schemeClr val="tx1"/>
                </a:solidFill>
                <a:effectLst/>
                <a:latin typeface="+mn-lt"/>
                <a:ea typeface="+mn-ea"/>
                <a:cs typeface="+mn-cs"/>
              </a:rPr>
              <a:t>SQL </a:t>
            </a:r>
            <a:r>
              <a:rPr lang="en-US" sz="1200" b="1" i="0" u="none" strike="noStrike" kern="1200" dirty="0">
                <a:solidFill>
                  <a:schemeClr val="tx1"/>
                </a:solidFill>
                <a:effectLst/>
                <a:latin typeface="+mn-lt"/>
                <a:ea typeface="+mn-ea"/>
                <a:cs typeface="+mn-cs"/>
              </a:rPr>
              <a:t>Vulnerability Assessment </a:t>
            </a:r>
            <a:r>
              <a:rPr lang="en-US" sz="1200" b="0" i="0" u="none" strike="noStrike" kern="1200" dirty="0">
                <a:solidFill>
                  <a:schemeClr val="tx1"/>
                </a:solidFill>
                <a:effectLst/>
                <a:latin typeface="+mn-lt"/>
                <a:ea typeface="+mn-ea"/>
                <a:cs typeface="+mn-cs"/>
              </a:rPr>
              <a:t>(currently in preview) is an easy to configure tool that can discover, track, and remediate potential database vulnerabilities. Use it to proactively improve your database security. </a:t>
            </a:r>
            <a:endParaRPr lang="en-US" sz="1100" dirty="0"/>
          </a:p>
          <a:p>
            <a:pPr marL="465887" lvl="1">
              <a:lnSpc>
                <a:spcPct val="105000"/>
              </a:lnSpc>
              <a:spcAft>
                <a:spcPts val="815"/>
              </a:spcAft>
              <a:tabLst>
                <a:tab pos="698830" algn="l"/>
              </a:tabLst>
            </a:pP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232943" indent="-232943">
              <a:spcBef>
                <a:spcPts val="1834"/>
              </a:spcBef>
              <a:buClr>
                <a:srgbClr val="0078D7"/>
              </a:buClr>
            </a:pPr>
            <a:endParaRPr lang="en-US" sz="2400" dirty="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EBEA68-9965-426E-9DF9-270648E9231C}"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21325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65887" lvl="1">
              <a:lnSpc>
                <a:spcPct val="105000"/>
              </a:lnSpc>
              <a:spcAft>
                <a:spcPts val="815"/>
              </a:spcAft>
              <a:tabLst>
                <a:tab pos="698830" algn="l"/>
              </a:tabLst>
            </a:pPr>
            <a:r>
              <a:rPr lang="en-US" b="1" dirty="0">
                <a:latin typeface="Segoe UI" panose="020B0502040204020203" pitchFamily="34" charset="0"/>
                <a:ea typeface="Calibri" panose="020F0502020204030204" pitchFamily="34" charset="0"/>
                <a:cs typeface="Times New Roman" panose="02020603050405020304" pitchFamily="18" charset="0"/>
              </a:rPr>
              <a:t>Self-tuning performance. </a:t>
            </a:r>
            <a:r>
              <a:rPr lang="en-US" dirty="0"/>
              <a:t>SQL Database provides performance tuning recommendations using </a:t>
            </a:r>
            <a:r>
              <a:rPr lang="en-US" dirty="0">
                <a:hlinkClick r:id="rId3"/>
              </a:rPr>
              <a:t>SQL Database Advisor</a:t>
            </a:r>
            <a:r>
              <a:rPr lang="en-US" dirty="0"/>
              <a:t>, where you can review tuning actions and apply them. Database Advisor helps you to improve the performance of your databases by providing intelligent tuning recommendations that are based on historical usage.  Monitoring and tuning actions can also be delegated to SQL Database using an automatic tuning feature.  Through automatic index management, SQL Database also identifies indexes that should be added to your database and those that should be removed.</a:t>
            </a:r>
          </a:p>
          <a:p>
            <a:pPr marL="465887" lvl="1">
              <a:lnSpc>
                <a:spcPct val="105000"/>
              </a:lnSpc>
              <a:spcAft>
                <a:spcPts val="815"/>
              </a:spcAft>
              <a:tabLst>
                <a:tab pos="698830" algn="l"/>
              </a:tabLst>
            </a:pPr>
            <a:endParaRPr lang="en-US" dirty="0">
              <a:latin typeface="Segoe UI" panose="020B0502040204020203" pitchFamily="34" charset="0"/>
              <a:ea typeface="Calibri" panose="020F0502020204030204" pitchFamily="34" charset="0"/>
              <a:cs typeface="Times New Roman" panose="02020603050405020304" pitchFamily="18" charset="0"/>
            </a:endParaRPr>
          </a:p>
          <a:p>
            <a:pPr marL="465887" lvl="1">
              <a:lnSpc>
                <a:spcPct val="105000"/>
              </a:lnSpc>
              <a:spcAft>
                <a:spcPts val="815"/>
              </a:spcAft>
              <a:tabLst>
                <a:tab pos="698830" algn="l"/>
              </a:tabLst>
            </a:pPr>
            <a:r>
              <a:rPr lang="en-US" b="1" dirty="0">
                <a:latin typeface="Segoe UI" panose="020B0502040204020203" pitchFamily="34" charset="0"/>
                <a:ea typeface="Calibri" panose="020F0502020204030204" pitchFamily="34" charset="0"/>
                <a:cs typeface="Times New Roman" panose="02020603050405020304" pitchFamily="18" charset="0"/>
              </a:rPr>
              <a:t>Adaptive query processing</a:t>
            </a:r>
            <a:r>
              <a:rPr lang="en-US" dirty="0">
                <a:latin typeface="Segoe UI" panose="020B0502040204020203" pitchFamily="34" charset="0"/>
                <a:ea typeface="Calibri" panose="020F0502020204030204" pitchFamily="34" charset="0"/>
                <a:cs typeface="Times New Roman" panose="02020603050405020304" pitchFamily="18" charset="0"/>
              </a:rPr>
              <a:t>. </a:t>
            </a:r>
            <a:r>
              <a:rPr lang="en-US" dirty="0"/>
              <a:t>We’ve added the adaptive query processing family of features to SQL Database, including </a:t>
            </a:r>
            <a:r>
              <a:rPr lang="en-US" dirty="0">
                <a:hlinkClick r:id="rId4"/>
              </a:rPr>
              <a:t>interleaved execution for multi-statement table-valued functions, batch mode memory grant feedback</a:t>
            </a:r>
            <a:r>
              <a:rPr lang="en-US" dirty="0"/>
              <a:t>, and </a:t>
            </a:r>
            <a:r>
              <a:rPr lang="en-US" dirty="0">
                <a:hlinkClick r:id="rId5"/>
              </a:rPr>
              <a:t>batch mode adaptive joins</a:t>
            </a:r>
            <a:r>
              <a:rPr lang="en-US" dirty="0"/>
              <a:t>. Each of these adaptive query processing features applies similar “learn and adapt” techniques, helping further address performance issues related to historically intractable query optimization problems.</a:t>
            </a:r>
          </a:p>
          <a:p>
            <a:pPr marL="465887" lvl="1">
              <a:lnSpc>
                <a:spcPct val="105000"/>
              </a:lnSpc>
              <a:spcAft>
                <a:spcPts val="815"/>
              </a:spcAft>
              <a:tabLst>
                <a:tab pos="698830" algn="l"/>
              </a:tabLst>
            </a:pPr>
            <a:endParaRPr lang="en-US" dirty="0">
              <a:latin typeface="Segoe UI" panose="020B0502040204020203" pitchFamily="34" charset="0"/>
              <a:ea typeface="Calibri" panose="020F0502020204030204" pitchFamily="34" charset="0"/>
              <a:cs typeface="Times New Roman" panose="02020603050405020304" pitchFamily="18" charset="0"/>
            </a:endParaRPr>
          </a:p>
          <a:p>
            <a:pPr marL="349415" indent="-349415">
              <a:lnSpc>
                <a:spcPct val="105000"/>
              </a:lnSpc>
              <a:spcAft>
                <a:spcPts val="815"/>
              </a:spcAft>
              <a:buFont typeface="Segoe UI" panose="020B0502040204020203" pitchFamily="34" charset="0"/>
              <a:buChar char="•"/>
            </a:pPr>
            <a:endParaRPr lang="en-US" sz="1400" dirty="0">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EBEA68-9965-426E-9DF9-270648E9231C}"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63266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400" b="1" dirty="0"/>
              <a:t>Adjust performance and scale without downtime</a:t>
            </a:r>
          </a:p>
          <a:p>
            <a:pPr rtl="0"/>
            <a:r>
              <a:rPr lang="en-US" sz="1400" dirty="0"/>
              <a:t>SQL Database offers multiple service tiers to support lightweight to heavyweight database workloads: Basic, Standard, Premium. You can build your first app on a small, single database at a low cost per month and then change its service tier manually or programmatically at any time to meet the needs of your solution. You can adjust performance without downtime to your app or to your customers. </a:t>
            </a:r>
            <a:r>
              <a:rPr lang="en-US" sz="1400" b="1" dirty="0"/>
              <a:t>Dynamic scalability </a:t>
            </a:r>
            <a:r>
              <a:rPr lang="en-US" sz="1400" dirty="0"/>
              <a:t>enables your database to transparently respond to rapidly changing resource requirements and enables you to only pay for the resources that you need when you need them.</a:t>
            </a:r>
          </a:p>
          <a:p>
            <a:pPr rtl="0"/>
            <a:endParaRPr lang="en-US" sz="14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New Standard performance tiers (in preview) p</a:t>
            </a:r>
            <a:r>
              <a:rPr lang="en-US" sz="1200" b="0" i="0" u="none" strike="noStrike" kern="1200" dirty="0">
                <a:solidFill>
                  <a:schemeClr val="tx1"/>
                </a:solidFill>
                <a:effectLst/>
                <a:latin typeface="+mn-lt"/>
                <a:ea typeface="+mn-ea"/>
                <a:cs typeface="+mn-cs"/>
              </a:rPr>
              <a:t>rovide price savings opportunities for CPU intensive workloads that do not demand the kind of high IO performance provided by the Premium ti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pPr rtl="0"/>
            <a:r>
              <a:rPr lang="en-US" sz="1200" b="0" i="0" u="none" strike="noStrike" kern="1200" dirty="0">
                <a:solidFill>
                  <a:schemeClr val="tx1"/>
                </a:solidFill>
                <a:effectLst/>
                <a:latin typeface="+mn-lt"/>
                <a:ea typeface="+mn-ea"/>
                <a:cs typeface="+mn-cs"/>
              </a:rPr>
              <a:t>For IO intensive workloads, the Premium tier continues to provide lower latency per IO and an order of magnitude more IOPS per DTU than in the Standard tier.</a:t>
            </a:r>
          </a:p>
          <a:p>
            <a:pPr rtl="0"/>
            <a:endParaRPr lang="en-US" sz="1400" dirty="0"/>
          </a:p>
          <a:p>
            <a:pPr rtl="0"/>
            <a:r>
              <a:rPr lang="en-US" sz="1400" dirty="0"/>
              <a:t>For the latest performance tiers and pricing: https://azure.microsoft.com/en-us/pricing/details/sql-database/</a:t>
            </a:r>
          </a:p>
          <a:p>
            <a:pPr defTabSz="949478">
              <a:lnSpc>
                <a:spcPct val="107000"/>
              </a:lnSpc>
              <a:spcBef>
                <a:spcPts val="1246"/>
              </a:spcBef>
              <a:defRPr/>
            </a:pPr>
            <a:endParaRPr lang="en-US" sz="1400" dirty="0">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00EBEA68-9965-426E-9DF9-270648E9231C}"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04012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8687" lvl="0" indent="0">
              <a:lnSpc>
                <a:spcPct val="105000"/>
              </a:lnSpc>
              <a:spcAft>
                <a:spcPts val="815"/>
              </a:spcAft>
              <a:buFont typeface="Symbol" panose="05050102010706020507" pitchFamily="18" charset="2"/>
              <a:buNone/>
              <a:tabLst>
                <a:tab pos="698830" algn="l"/>
              </a:tabLst>
            </a:pPr>
            <a:r>
              <a:rPr lang="en-US" sz="1100" b="1" dirty="0">
                <a:latin typeface="Calibri" panose="020F0502020204030204" pitchFamily="34" charset="0"/>
                <a:ea typeface="Calibri" panose="020F0502020204030204" pitchFamily="34" charset="0"/>
                <a:cs typeface="Times New Roman" panose="02020603050405020304" pitchFamily="18" charset="0"/>
              </a:rPr>
              <a:t>Elastic pools to maximize resource utilization</a:t>
            </a:r>
          </a:p>
          <a:p>
            <a:pPr marL="8687" lvl="0" indent="0">
              <a:lnSpc>
                <a:spcPct val="105000"/>
              </a:lnSpc>
              <a:spcAft>
                <a:spcPts val="815"/>
              </a:spcAft>
              <a:buFont typeface="Symbol" panose="05050102010706020507" pitchFamily="18" charset="2"/>
              <a:buNone/>
              <a:tabLst>
                <a:tab pos="698830" algn="l"/>
              </a:tabLst>
            </a:pPr>
            <a:r>
              <a:rPr lang="en-US" sz="1100" dirty="0">
                <a:latin typeface="Calibri" panose="020F0502020204030204" pitchFamily="34" charset="0"/>
                <a:ea typeface="Calibri" panose="020F0502020204030204" pitchFamily="34" charset="0"/>
                <a:cs typeface="Times New Roman" panose="02020603050405020304" pitchFamily="18" charset="0"/>
              </a:rPr>
              <a:t>For many businesses and applications, being able to create single databases and dial performance up or down on demand is enough, especially if usage patterns are relatively predictable. But if you have unpredictable usage patterns, it can make it hard to manage costs and your business model. Elastic pools are designed to solve this problem. The concept is simple: you allocate performance resources to a pool rather than an individual database, and pay for the collective performance resources of the pool rather than for single database performance. </a:t>
            </a:r>
          </a:p>
          <a:p>
            <a:pPr marL="8687" lvl="0" indent="0">
              <a:lnSpc>
                <a:spcPct val="105000"/>
              </a:lnSpc>
              <a:spcAft>
                <a:spcPts val="815"/>
              </a:spcAft>
              <a:buFont typeface="Symbol" panose="05050102010706020507" pitchFamily="18" charset="2"/>
              <a:buNone/>
              <a:tabLst>
                <a:tab pos="698830" algn="l"/>
              </a:tabLst>
            </a:pP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8687" lvl="0" indent="0">
              <a:lnSpc>
                <a:spcPct val="105000"/>
              </a:lnSpc>
              <a:spcAft>
                <a:spcPts val="815"/>
              </a:spcAft>
              <a:buFont typeface="Symbol" panose="05050102010706020507" pitchFamily="18" charset="2"/>
              <a:buNone/>
              <a:tabLst>
                <a:tab pos="698830" algn="l"/>
              </a:tabLst>
            </a:pPr>
            <a:r>
              <a:rPr lang="en-US" sz="1100" dirty="0">
                <a:latin typeface="Calibri" panose="020F0502020204030204" pitchFamily="34" charset="0"/>
                <a:ea typeface="Calibri" panose="020F0502020204030204" pitchFamily="34" charset="0"/>
                <a:cs typeface="Times New Roman" panose="02020603050405020304" pitchFamily="18" charset="0"/>
              </a:rPr>
              <a:t>With elastic pools, you don’t need to focus on dialing database performance up and down as demand for resources fluctuates. The pooled databases consume the performance resources of the elastic pool as needed. Pooled databases consume but don’t exceed the limits of the pool, so </a:t>
            </a:r>
            <a:r>
              <a:rPr lang="en-US" sz="1100" b="1" dirty="0">
                <a:latin typeface="Calibri" panose="020F0502020204030204" pitchFamily="34" charset="0"/>
                <a:ea typeface="Calibri" panose="020F0502020204030204" pitchFamily="34" charset="0"/>
                <a:cs typeface="Times New Roman" panose="02020603050405020304" pitchFamily="18" charset="0"/>
              </a:rPr>
              <a:t>your cost remains predictable </a:t>
            </a:r>
            <a:r>
              <a:rPr lang="en-US" sz="1100" dirty="0">
                <a:latin typeface="Calibri" panose="020F0502020204030204" pitchFamily="34" charset="0"/>
                <a:ea typeface="Calibri" panose="020F0502020204030204" pitchFamily="34" charset="0"/>
                <a:cs typeface="Times New Roman" panose="02020603050405020304" pitchFamily="18" charset="0"/>
              </a:rPr>
              <a:t>even if individual database usage doesn’t. What’s more, you can add and remove databases to the pool, scaling your app from a handful of databases to thousands, all within </a:t>
            </a:r>
            <a:r>
              <a:rPr lang="en-US" sz="1100" b="1" dirty="0">
                <a:latin typeface="Calibri" panose="020F0502020204030204" pitchFamily="34" charset="0"/>
                <a:ea typeface="Calibri" panose="020F0502020204030204" pitchFamily="34" charset="0"/>
                <a:cs typeface="Times New Roman" panose="02020603050405020304" pitchFamily="18" charset="0"/>
              </a:rPr>
              <a:t>a budget that you control</a:t>
            </a:r>
            <a:r>
              <a:rPr lang="en-US" sz="1100" dirty="0">
                <a:latin typeface="Calibri" panose="020F0502020204030204" pitchFamily="34" charset="0"/>
                <a:ea typeface="Calibri" panose="020F0502020204030204" pitchFamily="34" charset="0"/>
                <a:cs typeface="Times New Roman" panose="02020603050405020304" pitchFamily="18" charset="0"/>
              </a:rPr>
              <a:t>. You can also control the minimum and maximum resources available to databases in the pool to ensure that no database in the pool uses all the pool resources and that </a:t>
            </a:r>
            <a:r>
              <a:rPr lang="en-US" sz="1100" b="1" dirty="0">
                <a:latin typeface="Calibri" panose="020F0502020204030204" pitchFamily="34" charset="0"/>
                <a:ea typeface="Calibri" panose="020F0502020204030204" pitchFamily="34" charset="0"/>
                <a:cs typeface="Times New Roman" panose="02020603050405020304" pitchFamily="18" charset="0"/>
              </a:rPr>
              <a:t>every pooled database has a guaranteed minimum amount of resources</a:t>
            </a:r>
            <a:r>
              <a:rPr lang="en-US" sz="1100" dirty="0">
                <a:latin typeface="Calibri" panose="020F0502020204030204" pitchFamily="34" charset="0"/>
                <a:ea typeface="Calibri" panose="020F0502020204030204" pitchFamily="34" charset="0"/>
                <a:cs typeface="Times New Roman" panose="02020603050405020304" pitchFamily="18" charset="0"/>
              </a:rPr>
              <a:t>. </a:t>
            </a:r>
          </a:p>
          <a:p>
            <a:pPr marL="8687" lvl="0" indent="0">
              <a:lnSpc>
                <a:spcPct val="105000"/>
              </a:lnSpc>
              <a:spcAft>
                <a:spcPts val="815"/>
              </a:spcAft>
              <a:buFont typeface="Symbol" panose="05050102010706020507" pitchFamily="18" charset="2"/>
              <a:buNone/>
              <a:tabLst>
                <a:tab pos="698830" algn="l"/>
              </a:tabLst>
            </a:pP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8687" lvl="0" indent="0">
              <a:lnSpc>
                <a:spcPct val="105000"/>
              </a:lnSpc>
              <a:spcAft>
                <a:spcPts val="815"/>
              </a:spcAft>
              <a:buFont typeface="Symbol" panose="05050102010706020507" pitchFamily="18" charset="2"/>
              <a:buNone/>
              <a:tabLst>
                <a:tab pos="698830" algn="l"/>
              </a:tabLst>
            </a:pPr>
            <a:r>
              <a:rPr lang="en-US" sz="1100" b="1" dirty="0">
                <a:latin typeface="Calibri" panose="020F0502020204030204" pitchFamily="34" charset="0"/>
                <a:ea typeface="Calibri" panose="020F0502020204030204" pitchFamily="34" charset="0"/>
                <a:cs typeface="Times New Roman" panose="02020603050405020304" pitchFamily="18" charset="0"/>
              </a:rPr>
              <a:t>Extensive monitoring and alerting capabilities</a:t>
            </a:r>
          </a:p>
          <a:p>
            <a:pPr marL="8687" lvl="0" indent="0">
              <a:lnSpc>
                <a:spcPct val="105000"/>
              </a:lnSpc>
              <a:spcAft>
                <a:spcPts val="815"/>
              </a:spcAft>
              <a:buFont typeface="Symbol" panose="05050102010706020507" pitchFamily="18" charset="2"/>
              <a:buNone/>
              <a:tabLst>
                <a:tab pos="698830" algn="l"/>
              </a:tabLst>
            </a:pPr>
            <a:r>
              <a:rPr lang="en-US" sz="1100" dirty="0">
                <a:latin typeface="Calibri" panose="020F0502020204030204" pitchFamily="34" charset="0"/>
                <a:ea typeface="Calibri" panose="020F0502020204030204" pitchFamily="34" charset="0"/>
                <a:cs typeface="Times New Roman" panose="02020603050405020304" pitchFamily="18" charset="0"/>
              </a:rPr>
              <a:t>You can compare the relative performance of single databases and elastic pools by using built-in performance monitoring and alerting tools, combined with the performance ratings based on Database Transaction Units (DTUs) for single databases and elastic DTUs (</a:t>
            </a:r>
            <a:r>
              <a:rPr lang="en-US" sz="1100" dirty="0" err="1">
                <a:latin typeface="Calibri" panose="020F0502020204030204" pitchFamily="34" charset="0"/>
                <a:ea typeface="Calibri" panose="020F0502020204030204" pitchFamily="34" charset="0"/>
                <a:cs typeface="Times New Roman" panose="02020603050405020304" pitchFamily="18" charset="0"/>
              </a:rPr>
              <a:t>eDTUs</a:t>
            </a:r>
            <a:r>
              <a:rPr lang="en-US" sz="1100" dirty="0">
                <a:latin typeface="Calibri" panose="020F0502020204030204" pitchFamily="34" charset="0"/>
                <a:ea typeface="Calibri" panose="020F0502020204030204" pitchFamily="34" charset="0"/>
                <a:cs typeface="Times New Roman" panose="02020603050405020304" pitchFamily="18" charset="0"/>
              </a:rPr>
              <a:t>) for elastic pools. Using these tools, you can quickly assess the impact of scaling up or down based on your current or project performance needs. See SQL Database options and performance: Understand what's available in each service tier for details.</a:t>
            </a:r>
          </a:p>
          <a:p>
            <a:pPr marL="8687" lvl="0" indent="0">
              <a:lnSpc>
                <a:spcPct val="105000"/>
              </a:lnSpc>
              <a:spcAft>
                <a:spcPts val="815"/>
              </a:spcAft>
              <a:buFont typeface="Symbol" panose="05050102010706020507" pitchFamily="18" charset="2"/>
              <a:buNone/>
              <a:tabLst>
                <a:tab pos="698830" algn="l"/>
              </a:tabLst>
            </a:pP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8687" lvl="0" indent="0">
              <a:lnSpc>
                <a:spcPct val="105000"/>
              </a:lnSpc>
              <a:spcAft>
                <a:spcPts val="815"/>
              </a:spcAft>
              <a:buFont typeface="Symbol" panose="05050102010706020507" pitchFamily="18" charset="2"/>
              <a:buNone/>
              <a:tabLst>
                <a:tab pos="698830" algn="l"/>
              </a:tabLst>
            </a:pPr>
            <a:r>
              <a:rPr lang="en-US" sz="1100" dirty="0">
                <a:latin typeface="Calibri" panose="020F0502020204030204" pitchFamily="34" charset="0"/>
                <a:ea typeface="Calibri" panose="020F0502020204030204" pitchFamily="34" charset="0"/>
                <a:cs typeface="Times New Roman" panose="02020603050405020304" pitchFamily="18" charset="0"/>
              </a:rPr>
              <a:t>Additionally, SQL Database can emit metrics and diagnostic logs for easier monitoring. You can configure SQL Database to store resource usage, workers and sessions, and connectivity into one of these Azure resources:</a:t>
            </a:r>
          </a:p>
          <a:p>
            <a:pPr marL="8687" lvl="0" indent="0">
              <a:lnSpc>
                <a:spcPct val="105000"/>
              </a:lnSpc>
              <a:spcAft>
                <a:spcPts val="815"/>
              </a:spcAft>
              <a:buFont typeface="Symbol" panose="05050102010706020507" pitchFamily="18" charset="2"/>
              <a:buNone/>
              <a:tabLst>
                <a:tab pos="698830" algn="l"/>
              </a:tabLst>
            </a:pP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8687" lvl="0" indent="0">
              <a:lnSpc>
                <a:spcPct val="105000"/>
              </a:lnSpc>
              <a:spcAft>
                <a:spcPts val="815"/>
              </a:spcAft>
              <a:buFont typeface="Symbol" panose="05050102010706020507" pitchFamily="18" charset="2"/>
              <a:buNone/>
              <a:tabLst>
                <a:tab pos="698830" algn="l"/>
              </a:tabLst>
            </a:pPr>
            <a:r>
              <a:rPr lang="en-US" sz="1100" dirty="0">
                <a:latin typeface="Calibri" panose="020F0502020204030204" pitchFamily="34" charset="0"/>
                <a:ea typeface="Calibri" panose="020F0502020204030204" pitchFamily="34" charset="0"/>
                <a:cs typeface="Times New Roman" panose="02020603050405020304" pitchFamily="18" charset="0"/>
              </a:rPr>
              <a:t>Azure Storage: For archiving vast amounts of telemetry for a small price</a:t>
            </a:r>
          </a:p>
          <a:p>
            <a:pPr marL="8687" lvl="0" indent="0">
              <a:lnSpc>
                <a:spcPct val="105000"/>
              </a:lnSpc>
              <a:spcAft>
                <a:spcPts val="815"/>
              </a:spcAft>
              <a:buFont typeface="Symbol" panose="05050102010706020507" pitchFamily="18" charset="2"/>
              <a:buNone/>
              <a:tabLst>
                <a:tab pos="698830" algn="l"/>
              </a:tabLst>
            </a:pPr>
            <a:r>
              <a:rPr lang="en-US" sz="1100" dirty="0">
                <a:latin typeface="Calibri" panose="020F0502020204030204" pitchFamily="34" charset="0"/>
                <a:ea typeface="Calibri" panose="020F0502020204030204" pitchFamily="34" charset="0"/>
                <a:cs typeface="Times New Roman" panose="02020603050405020304" pitchFamily="18" charset="0"/>
              </a:rPr>
              <a:t>Azure Event Hub: For integrating SQL Database telemetry with your custom monitoring solution or hot pipelines</a:t>
            </a:r>
          </a:p>
          <a:p>
            <a:pPr marL="8687" lvl="0" indent="0">
              <a:lnSpc>
                <a:spcPct val="105000"/>
              </a:lnSpc>
              <a:spcAft>
                <a:spcPts val="815"/>
              </a:spcAft>
              <a:buFont typeface="Symbol" panose="05050102010706020507" pitchFamily="18" charset="2"/>
              <a:buNone/>
              <a:tabLst>
                <a:tab pos="698830" algn="l"/>
              </a:tabLst>
            </a:pPr>
            <a:r>
              <a:rPr lang="en-US" sz="1100" dirty="0">
                <a:latin typeface="Calibri" panose="020F0502020204030204" pitchFamily="34" charset="0"/>
                <a:ea typeface="Calibri" panose="020F0502020204030204" pitchFamily="34" charset="0"/>
                <a:cs typeface="Times New Roman" panose="02020603050405020304" pitchFamily="18" charset="0"/>
              </a:rPr>
              <a:t>Azure Log Analytics: For built-in monitoring solution with reporting, alerting, and mitigating capabiliti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EBEA68-9965-426E-9DF9-270648E9231C}"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65803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QL Database provides built-in business continuity and global scalability features, including:</a:t>
            </a:r>
          </a:p>
          <a:p>
            <a:endParaRPr lang="en-US" dirty="0"/>
          </a:p>
          <a:p>
            <a:r>
              <a:rPr lang="en-US" b="1" dirty="0"/>
              <a:t>Automatic backups: </a:t>
            </a:r>
            <a:r>
              <a:rPr lang="en-US" dirty="0"/>
              <a:t>SQL Database automatically performs full, differential, and transaction log backups.</a:t>
            </a:r>
          </a:p>
          <a:p>
            <a:r>
              <a:rPr lang="en-US" b="1" dirty="0"/>
              <a:t>Point-in-time restores: </a:t>
            </a:r>
            <a:r>
              <a:rPr lang="en-US" dirty="0"/>
              <a:t>SQL Database supports recovery to any point in time within the automatic backup retention period, up to 35 days.</a:t>
            </a:r>
          </a:p>
          <a:p>
            <a:r>
              <a:rPr lang="en-US" b="1" dirty="0"/>
              <a:t>Active geo-replication:</a:t>
            </a:r>
            <a:r>
              <a:rPr lang="en-US" dirty="0"/>
              <a:t> SQL Database allows you to configure up to four readable secondary databases in either the same or globally distributed Azure data centers. For example, if you have a SaaS application with a catalog database that has a high volume of concurrent read-only transactions, use active geo-replication to enable global read scale and remove bottlenecks on the primary that are due to read workloads. </a:t>
            </a:r>
          </a:p>
          <a:p>
            <a:r>
              <a:rPr lang="en-US" b="1" dirty="0"/>
              <a:t>Failover groups: </a:t>
            </a:r>
            <a:r>
              <a:rPr lang="en-US" dirty="0"/>
              <a:t>SQL Database allows you to enable high availability and load balancing at global scale, including transparent geo-replication and failover of large sets of databases and elastic pools. Failover groups and active geo-replication enables creation of globally distributed SaaS applications with minimal administration overhead leaving all the complex monitoring, routing, and failover orchestration to SQL Database.</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29266D-C8D6-4D7E-9854-4B883DD80F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32134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40</a:t>
            </a:fld>
            <a:endParaRPr lang="en-US"/>
          </a:p>
        </p:txBody>
      </p:sp>
    </p:spTree>
    <p:extLst>
      <p:ext uri="{BB962C8B-B14F-4D97-AF65-F5344CB8AC3E}">
        <p14:creationId xmlns:p14="http://schemas.microsoft.com/office/powerpoint/2010/main" val="18124983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aseline="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57143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6/18 10:20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475762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S4, Solution Specialist Sales Summit</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6/18 11:0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11940260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S4, Solution Specialist Sales Summit</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6/18 11:0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9922679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arenBoth"/>
            </a:pPr>
            <a:r>
              <a:rPr lang="en-US" sz="900" b="0" i="0" u="none" strike="noStrike" kern="1200" baseline="0" dirty="0">
                <a:solidFill>
                  <a:schemeClr val="tx1"/>
                </a:solidFill>
                <a:latin typeface="Segoe UI Light" pitchFamily="34" charset="0"/>
                <a:ea typeface="+mn-ea"/>
                <a:cs typeface="+mn-cs"/>
              </a:rPr>
              <a:t>Akamai</a:t>
            </a:r>
          </a:p>
          <a:p>
            <a:pPr marL="228600" indent="-228600">
              <a:buAutoNum type="arabicParenBoth"/>
            </a:pPr>
            <a:r>
              <a:rPr lang="en-US" sz="900" b="0" i="0" u="none" strike="noStrike" kern="1200" baseline="0" dirty="0" err="1">
                <a:solidFill>
                  <a:schemeClr val="tx1"/>
                </a:solidFill>
                <a:latin typeface="Segoe UI Light" pitchFamily="34" charset="0"/>
                <a:ea typeface="+mn-ea"/>
                <a:cs typeface="+mn-cs"/>
              </a:rPr>
              <a:t>Cedexis</a:t>
            </a:r>
            <a:endParaRPr lang="en-US" sz="900" b="0" i="0" u="none" strike="noStrike" kern="1200" baseline="0" dirty="0">
              <a:solidFill>
                <a:schemeClr val="tx1"/>
              </a:solidFill>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Microsoft Envision 2016</a:t>
            </a: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6/18 11:01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7367454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191">
              <a:spcAft>
                <a:spcPts val="350"/>
              </a:spcAft>
              <a:defRPr/>
            </a:pPr>
            <a:r>
              <a:rPr lang="en-US" b="0" dirty="0">
                <a:latin typeface="Segoe UI" panose="020B0502040204020203" pitchFamily="34" charset="0"/>
              </a:rPr>
              <a:t>A CDN can accelerate any type</a:t>
            </a:r>
            <a:r>
              <a:rPr lang="en-US" b="0" baseline="0" dirty="0">
                <a:latin typeface="Segoe UI" panose="020B0502040204020203" pitchFamily="34" charset="0"/>
              </a:rPr>
              <a:t> of content, whether it is static content or dynamic. Of course, dynamic content is a bit harder to cache as it is typically unique per user. However, it must be understood that a large portion of any site (images, </a:t>
            </a:r>
            <a:r>
              <a:rPr lang="en-US" b="0" baseline="0" dirty="0" err="1">
                <a:latin typeface="Segoe UI" panose="020B0502040204020203" pitchFamily="34" charset="0"/>
              </a:rPr>
              <a:t>javascript</a:t>
            </a:r>
            <a:r>
              <a:rPr lang="en-US" b="0" baseline="0" dirty="0">
                <a:latin typeface="Segoe UI" panose="020B0502040204020203" pitchFamily="34" charset="0"/>
              </a:rPr>
              <a:t>, html and </a:t>
            </a:r>
            <a:r>
              <a:rPr lang="en-US" b="0" baseline="0" dirty="0" err="1">
                <a:latin typeface="Segoe UI" panose="020B0502040204020203" pitchFamily="34" charset="0"/>
              </a:rPr>
              <a:t>css</a:t>
            </a:r>
            <a:r>
              <a:rPr lang="en-US" b="0" baseline="0" dirty="0">
                <a:latin typeface="Segoe UI" panose="020B0502040204020203" pitchFamily="34" charset="0"/>
              </a:rPr>
              <a:t>) is still static content and typically accounts for more than 80%.</a:t>
            </a:r>
          </a:p>
          <a:p>
            <a:pPr defTabSz="961191">
              <a:spcAft>
                <a:spcPts val="350"/>
              </a:spcAft>
              <a:defRPr/>
            </a:pPr>
            <a:r>
              <a:rPr lang="en-US" b="0" baseline="0" dirty="0">
                <a:latin typeface="Segoe UI" panose="020B0502040204020203" pitchFamily="34" charset="0"/>
              </a:rPr>
              <a:t>CDN is typically required for media applications, as those represents the largest files that can be encountered. And to be crystal clear, it also enhances the experience with live content over the internet, as users typically do not request the same fragments of the video at the same time, as they tune to the channels at different times.</a:t>
            </a:r>
            <a:endParaRPr lang="en-US" b="0" dirty="0">
              <a:latin typeface="Segoe UI" panose="020B0502040204020203" pitchFamily="34" charset="0"/>
            </a:endParaRPr>
          </a:p>
          <a:p>
            <a:endParaRPr lang="en-US" b="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9FF2226-247E-4B00-BA35-BC8A7A636C04}" type="datetime1">
              <a:rPr lang="en-US" smtClean="0"/>
              <a:t>10/16/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138974119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46</a:t>
            </a:fld>
            <a:endParaRPr lang="en-US"/>
          </a:p>
        </p:txBody>
      </p:sp>
    </p:spTree>
    <p:extLst>
      <p:ext uri="{BB962C8B-B14F-4D97-AF65-F5344CB8AC3E}">
        <p14:creationId xmlns:p14="http://schemas.microsoft.com/office/powerpoint/2010/main" val="19425522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47</a:t>
            </a:fld>
            <a:endParaRPr lang="en-US"/>
          </a:p>
        </p:txBody>
      </p:sp>
    </p:spTree>
    <p:extLst>
      <p:ext uri="{BB962C8B-B14F-4D97-AF65-F5344CB8AC3E}">
        <p14:creationId xmlns:p14="http://schemas.microsoft.com/office/powerpoint/2010/main" val="30932505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6/18 11:0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289327784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E9BC1C0-58DC-4B1B-BE7A-F4B6AA554EC6}"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6/18 11: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Header Placeholder 3"/>
          <p:cNvSpPr>
            <a:spLocks noGrp="1"/>
          </p:cNvSpPr>
          <p:nvPr>
            <p:ph type="hdr" sz="quarter" idx="15"/>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6"/>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0216885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6/18 11:0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1915241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54</a:t>
            </a:fld>
            <a:endParaRPr lang="en-US"/>
          </a:p>
        </p:txBody>
      </p:sp>
    </p:spTree>
    <p:extLst>
      <p:ext uri="{BB962C8B-B14F-4D97-AF65-F5344CB8AC3E}">
        <p14:creationId xmlns:p14="http://schemas.microsoft.com/office/powerpoint/2010/main" val="15701277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50795A-3AEA-4113-9713-DCEC7476C5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730347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29E9FC-B671-424D-AD31-3E8C5FC948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122742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6/18 11:1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236197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61</a:t>
            </a:fld>
            <a:endParaRPr lang="en-US"/>
          </a:p>
        </p:txBody>
      </p:sp>
    </p:spTree>
    <p:extLst>
      <p:ext uri="{BB962C8B-B14F-4D97-AF65-F5344CB8AC3E}">
        <p14:creationId xmlns:p14="http://schemas.microsoft.com/office/powerpoint/2010/main" val="172743889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bstraction of servers, infrastructure and configuration of operating system</a:t>
            </a:r>
          </a:p>
          <a:p>
            <a:r>
              <a:rPr lang="en-US" dirty="0"/>
              <a:t>Event-driven scale</a:t>
            </a:r>
          </a:p>
          <a:p>
            <a:r>
              <a:rPr lang="en-US" dirty="0"/>
              <a:t>Sub-second billing</a:t>
            </a:r>
          </a:p>
          <a:p>
            <a:r>
              <a:rPr lang="en-US" dirty="0"/>
              <a:t>Stateless</a:t>
            </a:r>
          </a:p>
        </p:txBody>
      </p:sp>
      <p:sp>
        <p:nvSpPr>
          <p:cNvPr id="4" name="Slide Number Placeholder 3"/>
          <p:cNvSpPr>
            <a:spLocks noGrp="1"/>
          </p:cNvSpPr>
          <p:nvPr>
            <p:ph type="sldNum" sz="quarter" idx="10"/>
          </p:nvPr>
        </p:nvSpPr>
        <p:spPr/>
        <p:txBody>
          <a:bodyPr/>
          <a:lstStyle/>
          <a:p>
            <a:fld id="{30400C77-98DD-41D6-BDE7-5E20B890E765}" type="slidenum">
              <a:rPr lang="en-US" smtClean="0"/>
              <a:t>63</a:t>
            </a:fld>
            <a:endParaRPr lang="en-US"/>
          </a:p>
        </p:txBody>
      </p:sp>
    </p:spTree>
    <p:extLst>
      <p:ext uri="{BB962C8B-B14F-4D97-AF65-F5344CB8AC3E}">
        <p14:creationId xmlns:p14="http://schemas.microsoft.com/office/powerpoint/2010/main" val="392177517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no-lithic application -&gt; loosely coupled components</a:t>
            </a:r>
          </a:p>
          <a:p>
            <a:r>
              <a:rPr lang="en-US" dirty="0"/>
              <a:t>Events happening </a:t>
            </a:r>
            <a:r>
              <a:rPr lang="en-US" dirty="0" err="1"/>
              <a:t>async</a:t>
            </a:r>
            <a:r>
              <a:rPr lang="en-US" dirty="0"/>
              <a:t> outside client application</a:t>
            </a:r>
          </a:p>
          <a:p>
            <a:r>
              <a:rPr lang="en-US" dirty="0"/>
              <a:t>Build/use micro-functionality to react to a single event</a:t>
            </a:r>
          </a:p>
          <a:p>
            <a:endParaRPr lang="en-US" dirty="0"/>
          </a:p>
        </p:txBody>
      </p:sp>
      <p:sp>
        <p:nvSpPr>
          <p:cNvPr id="4" name="Slide Number Placeholder 3"/>
          <p:cNvSpPr>
            <a:spLocks noGrp="1"/>
          </p:cNvSpPr>
          <p:nvPr>
            <p:ph type="sldNum" sz="quarter" idx="10"/>
          </p:nvPr>
        </p:nvSpPr>
        <p:spPr/>
        <p:txBody>
          <a:bodyPr/>
          <a:lstStyle/>
          <a:p>
            <a:fld id="{30400C77-98DD-41D6-BDE7-5E20B890E765}" type="slidenum">
              <a:rPr lang="en-US" smtClean="0"/>
              <a:t>64</a:t>
            </a:fld>
            <a:endParaRPr lang="en-US"/>
          </a:p>
        </p:txBody>
      </p:sp>
    </p:spTree>
    <p:extLst>
      <p:ext uri="{BB962C8B-B14F-4D97-AF65-F5344CB8AC3E}">
        <p14:creationId xmlns:p14="http://schemas.microsoft.com/office/powerpoint/2010/main" val="40522340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Pinnacle of PaaS compute”</a:t>
            </a:r>
          </a:p>
          <a:p>
            <a:pPr marL="571500" indent="-571500">
              <a:buFont typeface="Arial" panose="020B0604020202020204" pitchFamily="34" charset="0"/>
              <a:buChar char="•"/>
            </a:pPr>
            <a:r>
              <a:rPr lang="en-US" dirty="0"/>
              <a:t>Not just hardware “servers”, but software servers are also </a:t>
            </a:r>
            <a:r>
              <a:rPr lang="en-US" b="1" dirty="0"/>
              <a:t>managed for you</a:t>
            </a:r>
          </a:p>
          <a:p>
            <a:pPr marL="571500" indent="-571500">
              <a:buFont typeface="Arial" panose="020B0604020202020204" pitchFamily="34" charset="0"/>
              <a:buChar char="•"/>
            </a:pPr>
            <a:r>
              <a:rPr lang="en-US" dirty="0"/>
              <a:t>Focus on </a:t>
            </a:r>
            <a:r>
              <a:rPr lang="en-US" b="1" dirty="0"/>
              <a:t>business logic</a:t>
            </a:r>
            <a:r>
              <a:rPr lang="en-US" dirty="0"/>
              <a:t>, not solving technical problems not </a:t>
            </a:r>
            <a:r>
              <a:rPr lang="en-US" b="1" dirty="0"/>
              <a:t>core to business</a:t>
            </a:r>
          </a:p>
          <a:p>
            <a:pPr marL="571500" indent="-571500">
              <a:buFont typeface="Arial" panose="020B0604020202020204" pitchFamily="34" charset="0"/>
              <a:buChar char="•"/>
            </a:pPr>
            <a:r>
              <a:rPr lang="en-US" dirty="0"/>
              <a:t>Lower effort to get started makes it easier to experiment (bots, etc.)</a:t>
            </a:r>
          </a:p>
          <a:p>
            <a:endParaRPr lang="en-US" dirty="0"/>
          </a:p>
        </p:txBody>
      </p:sp>
      <p:sp>
        <p:nvSpPr>
          <p:cNvPr id="4" name="Slide Number Placeholder 3"/>
          <p:cNvSpPr>
            <a:spLocks noGrp="1"/>
          </p:cNvSpPr>
          <p:nvPr>
            <p:ph type="sldNum" sz="quarter" idx="10"/>
          </p:nvPr>
        </p:nvSpPr>
        <p:spPr/>
        <p:txBody>
          <a:bodyPr/>
          <a:lstStyle/>
          <a:p>
            <a:fld id="{30400C77-98DD-41D6-BDE7-5E20B890E765}" type="slidenum">
              <a:rPr lang="en-US" smtClean="0"/>
              <a:t>65</a:t>
            </a:fld>
            <a:endParaRPr lang="en-US"/>
          </a:p>
        </p:txBody>
      </p:sp>
    </p:spTree>
    <p:extLst>
      <p:ext uri="{BB962C8B-B14F-4D97-AF65-F5344CB8AC3E}">
        <p14:creationId xmlns:p14="http://schemas.microsoft.com/office/powerpoint/2010/main" val="378594708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ris</a:t>
            </a:r>
          </a:p>
          <a:p>
            <a:endParaRPr lang="en-US" dirty="0"/>
          </a:p>
        </p:txBody>
      </p:sp>
      <p:sp>
        <p:nvSpPr>
          <p:cNvPr id="4" name="Slide Number Placeholder 3"/>
          <p:cNvSpPr>
            <a:spLocks noGrp="1"/>
          </p:cNvSpPr>
          <p:nvPr>
            <p:ph type="sldNum" sz="quarter" idx="10"/>
          </p:nvPr>
        </p:nvSpPr>
        <p:spPr/>
        <p:txBody>
          <a:bodyPr/>
          <a:lstStyle/>
          <a:p>
            <a:fld id="{FA2E45D9-6F23-48B0-9F93-9BB4FE9A61D8}" type="slidenum">
              <a:rPr lang="en-US" smtClean="0">
                <a:solidFill>
                  <a:prstClr val="black"/>
                </a:solidFill>
              </a:rPr>
              <a:pPr/>
              <a:t>74</a:t>
            </a:fld>
            <a:endParaRPr lang="en-US">
              <a:solidFill>
                <a:prstClr val="black"/>
              </a:solidFill>
            </a:endParaRPr>
          </a:p>
        </p:txBody>
      </p:sp>
    </p:spTree>
    <p:extLst>
      <p:ext uri="{BB962C8B-B14F-4D97-AF65-F5344CB8AC3E}">
        <p14:creationId xmlns:p14="http://schemas.microsoft.com/office/powerpoint/2010/main" val="212154849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a:t>
            </a:r>
            <a:r>
              <a:rPr lang="en-US" baseline="0" dirty="0"/>
              <a:t> is the whole (top level) Dev Ops story where Dev build </a:t>
            </a:r>
            <a:r>
              <a:rPr lang="en-US" baseline="0" dirty="0" err="1"/>
              <a:t>wounderful</a:t>
            </a:r>
            <a:r>
              <a:rPr lang="en-US" baseline="0" dirty="0"/>
              <a:t> apps, using CI they mange their code, builds, and releases. Connecting to a repository, they can deploy to Azure Websites, build in the cloud, deploy to a slot to test and validate, swap into production, deployed across the globe as needed, monitor and get feedback, on which </a:t>
            </a:r>
            <a:r>
              <a:rPr lang="en-US" baseline="0" dirty="0" err="1"/>
              <a:t>devs</a:t>
            </a:r>
            <a:r>
              <a:rPr lang="en-US" baseline="0" dirty="0"/>
              <a:t> can make updates.  Rinse and repeat </a:t>
            </a:r>
            <a:endParaRPr lang="en-US" dirty="0"/>
          </a:p>
        </p:txBody>
      </p:sp>
      <p:sp>
        <p:nvSpPr>
          <p:cNvPr id="4" name="Slide Number Placeholder 3"/>
          <p:cNvSpPr>
            <a:spLocks noGrp="1"/>
          </p:cNvSpPr>
          <p:nvPr>
            <p:ph type="sldNum" sz="quarter" idx="10"/>
          </p:nvPr>
        </p:nvSpPr>
        <p:spPr/>
        <p:txBody>
          <a:bodyPr/>
          <a:lstStyle/>
          <a:p>
            <a:pPr>
              <a:defRPr/>
            </a:pPr>
            <a:fld id="{6D581EC0-6C77-47EF-A5F1-48F7DF3073C0}" type="slidenum">
              <a:rPr lang="en-US">
                <a:solidFill>
                  <a:prstClr val="black"/>
                </a:solidFill>
              </a:rPr>
              <a:pPr>
                <a:defRPr/>
              </a:pPr>
              <a:t>76</a:t>
            </a:fld>
            <a:endParaRPr lang="en-US">
              <a:solidFill>
                <a:prstClr val="black"/>
              </a:solidFill>
            </a:endParaRPr>
          </a:p>
        </p:txBody>
      </p:sp>
    </p:spTree>
    <p:extLst>
      <p:ext uri="{BB962C8B-B14F-4D97-AF65-F5344CB8AC3E}">
        <p14:creationId xmlns:p14="http://schemas.microsoft.com/office/powerpoint/2010/main" val="393134506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78</a:t>
            </a:fld>
            <a:endParaRPr lang="en-US"/>
          </a:p>
        </p:txBody>
      </p:sp>
    </p:spTree>
    <p:extLst>
      <p:ext uri="{BB962C8B-B14F-4D97-AF65-F5344CB8AC3E}">
        <p14:creationId xmlns:p14="http://schemas.microsoft.com/office/powerpoint/2010/main" val="355840497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A846A0F-1586-954E-877E-59C1F56A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050416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Running these apps in a data center by yourself</a:t>
            </a:r>
          </a:p>
          <a:p>
            <a:r>
              <a:rPr lang="en-US" sz="1200" kern="1200" dirty="0">
                <a:solidFill>
                  <a:schemeClr val="tx1"/>
                </a:solidFill>
                <a:effectLst/>
                <a:latin typeface="+mn-lt"/>
                <a:ea typeface="+mn-ea"/>
                <a:cs typeface="+mn-cs"/>
              </a:rPr>
              <a:t>Always been challenging to deploy your asp.net apps – speed to deployment is what you will get</a:t>
            </a:r>
          </a:p>
          <a:p>
            <a:r>
              <a:rPr lang="en-US" sz="1200" kern="1200" dirty="0">
                <a:solidFill>
                  <a:schemeClr val="tx1"/>
                </a:solidFill>
                <a:effectLst/>
                <a:latin typeface="+mn-lt"/>
                <a:ea typeface="+mn-ea"/>
                <a:cs typeface="+mn-cs"/>
              </a:rPr>
              <a:t>High scale and high availability has always been a problem – azure has a ton of options</a:t>
            </a:r>
          </a:p>
          <a:p>
            <a:r>
              <a:rPr lang="en-US" sz="1200" kern="1200" dirty="0">
                <a:solidFill>
                  <a:schemeClr val="tx1"/>
                </a:solidFill>
                <a:effectLst/>
                <a:latin typeface="+mn-lt"/>
                <a:ea typeface="+mn-ea"/>
                <a:cs typeface="+mn-cs"/>
              </a:rPr>
              <a:t>App Service and Containers – reduce your TCO by having more density and better utilization</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those are for all 3 option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VM only: </a:t>
            </a:r>
          </a:p>
          <a:p>
            <a:pPr lvl="0"/>
            <a:r>
              <a:rPr lang="en-US" sz="1200" kern="1200" dirty="0">
                <a:solidFill>
                  <a:schemeClr val="tx1"/>
                </a:solidFill>
                <a:effectLst/>
                <a:latin typeface="+mn-lt"/>
                <a:ea typeface="+mn-ea"/>
                <a:cs typeface="+mn-cs"/>
              </a:rPr>
              <a:t>You’re getting out of the data center; keep high availability of the hardware</a:t>
            </a:r>
          </a:p>
          <a:p>
            <a:pPr lvl="0"/>
            <a:r>
              <a:rPr lang="en-US" sz="1200" kern="1200" dirty="0">
                <a:solidFill>
                  <a:schemeClr val="tx1"/>
                </a:solidFill>
                <a:effectLst/>
                <a:latin typeface="+mn-lt"/>
                <a:ea typeface="+mn-ea"/>
                <a:cs typeface="+mn-cs"/>
              </a:rPr>
              <a:t>Easily take advantage of things like Azure </a:t>
            </a:r>
            <a:r>
              <a:rPr lang="en-US" sz="1200" kern="1200" dirty="0" err="1">
                <a:solidFill>
                  <a:schemeClr val="tx1"/>
                </a:solidFill>
                <a:effectLst/>
                <a:latin typeface="+mn-lt"/>
                <a:ea typeface="+mn-ea"/>
                <a:cs typeface="+mn-cs"/>
              </a:rPr>
              <a:t>Montoring</a:t>
            </a:r>
            <a:r>
              <a:rPr lang="en-US" sz="1200" kern="1200" dirty="0">
                <a:solidFill>
                  <a:schemeClr val="tx1"/>
                </a:solidFill>
                <a:effectLst/>
                <a:latin typeface="+mn-lt"/>
                <a:ea typeface="+mn-ea"/>
                <a:cs typeface="+mn-cs"/>
              </a:rPr>
              <a:t>, so that you know what’s going on with your application</a:t>
            </a:r>
          </a:p>
          <a:p>
            <a:pPr lvl="1"/>
            <a:r>
              <a:rPr lang="en-US" sz="1200" kern="1200" dirty="0">
                <a:solidFill>
                  <a:schemeClr val="tx1"/>
                </a:solidFill>
                <a:effectLst/>
                <a:latin typeface="+mn-lt"/>
                <a:ea typeface="+mn-ea"/>
                <a:cs typeface="+mn-cs"/>
              </a:rPr>
              <a:t>Pain: they deploy a website and have no way to monitor it? They have to be reactive; they don’t know ahead of time of their apps are healthy, until end users file tickets</a:t>
            </a:r>
          </a:p>
          <a:p>
            <a:pPr lvl="2"/>
            <a:r>
              <a:rPr lang="en-US" sz="1200" kern="1200" dirty="0">
                <a:solidFill>
                  <a:schemeClr val="tx1"/>
                </a:solidFill>
                <a:effectLst/>
                <a:latin typeface="+mn-lt"/>
                <a:ea typeface="+mn-ea"/>
                <a:cs typeface="+mn-cs"/>
              </a:rPr>
              <a:t>You can get richer diagnostics without changing a single line of code</a:t>
            </a:r>
          </a:p>
          <a:p>
            <a:pPr lvl="2"/>
            <a:r>
              <a:rPr lang="en-US" sz="1200" kern="1200" dirty="0">
                <a:solidFill>
                  <a:schemeClr val="tx1"/>
                </a:solidFill>
                <a:effectLst/>
                <a:latin typeface="+mn-lt"/>
                <a:ea typeface="+mn-ea"/>
                <a:cs typeface="+mn-cs"/>
              </a:rPr>
              <a:t>Most customers don’t have the ability to build a solution for this on their own</a:t>
            </a:r>
          </a:p>
          <a:p>
            <a:pPr lvl="0"/>
            <a:r>
              <a:rPr lang="en-US" sz="1200" kern="1200" dirty="0">
                <a:solidFill>
                  <a:schemeClr val="tx1"/>
                </a:solidFill>
                <a:effectLst/>
                <a:latin typeface="+mn-lt"/>
                <a:ea typeface="+mn-ea"/>
                <a:cs typeface="+mn-cs"/>
              </a:rPr>
              <a:t>Agility: #1</a:t>
            </a:r>
          </a:p>
          <a:p>
            <a:pPr lvl="1"/>
            <a:r>
              <a:rPr lang="en-US" sz="1200" kern="1200" dirty="0">
                <a:solidFill>
                  <a:schemeClr val="tx1"/>
                </a:solidFill>
                <a:effectLst/>
                <a:latin typeface="+mn-lt"/>
                <a:ea typeface="+mn-ea"/>
                <a:cs typeface="+mn-cs"/>
              </a:rPr>
              <a:t>Time to deploy</a:t>
            </a:r>
          </a:p>
          <a:p>
            <a:pPr lvl="1"/>
            <a:r>
              <a:rPr lang="en-US" sz="1200" kern="1200" dirty="0">
                <a:solidFill>
                  <a:schemeClr val="tx1"/>
                </a:solidFill>
                <a:effectLst/>
                <a:latin typeface="+mn-lt"/>
                <a:ea typeface="+mn-ea"/>
                <a:cs typeface="+mn-cs"/>
              </a:rPr>
              <a:t>Time to patch</a:t>
            </a:r>
          </a:p>
          <a:p>
            <a:pPr lvl="1"/>
            <a:r>
              <a:rPr lang="en-US" sz="1200" kern="1200" dirty="0">
                <a:solidFill>
                  <a:schemeClr val="tx1"/>
                </a:solidFill>
                <a:effectLst/>
                <a:latin typeface="+mn-lt"/>
                <a:ea typeface="+mn-ea"/>
                <a:cs typeface="+mn-cs"/>
              </a:rPr>
              <a:t>Updates – OS and application, security updates, etc.</a:t>
            </a:r>
          </a:p>
          <a:p>
            <a:pPr lvl="1"/>
            <a:r>
              <a:rPr lang="en-US" sz="1200" kern="1200" dirty="0">
                <a:solidFill>
                  <a:schemeClr val="tx1"/>
                </a:solidFill>
                <a:effectLst/>
                <a:latin typeface="+mn-lt"/>
                <a:ea typeface="+mn-ea"/>
                <a:cs typeface="+mn-cs"/>
              </a:rPr>
              <a:t>Speed to deployment – deployment often takes a long time – can take hours to days; instead can take minutes – but this might not apply for VMs? </a:t>
            </a:r>
          </a:p>
          <a:p>
            <a:pPr lvl="1"/>
            <a:r>
              <a:rPr lang="en-US" sz="1200" kern="1200" dirty="0">
                <a:solidFill>
                  <a:schemeClr val="tx1"/>
                </a:solidFill>
                <a:effectLst/>
                <a:latin typeface="+mn-lt"/>
                <a:ea typeface="+mn-ea"/>
                <a:cs typeface="+mn-cs"/>
              </a:rPr>
              <a:t>Patch service now for VMs? Paul doesn’t know how this is going for customers though</a:t>
            </a:r>
          </a:p>
          <a:p>
            <a:pPr lvl="1"/>
            <a:r>
              <a:rPr lang="en-US" sz="1200" kern="1200" dirty="0">
                <a:solidFill>
                  <a:schemeClr val="tx1"/>
                </a:solidFill>
                <a:effectLst/>
                <a:latin typeface="+mn-lt"/>
                <a:ea typeface="+mn-ea"/>
                <a:cs typeface="+mn-cs"/>
              </a:rPr>
              <a:t>For VMs only: for dependencies - you will have a template for your VM, rather than a large Word doc. </a:t>
            </a:r>
          </a:p>
          <a:p>
            <a:pPr lvl="2"/>
            <a:r>
              <a:rPr lang="en-US" sz="1200" kern="1200" dirty="0">
                <a:solidFill>
                  <a:schemeClr val="tx1"/>
                </a:solidFill>
                <a:effectLst/>
                <a:latin typeface="+mn-lt"/>
                <a:ea typeface="+mn-ea"/>
                <a:cs typeface="+mn-cs"/>
              </a:rPr>
              <a:t>If you implement VSTS, then VSTS can publish straight to your VM</a:t>
            </a:r>
          </a:p>
          <a:p>
            <a:pPr lvl="0"/>
            <a:r>
              <a:rPr lang="en-US" sz="1200" kern="1200" dirty="0">
                <a:solidFill>
                  <a:schemeClr val="tx1"/>
                </a:solidFill>
                <a:effectLst/>
                <a:latin typeface="+mn-lt"/>
                <a:ea typeface="+mn-ea"/>
                <a:cs typeface="+mn-cs"/>
              </a:rPr>
              <a:t>Perhaps use the first three on the Modernization slide, and make a separate slide for TCO that reps can choose to use or not</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Compelling events: </a:t>
            </a:r>
          </a:p>
          <a:p>
            <a:pPr lvl="0"/>
            <a:r>
              <a:rPr lang="en-US" sz="1200" kern="1200" dirty="0">
                <a:solidFill>
                  <a:schemeClr val="tx1"/>
                </a:solidFill>
                <a:effectLst/>
                <a:latin typeface="+mn-lt"/>
                <a:ea typeface="+mn-ea"/>
                <a:cs typeface="+mn-cs"/>
              </a:rPr>
              <a:t>If you have apps that are coming up to end of life, the fear of going out of support</a:t>
            </a:r>
          </a:p>
          <a:p>
            <a:r>
              <a:rPr lang="en-US" sz="1200" kern="1200" dirty="0">
                <a:solidFill>
                  <a:schemeClr val="tx1"/>
                </a:solidFill>
                <a:effectLst/>
                <a:latin typeface="+mn-lt"/>
                <a:ea typeface="+mn-ea"/>
                <a:cs typeface="+mn-cs"/>
              </a:rPr>
              <a:t> </a:t>
            </a:r>
          </a:p>
          <a:p>
            <a:pPr lvl="1"/>
            <a:r>
              <a:rPr lang="en-US" sz="1200" kern="1200" dirty="0">
                <a:solidFill>
                  <a:schemeClr val="tx1"/>
                </a:solidFill>
                <a:effectLst/>
                <a:latin typeface="+mn-lt"/>
                <a:ea typeface="+mn-ea"/>
                <a:cs typeface="+mn-cs"/>
              </a:rPr>
              <a:t>If you go to the cloud, you mitigate that risk because Microsoft will always provide support</a:t>
            </a:r>
          </a:p>
          <a:p>
            <a:pPr lvl="1"/>
            <a:r>
              <a:rPr lang="en-US" sz="1200" kern="1200" dirty="0">
                <a:solidFill>
                  <a:schemeClr val="tx1"/>
                </a:solidFill>
                <a:effectLst/>
                <a:latin typeface="+mn-lt"/>
                <a:ea typeface="+mn-ea"/>
                <a:cs typeface="+mn-cs"/>
              </a:rPr>
              <a:t>But with VMs, you can still have that inflection point where you need to move to a more modern VM (but this is pretty easy)</a:t>
            </a:r>
          </a:p>
          <a:p>
            <a:pPr lvl="1"/>
            <a:r>
              <a:rPr lang="en-US" sz="1200" kern="1200" dirty="0">
                <a:solidFill>
                  <a:schemeClr val="tx1"/>
                </a:solidFill>
                <a:effectLst/>
                <a:latin typeface="+mn-lt"/>
                <a:ea typeface="+mn-ea"/>
                <a:cs typeface="+mn-cs"/>
              </a:rPr>
              <a:t>The real cost is testing</a:t>
            </a:r>
          </a:p>
          <a:p>
            <a:pPr lvl="0"/>
            <a:r>
              <a:rPr lang="en-US" sz="1200" kern="1200" dirty="0">
                <a:solidFill>
                  <a:schemeClr val="tx1"/>
                </a:solidFill>
                <a:effectLst/>
                <a:latin typeface="+mn-lt"/>
                <a:ea typeface="+mn-ea"/>
                <a:cs typeface="+mn-cs"/>
              </a:rPr>
              <a:t>If a company is trying to get out of their data center</a:t>
            </a:r>
          </a:p>
          <a:p>
            <a:pPr lvl="0"/>
            <a:r>
              <a:rPr lang="en-US" sz="1200" kern="1200" dirty="0">
                <a:solidFill>
                  <a:schemeClr val="tx1"/>
                </a:solidFill>
                <a:effectLst/>
                <a:latin typeface="+mn-lt"/>
                <a:ea typeface="+mn-ea"/>
                <a:cs typeface="+mn-cs"/>
              </a:rPr>
              <a:t>If they are trying to get rid of a co-lo</a:t>
            </a:r>
          </a:p>
          <a:p>
            <a:r>
              <a:rPr lang="en-US" sz="1200" kern="1200" dirty="0">
                <a:solidFill>
                  <a:schemeClr val="tx1"/>
                </a:solidFill>
                <a:effectLst/>
                <a:latin typeface="+mn-lt"/>
                <a:ea typeface="+mn-ea"/>
                <a:cs typeface="+mn-cs"/>
              </a:rPr>
              <a:t> </a:t>
            </a:r>
          </a:p>
          <a:p>
            <a:r>
              <a:rPr lang="en-US" sz="1200" kern="1200" dirty="0" err="1">
                <a:solidFill>
                  <a:schemeClr val="tx1"/>
                </a:solidFill>
                <a:effectLst/>
                <a:latin typeface="+mn-lt"/>
                <a:ea typeface="+mn-ea"/>
                <a:cs typeface="+mn-cs"/>
              </a:rPr>
              <a:t>DevTest</a:t>
            </a:r>
            <a:r>
              <a:rPr lang="en-US" sz="1200" kern="1200" dirty="0">
                <a:solidFill>
                  <a:schemeClr val="tx1"/>
                </a:solidFill>
                <a:effectLst/>
                <a:latin typeface="+mn-lt"/>
                <a:ea typeface="+mn-ea"/>
                <a:cs typeface="+mn-cs"/>
              </a:rPr>
              <a:t> – </a:t>
            </a:r>
          </a:p>
          <a:p>
            <a:pPr lvl="0"/>
            <a:r>
              <a:rPr lang="en-US" sz="1200" kern="1200" dirty="0">
                <a:solidFill>
                  <a:schemeClr val="tx1"/>
                </a:solidFill>
                <a:effectLst/>
                <a:latin typeface="+mn-lt"/>
                <a:ea typeface="+mn-ea"/>
                <a:cs typeface="+mn-cs"/>
              </a:rPr>
              <a:t>Great way to start shifting to the cloud. But why is it so much better for the team? </a:t>
            </a:r>
          </a:p>
          <a:p>
            <a:pPr lvl="0"/>
            <a:r>
              <a:rPr lang="en-US" sz="1200" kern="1200" dirty="0">
                <a:solidFill>
                  <a:schemeClr val="tx1"/>
                </a:solidFill>
                <a:effectLst/>
                <a:latin typeface="+mn-lt"/>
                <a:ea typeface="+mn-ea"/>
                <a:cs typeface="+mn-cs"/>
              </a:rPr>
              <a:t>One of the big problems for </a:t>
            </a:r>
            <a:r>
              <a:rPr lang="en-US" sz="1200" kern="1200" dirty="0" err="1">
                <a:solidFill>
                  <a:schemeClr val="tx1"/>
                </a:solidFill>
                <a:effectLst/>
                <a:latin typeface="+mn-lt"/>
                <a:ea typeface="+mn-ea"/>
                <a:cs typeface="+mn-cs"/>
              </a:rPr>
              <a:t>DevTest</a:t>
            </a:r>
            <a:r>
              <a:rPr lang="en-US" sz="1200" kern="1200" dirty="0">
                <a:solidFill>
                  <a:schemeClr val="tx1"/>
                </a:solidFill>
                <a:effectLst/>
                <a:latin typeface="+mn-lt"/>
                <a:ea typeface="+mn-ea"/>
                <a:cs typeface="+mn-cs"/>
              </a:rPr>
              <a:t> – maintaining different environments, machines, reproduce bugs, etc.</a:t>
            </a:r>
          </a:p>
          <a:p>
            <a:pPr lvl="0"/>
            <a:r>
              <a:rPr lang="en-US" sz="1200" kern="1200" dirty="0">
                <a:solidFill>
                  <a:schemeClr val="tx1"/>
                </a:solidFill>
                <a:effectLst/>
                <a:latin typeface="+mn-lt"/>
                <a:ea typeface="+mn-ea"/>
                <a:cs typeface="+mn-cs"/>
              </a:rPr>
              <a:t>By doing </a:t>
            </a:r>
            <a:r>
              <a:rPr lang="en-US" sz="1200" kern="1200" dirty="0" err="1">
                <a:solidFill>
                  <a:schemeClr val="tx1"/>
                </a:solidFill>
                <a:effectLst/>
                <a:latin typeface="+mn-lt"/>
                <a:ea typeface="+mn-ea"/>
                <a:cs typeface="+mn-cs"/>
              </a:rPr>
              <a:t>devtest</a:t>
            </a:r>
            <a:r>
              <a:rPr lang="en-US" sz="1200" kern="1200" dirty="0">
                <a:solidFill>
                  <a:schemeClr val="tx1"/>
                </a:solidFill>
                <a:effectLst/>
                <a:latin typeface="+mn-lt"/>
                <a:ea typeface="+mn-ea"/>
                <a:cs typeface="+mn-cs"/>
              </a:rPr>
              <a:t> in the cloud – you have unlimited potential to quickly spin up an environment that’s exactly what you need. And then turn it off when you’re done. It’s like you have a lab of machines ready to go at any time, and you only pay for what you use. </a:t>
            </a:r>
          </a:p>
          <a:p>
            <a:pPr lvl="0"/>
            <a:r>
              <a:rPr lang="en-US" sz="1200" kern="1200" dirty="0">
                <a:solidFill>
                  <a:schemeClr val="tx1"/>
                </a:solidFill>
                <a:effectLst/>
                <a:latin typeface="+mn-lt"/>
                <a:ea typeface="+mn-ea"/>
                <a:cs typeface="+mn-cs"/>
              </a:rPr>
              <a:t>For POC – </a:t>
            </a:r>
            <a:r>
              <a:rPr lang="en-US" sz="1200" kern="1200" dirty="0" err="1">
                <a:solidFill>
                  <a:schemeClr val="tx1"/>
                </a:solidFill>
                <a:effectLst/>
                <a:latin typeface="+mn-lt"/>
                <a:ea typeface="+mn-ea"/>
                <a:cs typeface="+mn-cs"/>
              </a:rPr>
              <a:t>DevTest</a:t>
            </a:r>
            <a:r>
              <a:rPr lang="en-US" sz="1200" kern="1200" dirty="0">
                <a:solidFill>
                  <a:schemeClr val="tx1"/>
                </a:solidFill>
                <a:effectLst/>
                <a:latin typeface="+mn-lt"/>
                <a:ea typeface="+mn-ea"/>
                <a:cs typeface="+mn-cs"/>
              </a:rPr>
              <a:t> can be a good stepping stone if the customer is reluctant. E.g., a bank might do dev test but reluctant to do production</a:t>
            </a:r>
          </a:p>
          <a:p>
            <a:pPr lvl="1"/>
            <a:r>
              <a:rPr lang="en-US" sz="1200" kern="1200" dirty="0">
                <a:solidFill>
                  <a:schemeClr val="tx1"/>
                </a:solidFill>
                <a:effectLst/>
                <a:latin typeface="+mn-lt"/>
                <a:ea typeface="+mn-ea"/>
                <a:cs typeface="+mn-cs"/>
              </a:rPr>
              <a:t>Other customers might have lost and found apps or administrative apps – they don’t hesitate on those.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Lead with a POC for their app on VM</a:t>
            </a:r>
          </a:p>
          <a:p>
            <a:r>
              <a:rPr lang="en-US" sz="1200" kern="1200" dirty="0">
                <a:solidFill>
                  <a:schemeClr val="tx1"/>
                </a:solidFill>
                <a:effectLst/>
                <a:latin typeface="+mn-lt"/>
                <a:ea typeface="+mn-ea"/>
                <a:cs typeface="+mn-cs"/>
              </a:rPr>
              <a:t>If no appetite, then we go for a </a:t>
            </a:r>
            <a:r>
              <a:rPr lang="en-US" sz="1200" kern="1200" dirty="0" err="1">
                <a:solidFill>
                  <a:schemeClr val="tx1"/>
                </a:solidFill>
                <a:effectLst/>
                <a:latin typeface="+mn-lt"/>
                <a:ea typeface="+mn-ea"/>
                <a:cs typeface="+mn-cs"/>
              </a:rPr>
              <a:t>DevTest</a:t>
            </a:r>
            <a:r>
              <a:rPr lang="en-US" sz="1200" kern="1200" dirty="0">
                <a:solidFill>
                  <a:schemeClr val="tx1"/>
                </a:solidFill>
                <a:effectLst/>
                <a:latin typeface="+mn-lt"/>
                <a:ea typeface="+mn-ea"/>
                <a:cs typeface="+mn-cs"/>
              </a:rPr>
              <a:t> POC only</a:t>
            </a:r>
          </a:p>
          <a:p>
            <a:r>
              <a:rPr lang="en-US" sz="1200" kern="1200" dirty="0">
                <a:solidFill>
                  <a:schemeClr val="tx1"/>
                </a:solidFill>
                <a:effectLst/>
                <a:latin typeface="+mn-lt"/>
                <a:ea typeface="+mn-ea"/>
                <a:cs typeface="+mn-cs"/>
              </a:rPr>
              <a:t> </a:t>
            </a:r>
          </a:p>
          <a:p>
            <a:r>
              <a:rPr lang="en-US" sz="1200" kern="1200" dirty="0" err="1">
                <a:solidFill>
                  <a:schemeClr val="tx1"/>
                </a:solidFill>
                <a:effectLst/>
                <a:latin typeface="+mn-lt"/>
                <a:ea typeface="+mn-ea"/>
                <a:cs typeface="+mn-cs"/>
              </a:rPr>
              <a:t>DevTest</a:t>
            </a:r>
            <a:r>
              <a:rPr lang="en-US" sz="1200" kern="1200" dirty="0">
                <a:solidFill>
                  <a:schemeClr val="tx1"/>
                </a:solidFill>
                <a:effectLst/>
                <a:latin typeface="+mn-lt"/>
                <a:ea typeface="+mn-ea"/>
                <a:cs typeface="+mn-cs"/>
              </a:rPr>
              <a:t> labs is best with just VMs, but can add benefits in other scenario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Challenger: </a:t>
            </a:r>
          </a:p>
          <a:p>
            <a:r>
              <a:rPr lang="en-US" sz="1200" kern="1200" dirty="0">
                <a:solidFill>
                  <a:schemeClr val="tx1"/>
                </a:solidFill>
                <a:effectLst/>
                <a:latin typeface="+mn-lt"/>
                <a:ea typeface="+mn-ea"/>
                <a:cs typeface="+mn-cs"/>
              </a:rPr>
              <a:t>Do people realize that hours and days of deploying infrastructure – we have customers who are deploying in seconds</a:t>
            </a:r>
          </a:p>
          <a:p>
            <a:endParaRPr lang="en-US" dirty="0"/>
          </a:p>
        </p:txBody>
      </p:sp>
      <p:sp>
        <p:nvSpPr>
          <p:cNvPr id="4" name="Slide Number Placeholder 3"/>
          <p:cNvSpPr>
            <a:spLocks noGrp="1"/>
          </p:cNvSpPr>
          <p:nvPr>
            <p:ph type="sldNum" sz="quarter" idx="10"/>
          </p:nvPr>
        </p:nvSpPr>
        <p:spPr/>
        <p:txBody>
          <a:bodyPr/>
          <a:lstStyle/>
          <a:p>
            <a:fld id="{1DDFC2B6-5D76-4D7B-9ED3-4AF53D3E833D}" type="slidenum">
              <a:rPr lang="en-US" smtClean="0"/>
              <a:t>13</a:t>
            </a:fld>
            <a:endParaRPr lang="en-US"/>
          </a:p>
        </p:txBody>
      </p:sp>
    </p:spTree>
    <p:extLst>
      <p:ext uri="{BB962C8B-B14F-4D97-AF65-F5344CB8AC3E}">
        <p14:creationId xmlns:p14="http://schemas.microsoft.com/office/powerpoint/2010/main" val="59548411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6/18 10:2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383171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6/18 10:2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6573418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Worldwide Partner Conference 2016</a:t>
            </a: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6/18 10:20 A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611070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98D5BB-B127-481F-BC0A-2F77C576BB34}" type="slidenum">
              <a:rPr lang="en-US" smtClean="0"/>
              <a:t>85</a:t>
            </a:fld>
            <a:endParaRPr lang="en-US"/>
          </a:p>
        </p:txBody>
      </p:sp>
    </p:spTree>
    <p:extLst>
      <p:ext uri="{BB962C8B-B14F-4D97-AF65-F5344CB8AC3E}">
        <p14:creationId xmlns:p14="http://schemas.microsoft.com/office/powerpoint/2010/main" val="35401173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For site to be migrated from Windows Server it must be running on IIS. The minimum supported version of web server is Windows 2003 with IIS 6. This migrates IIS settings that are equivalent and applicable to Azure Web Apps and the websites contents, including the database if selected. The database must be a MS SQL 2005 or greater database. This maintains Virtual Directory and application settings (but will move them all under single application pool. It treats one Website as single entity residing in one application pool.</a:t>
            </a:r>
          </a:p>
          <a:p>
            <a:r>
              <a:rPr lang="en-US" sz="1200" b="0" i="0" kern="1200" dirty="0">
                <a:solidFill>
                  <a:schemeClr val="tx1"/>
                </a:solidFill>
                <a:effectLst/>
                <a:latin typeface="+mn-lt"/>
                <a:ea typeface="+mn-ea"/>
                <a:cs typeface="+mn-cs"/>
              </a:rPr>
              <a:t>Further considerations:</a:t>
            </a:r>
          </a:p>
          <a:p>
            <a:r>
              <a:rPr lang="en-US" sz="1200" b="0" i="0" kern="1200" dirty="0">
                <a:solidFill>
                  <a:schemeClr val="tx1"/>
                </a:solidFill>
                <a:effectLst/>
                <a:latin typeface="+mn-lt"/>
                <a:ea typeface="+mn-ea"/>
                <a:cs typeface="+mn-cs"/>
              </a:rPr>
              <a:t>Not recommended for very large databases (larger than 500 GB)</a:t>
            </a:r>
          </a:p>
          <a:p>
            <a:r>
              <a:rPr lang="en-US" sz="1200" b="0" i="0" kern="1200" dirty="0">
                <a:solidFill>
                  <a:schemeClr val="tx1"/>
                </a:solidFill>
                <a:effectLst/>
                <a:latin typeface="+mn-lt"/>
                <a:ea typeface="+mn-ea"/>
                <a:cs typeface="+mn-cs"/>
              </a:rPr>
              <a:t>Supports Azure AAD authentication using default directory for Azure Web Apps (useful when migrating Windows Authentication based Web Apps)</a:t>
            </a:r>
          </a:p>
          <a:p>
            <a:r>
              <a:rPr lang="en-US" sz="1200" b="0" i="0" kern="1200" dirty="0">
                <a:solidFill>
                  <a:schemeClr val="tx1"/>
                </a:solidFill>
                <a:effectLst/>
                <a:latin typeface="+mn-lt"/>
                <a:ea typeface="+mn-ea"/>
                <a:cs typeface="+mn-cs"/>
              </a:rPr>
              <a:t>Can be ran offline on IIS machine and results uploaded later</a:t>
            </a:r>
          </a:p>
          <a:p>
            <a:r>
              <a:rPr lang="en-US" sz="1200" b="0" i="0" kern="1200" dirty="0">
                <a:solidFill>
                  <a:schemeClr val="tx1"/>
                </a:solidFill>
                <a:effectLst/>
                <a:latin typeface="+mn-lt"/>
                <a:ea typeface="+mn-ea"/>
                <a:cs typeface="+mn-cs"/>
              </a:rPr>
              <a:t>Can be ran remotely from client machine that has access to IIS servers</a:t>
            </a:r>
          </a:p>
          <a:p>
            <a:r>
              <a:rPr lang="en-US" sz="1200" b="0" i="0" kern="1200" dirty="0">
                <a:solidFill>
                  <a:schemeClr val="tx1"/>
                </a:solidFill>
                <a:effectLst/>
                <a:latin typeface="+mn-lt"/>
                <a:ea typeface="+mn-ea"/>
                <a:cs typeface="+mn-cs"/>
              </a:rPr>
              <a:t>Can be ran from SCM machine and migrates multiple sites from, multiple IIS servers inside SCM</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350475-75AA-43EB-8200-AF68095DB2D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026637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DDFC2B6-5D76-4D7B-9ED3-4AF53D3E833D}" type="slidenum">
              <a:rPr lang="en-US" smtClean="0"/>
              <a:t>15</a:t>
            </a:fld>
            <a:endParaRPr lang="en-US"/>
          </a:p>
        </p:txBody>
      </p:sp>
    </p:spTree>
    <p:extLst>
      <p:ext uri="{BB962C8B-B14F-4D97-AF65-F5344CB8AC3E}">
        <p14:creationId xmlns:p14="http://schemas.microsoft.com/office/powerpoint/2010/main" val="20375113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DDFC2B6-5D76-4D7B-9ED3-4AF53D3E833D}" type="slidenum">
              <a:rPr lang="en-US" smtClean="0"/>
              <a:t>16</a:t>
            </a:fld>
            <a:endParaRPr lang="en-US"/>
          </a:p>
        </p:txBody>
      </p:sp>
    </p:spTree>
    <p:extLst>
      <p:ext uri="{BB962C8B-B14F-4D97-AF65-F5344CB8AC3E}">
        <p14:creationId xmlns:p14="http://schemas.microsoft.com/office/powerpoint/2010/main" val="38270621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a:t>
            </a:r>
            <a:r>
              <a:rPr lang="en-US" baseline="0" dirty="0"/>
              <a:t> Data Migration Assistant helps with the discovery and assessment stage, then the Migration Service is used to migrate the data, schema, etc. It works with SQL Server as well as Oracle and MySQL. </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6/18 10: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789616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1.bin"/></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2.emf"/><Relationship Id="rId1" Type="http://schemas.openxmlformats.org/officeDocument/2006/relationships/slideMaster" Target="../slideMasters/slideMaster1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9.emf"/><Relationship Id="rId1" Type="http://schemas.openxmlformats.org/officeDocument/2006/relationships/slideMaster" Target="../slideMasters/slideMaster1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9.emf"/><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2.emf"/><Relationship Id="rId1" Type="http://schemas.openxmlformats.org/officeDocument/2006/relationships/slideMaster" Target="../slideMasters/slideMaster1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Date</a:t>
            </a:r>
          </a:p>
        </p:txBody>
      </p:sp>
      <p:grpSp>
        <p:nvGrpSpPr>
          <p:cNvPr id="7" name="Group 6"/>
          <p:cNvGrpSpPr>
            <a:grpSpLocks noChangeAspect="1"/>
          </p:cNvGrpSpPr>
          <p:nvPr/>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mn-lt"/>
                <a:ea typeface="+mn-ea"/>
                <a:cs typeface="+mn-cs"/>
              </a:defRPr>
            </a:lvl1pPr>
          </a:lstStyle>
          <a:p>
            <a:r>
              <a:rPr lang="en-US"/>
              <a:t>Optional (City, State or venue)</a:t>
            </a:r>
          </a:p>
        </p:txBody>
      </p:sp>
    </p:spTree>
    <p:extLst>
      <p:ext uri="{BB962C8B-B14F-4D97-AF65-F5344CB8AC3E}">
        <p14:creationId xmlns:p14="http://schemas.microsoft.com/office/powerpoint/2010/main" val="20468739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71622"/>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6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Tree>
    <p:extLst>
      <p:ext uri="{BB962C8B-B14F-4D97-AF65-F5344CB8AC3E}">
        <p14:creationId xmlns:p14="http://schemas.microsoft.com/office/powerpoint/2010/main" val="168823143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82455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7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A2348ECF-26C5-46F7-AB4A-94957FAB561F}"/>
              </a:ext>
            </a:extLst>
          </p:cNvPr>
          <p:cNvSpPr>
            <a:spLocks noGrp="1"/>
          </p:cNvSpPr>
          <p:nvPr>
            <p:ph type="body" sz="quarter" idx="10"/>
          </p:nvPr>
        </p:nvSpPr>
        <p:spPr>
          <a:xfrm>
            <a:off x="269240" y="1189178"/>
            <a:ext cx="11653523" cy="2356691"/>
          </a:xfrm>
        </p:spPr>
        <p:txBody>
          <a:bodyPr>
            <a:spAutoFit/>
          </a:bodyPr>
          <a:lstStyle>
            <a:lvl1pPr>
              <a:lnSpc>
                <a:spcPct val="95000"/>
              </a:lnSpc>
              <a:spcBef>
                <a:spcPts val="588"/>
              </a:spcBef>
              <a:spcAft>
                <a:spcPts val="588"/>
              </a:spcAft>
              <a:defRPr sz="3528">
                <a:solidFill>
                  <a:schemeClr val="bg1"/>
                </a:solidFill>
              </a:defRPr>
            </a:lvl1pPr>
            <a:lvl2pPr>
              <a:lnSpc>
                <a:spcPct val="95000"/>
              </a:lnSpc>
              <a:spcBef>
                <a:spcPts val="588"/>
              </a:spcBef>
              <a:spcAft>
                <a:spcPts val="588"/>
              </a:spcAft>
              <a:defRPr>
                <a:solidFill>
                  <a:schemeClr val="bg1"/>
                </a:solidFill>
              </a:defRPr>
            </a:lvl2pPr>
            <a:lvl3pPr>
              <a:lnSpc>
                <a:spcPct val="95000"/>
              </a:lnSpc>
              <a:spcBef>
                <a:spcPts val="588"/>
              </a:spcBef>
              <a:spcAft>
                <a:spcPts val="588"/>
              </a:spcAft>
              <a:defRPr>
                <a:solidFill>
                  <a:schemeClr val="bg1"/>
                </a:solidFill>
              </a:defRPr>
            </a:lvl3pPr>
            <a:lvl4pPr>
              <a:lnSpc>
                <a:spcPct val="95000"/>
              </a:lnSpc>
              <a:spcBef>
                <a:spcPts val="588"/>
              </a:spcBef>
              <a:spcAft>
                <a:spcPts val="588"/>
              </a:spcAft>
              <a:defRPr>
                <a:solidFill>
                  <a:schemeClr val="bg1"/>
                </a:solidFill>
              </a:defRPr>
            </a:lvl4pPr>
            <a:lvl5pPr>
              <a:lnSpc>
                <a:spcPct val="95000"/>
              </a:lnSpc>
              <a:spcBef>
                <a:spcPts val="588"/>
              </a:spcBef>
              <a:spcAft>
                <a:spcPts val="588"/>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514448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81917"/>
          </a:xfrm>
        </p:spPr>
        <p:txBody>
          <a:bodyPr wrap="square">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2007731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600" kern="1200" cap="all" spc="300" dirty="0">
                <a:solidFill>
                  <a:srgbClr val="0078D7"/>
                </a:solidFill>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53638285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417259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Title Slide - Microsoft">
    <p:bg>
      <p:bgRef idx="1001">
        <a:schemeClr val="bg2"/>
      </p:bgRef>
    </p:bg>
    <p:spTree>
      <p:nvGrpSpPr>
        <p:cNvPr id="1" name=""/>
        <p:cNvGrpSpPr/>
        <p:nvPr/>
      </p:nvGrpSpPr>
      <p:grpSpPr>
        <a:xfrm>
          <a:off x="0" y="0"/>
          <a:ext cx="0" cy="0"/>
          <a:chOff x="0" y="0"/>
          <a:chExt cx="0" cy="0"/>
        </a:xfrm>
      </p:grpSpPr>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2629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4274593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Half phot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52F6E38-3824-48BC-A9EC-2254A8A734FE}"/>
              </a:ext>
            </a:extLst>
          </p:cNvPr>
          <p:cNvSpPr/>
          <p:nvPr userDrawn="1"/>
        </p:nvSpPr>
        <p:spPr bwMode="auto">
          <a:xfrm>
            <a:off x="0" y="0"/>
            <a:ext cx="6091238" cy="68580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6" name="Picture Placeholder 5">
            <a:extLst>
              <a:ext uri="{FF2B5EF4-FFF2-40B4-BE49-F238E27FC236}">
                <a16:creationId xmlns:a16="http://schemas.microsoft.com/office/drawing/2014/main" id="{F21779E6-0990-4309-B89D-4F74AFB21E49}"/>
              </a:ext>
            </a:extLst>
          </p:cNvPr>
          <p:cNvSpPr>
            <a:spLocks noGrp="1"/>
          </p:cNvSpPr>
          <p:nvPr>
            <p:ph type="pic" sz="quarter" idx="10"/>
          </p:nvPr>
        </p:nvSpPr>
        <p:spPr>
          <a:xfrm>
            <a:off x="0" y="0"/>
            <a:ext cx="6091238" cy="735123"/>
          </a:xfrm>
        </p:spPr>
        <p:txBody>
          <a:bodyPr/>
          <a:lstStyle/>
          <a:p>
            <a:endParaRPr lang="en-US"/>
          </a:p>
        </p:txBody>
      </p:sp>
      <p:sp>
        <p:nvSpPr>
          <p:cNvPr id="2" name="Title 1">
            <a:extLst>
              <a:ext uri="{FF2B5EF4-FFF2-40B4-BE49-F238E27FC236}">
                <a16:creationId xmlns:a16="http://schemas.microsoft.com/office/drawing/2014/main" id="{FC399A4E-A611-49AC-AC72-6257819D2BFA}"/>
              </a:ext>
            </a:extLst>
          </p:cNvPr>
          <p:cNvSpPr>
            <a:spLocks noGrp="1"/>
          </p:cNvSpPr>
          <p:nvPr>
            <p:ph type="title"/>
          </p:nvPr>
        </p:nvSpPr>
        <p:spPr>
          <a:xfrm>
            <a:off x="480583" y="2784409"/>
            <a:ext cx="5130074" cy="1289183"/>
          </a:xfrm>
        </p:spPr>
        <p:txBody>
          <a:bodyPr vert="horz" wrap="square" lIns="146304" tIns="91440" rIns="146304" bIns="91440" rtlCol="0" anchor="ctr" anchorCtr="0">
            <a:spAutoFit/>
          </a:bodyPr>
          <a:lstStyle>
            <a:lvl1pPr>
              <a:defRPr lang="en-US" sz="3600" kern="1200" cap="all" spc="300" dirty="0">
                <a:solidFill>
                  <a:schemeClr val="bg1"/>
                </a:solidFill>
                <a:latin typeface="Segoe UI Semilight" charset="0"/>
                <a:ea typeface="Segoe UI Semilight" charset="0"/>
                <a:cs typeface="Segoe UI Semilight" charset="0"/>
              </a:defRPr>
            </a:lvl1pPr>
          </a:lstStyle>
          <a:p>
            <a:pPr marL="0" lvl="0">
              <a:lnSpc>
                <a:spcPct val="100000"/>
              </a:lnSpc>
            </a:pPr>
            <a:r>
              <a:rPr lang="en-US"/>
              <a:t>Click to edit Master title style</a:t>
            </a:r>
          </a:p>
        </p:txBody>
      </p:sp>
    </p:spTree>
    <p:extLst>
      <p:ext uri="{BB962C8B-B14F-4D97-AF65-F5344CB8AC3E}">
        <p14:creationId xmlns:p14="http://schemas.microsoft.com/office/powerpoint/2010/main" val="3522810856"/>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1881188"/>
            <a:ext cx="4770845" cy="1212640"/>
          </a:xfrm>
        </p:spPr>
        <p:txBody>
          <a:bodyPr/>
          <a:lstStyle>
            <a:lvl1pPr marL="0" indent="0">
              <a:lnSpc>
                <a:spcPct val="100000"/>
              </a:lnSpc>
              <a:spcBef>
                <a:spcPts val="1400"/>
              </a:spcBef>
              <a:buFont typeface="Arial" panose="020B0604020202020204" pitchFamily="34" charset="0"/>
              <a:buNone/>
              <a:defRPr lang="en-US" sz="1400" kern="1200" spc="100" dirty="0" smtClean="0">
                <a:solidFill>
                  <a:schemeClr val="bg1"/>
                </a:solidFill>
                <a:latin typeface="Segoe UI Semilight" charset="0"/>
                <a:ea typeface="Segoe UI Semilight" charset="0"/>
                <a:cs typeface="Segoe UI Semilight" charset="0"/>
              </a:defRPr>
            </a:lvl1pPr>
            <a:lvl2pPr marL="336080" indent="0">
              <a:buFont typeface="Arial" panose="020B0604020202020204" pitchFamily="34" charset="0"/>
              <a:buNone/>
              <a:defRPr sz="1400">
                <a:solidFill>
                  <a:schemeClr val="bg1"/>
                </a:solidFill>
              </a:defRPr>
            </a:lvl2pPr>
            <a:lvl3pPr marL="560134" indent="0">
              <a:buFont typeface="Arial" panose="020B0604020202020204" pitchFamily="34" charset="0"/>
              <a:buNone/>
              <a:defRPr sz="1200">
                <a:solidFill>
                  <a:schemeClr val="bg1"/>
                </a:solidFill>
              </a:defRPr>
            </a:lvl3pPr>
            <a:lvl4pPr marL="784187" indent="0">
              <a:buFont typeface="Arial" panose="020B0604020202020204" pitchFamily="34" charset="0"/>
              <a:buNone/>
              <a:defRPr sz="1100">
                <a:solidFill>
                  <a:schemeClr val="bg1"/>
                </a:solidFill>
              </a:defRPr>
            </a:lvl4pPr>
            <a:lvl5pPr marL="1008241" indent="0">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99500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1095199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E9C9A30-AF21-4061-AAF7-F1550C0E2120}"/>
              </a:ext>
            </a:extLst>
          </p:cNvPr>
          <p:cNvSpPr>
            <a:spLocks noGrp="1"/>
          </p:cNvSpPr>
          <p:nvPr>
            <p:ph type="pic" sz="quarter" idx="10"/>
          </p:nvPr>
        </p:nvSpPr>
        <p:spPr>
          <a:xfrm>
            <a:off x="6096000" y="-3821"/>
            <a:ext cx="6095999" cy="735123"/>
          </a:xfrm>
        </p:spPr>
        <p:txBody>
          <a:bodyPr/>
          <a:lstStyle/>
          <a:p>
            <a:endParaRPr lang="en-US"/>
          </a:p>
        </p:txBody>
      </p:sp>
      <p:sp>
        <p:nvSpPr>
          <p:cNvPr id="9" name="Text Placeholder 8">
            <a:extLst>
              <a:ext uri="{FF2B5EF4-FFF2-40B4-BE49-F238E27FC236}">
                <a16:creationId xmlns:a16="http://schemas.microsoft.com/office/drawing/2014/main" id="{852BF53E-A85C-4215-A542-5CFED282A83B}"/>
              </a:ext>
            </a:extLst>
          </p:cNvPr>
          <p:cNvSpPr>
            <a:spLocks noGrp="1"/>
          </p:cNvSpPr>
          <p:nvPr>
            <p:ph type="body" sz="quarter" idx="11"/>
          </p:nvPr>
        </p:nvSpPr>
        <p:spPr>
          <a:xfrm>
            <a:off x="269242" y="2045659"/>
            <a:ext cx="4763234" cy="1428083"/>
          </a:xfrm>
        </p:spPr>
        <p:txBody>
          <a:bodyPr/>
          <a:lstStyle>
            <a:lvl1pPr marL="0" indent="0">
              <a:lnSpc>
                <a:spcPct val="100000"/>
              </a:lnSpc>
              <a:buNone/>
              <a:defRPr lang="en-US" sz="1600" b="1" kern="1200" dirty="0" smtClean="0">
                <a:ln w="3175">
                  <a:noFill/>
                </a:ln>
                <a:solidFill>
                  <a:srgbClr val="0078D7"/>
                </a:solidFill>
                <a:latin typeface="Segoe UI Semibold" charset="0"/>
                <a:ea typeface="+mn-ea"/>
                <a:cs typeface="Segoe UI Semibold" charset="0"/>
              </a:defRPr>
            </a:lvl1pPr>
            <a:lvl2pPr marL="287283" indent="-285695">
              <a:lnSpc>
                <a:spcPct val="100000"/>
              </a:lnSpc>
              <a:buClr>
                <a:schemeClr val="tx2"/>
              </a:buClr>
              <a:buFont typeface="Arial" panose="020B0604020202020204" pitchFamily="34" charset="0"/>
              <a:buChar char="•"/>
              <a:defRPr lang="en-US" sz="1600" kern="1200" dirty="0" smtClean="0">
                <a:solidFill>
                  <a:srgbClr val="505050"/>
                </a:solidFill>
                <a:latin typeface="+mj-lt"/>
                <a:ea typeface="+mn-ea"/>
                <a:cs typeface="Segoe UI" panose="020B0502040204020203" pitchFamily="34" charset="0"/>
              </a:defRPr>
            </a:lvl2pPr>
            <a:lvl3pPr marL="569803" indent="-223795">
              <a:lnSpc>
                <a:spcPct val="100000"/>
              </a:lnSpc>
              <a:buClr>
                <a:schemeClr val="tx2"/>
              </a:buClr>
              <a:defRPr sz="1400"/>
            </a:lvl3pPr>
            <a:lvl4pPr marL="914225" indent="-223795">
              <a:lnSpc>
                <a:spcPct val="100000"/>
              </a:lnSpc>
              <a:buClr>
                <a:schemeClr val="tx2"/>
              </a:buClr>
              <a:defRPr sz="1200"/>
            </a:lvl4pPr>
            <a:lvl5pPr>
              <a:lnSpc>
                <a:spcPct val="100000"/>
              </a:lnSpc>
              <a:buClr>
                <a:schemeClr val="tx2"/>
              </a:buCl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a:extLst>
              <a:ext uri="{FF2B5EF4-FFF2-40B4-BE49-F238E27FC236}">
                <a16:creationId xmlns:a16="http://schemas.microsoft.com/office/drawing/2014/main" id="{FC24F05B-D917-43E9-8B6D-60449CCE91CD}"/>
              </a:ext>
            </a:extLst>
          </p:cNvPr>
          <p:cNvSpPr>
            <a:spLocks noGrp="1"/>
          </p:cNvSpPr>
          <p:nvPr>
            <p:ph type="title"/>
          </p:nvPr>
        </p:nvSpPr>
        <p:spPr>
          <a:xfrm>
            <a:off x="269241" y="289512"/>
            <a:ext cx="4950459" cy="899665"/>
          </a:xfrm>
        </p:spPr>
        <p:txBody>
          <a:bodyPr/>
          <a:lstStyle>
            <a:lvl1pPr>
              <a:defRPr sz="2800" spc="500" baseline="0">
                <a:solidFill>
                  <a:schemeClr val="tx2"/>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spTree>
    <p:extLst>
      <p:ext uri="{BB962C8B-B14F-4D97-AF65-F5344CB8AC3E}">
        <p14:creationId xmlns:p14="http://schemas.microsoft.com/office/powerpoint/2010/main" val="27126775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600" kern="1200" cap="all" spc="300" dirty="0">
                <a:solidFill>
                  <a:srgbClr val="0078D7"/>
                </a:solidFill>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46952342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370191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604121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472714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6562287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034092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106222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7891828"/>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606853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569751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04425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0533656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500" baseline="0">
                <a:solidFill>
                  <a:schemeClr val="tx2"/>
                </a:solidFill>
                <a:latin typeface="+mj-lt"/>
              </a:defRPr>
            </a:lvl1pPr>
          </a:lstStyle>
          <a:p>
            <a:r>
              <a:rPr lang="en-US"/>
              <a:t>Section title</a:t>
            </a:r>
          </a:p>
        </p:txBody>
      </p:sp>
    </p:spTree>
    <p:extLst>
      <p:ext uri="{BB962C8B-B14F-4D97-AF65-F5344CB8AC3E}">
        <p14:creationId xmlns:p14="http://schemas.microsoft.com/office/powerpoint/2010/main" val="177857154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092852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7356835"/>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75489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83252"/>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363198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6" name="Text Box 3">
            <a:extLst>
              <a:ext uri="{FF2B5EF4-FFF2-40B4-BE49-F238E27FC236}">
                <a16:creationId xmlns:a16="http://schemas.microsoft.com/office/drawing/2014/main" id="{47F4D791-9F50-40E5-9CA8-87A272B297C7}"/>
              </a:ext>
            </a:extLst>
          </p:cNvPr>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7" name="Picture 6">
            <a:extLst>
              <a:ext uri="{FF2B5EF4-FFF2-40B4-BE49-F238E27FC236}">
                <a16:creationId xmlns:a16="http://schemas.microsoft.com/office/drawing/2014/main" id="{8AEF9AA7-BD29-4A18-82C0-68A9D38AF5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34136771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9325718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amp; Content Layou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lIns="150602" tIns="120481" rIns="150602" bIns="120481"/>
          <a:lstStyle/>
          <a:p>
            <a:r>
              <a:rPr lang="en-US"/>
              <a:t>Click to edit Master title style</a:t>
            </a:r>
          </a:p>
        </p:txBody>
      </p:sp>
      <p:sp>
        <p:nvSpPr>
          <p:cNvPr id="5" name="Text Placeholder 4"/>
          <p:cNvSpPr>
            <a:spLocks noGrp="1"/>
          </p:cNvSpPr>
          <p:nvPr>
            <p:ph type="body" sz="quarter" idx="10"/>
          </p:nvPr>
        </p:nvSpPr>
        <p:spPr>
          <a:xfrm>
            <a:off x="269240" y="1635898"/>
            <a:ext cx="11653523" cy="2059838"/>
          </a:xfrm>
          <a:prstGeom prst="rect">
            <a:avLst/>
          </a:prstGeom>
        </p:spPr>
        <p:txBody>
          <a:bodyPr lIns="150602" tIns="120481" rIns="150602" bIns="120481"/>
          <a:lstStyle>
            <a:lvl1pPr>
              <a:defRPr>
                <a:solidFill>
                  <a:srgbClr val="00B0F0"/>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0502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051">
          <p15:clr>
            <a:srgbClr val="FBAE40"/>
          </p15:clr>
        </p15:guide>
        <p15:guide id="2" pos="391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76560542"/>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033"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8"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pic>
        <p:nvPicPr>
          <p:cNvPr id="3" name="Picture 2" descr="WinAzure_rgb_Wht_S.png"/>
          <p:cNvPicPr>
            <a:picLocks noChangeAspect="1"/>
          </p:cNvPicPr>
          <p:nvPr userDrawn="1"/>
        </p:nvPicPr>
        <p:blipFill>
          <a:blip r:embed="rId6" cstate="print">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58903" y="6297934"/>
            <a:ext cx="1703188" cy="408657"/>
          </a:xfrm>
          <a:prstGeom prst="rect">
            <a:avLst/>
          </a:prstGeom>
        </p:spPr>
      </p:pic>
      <p:sp>
        <p:nvSpPr>
          <p:cNvPr id="7" name="Slide Number Placeholder 6"/>
          <p:cNvSpPr>
            <a:spLocks noGrp="1"/>
          </p:cNvSpPr>
          <p:nvPr>
            <p:ph type="sldNum" sz="quarter" idx="4"/>
          </p:nvPr>
        </p:nvSpPr>
        <p:spPr>
          <a:xfrm>
            <a:off x="8737029" y="6356803"/>
            <a:ext cx="2844904" cy="364224"/>
          </a:xfrm>
          <a:prstGeom prst="rect">
            <a:avLst/>
          </a:prstGeom>
        </p:spPr>
        <p:txBody>
          <a:bodyPr vert="horz" lIns="91432" tIns="45715" rIns="91432" bIns="45715" rtlCol="0" anchor="ctr"/>
          <a:lstStyle>
            <a:lvl1pPr algn="r">
              <a:defRPr sz="735">
                <a:solidFill>
                  <a:schemeClr val="tx1">
                    <a:tint val="75000"/>
                  </a:schemeClr>
                </a:solidFill>
              </a:defRPr>
            </a:lvl1pPr>
          </a:lstStyle>
          <a:p>
            <a:pPr defTabSz="685202"/>
            <a:fld id="{FFB82908-4842-4340-9D73-01C813DDC308}" type="slidenum">
              <a:rPr lang="en-US" smtClean="0">
                <a:solidFill>
                  <a:srgbClr val="505050">
                    <a:tint val="75000"/>
                  </a:srgbClr>
                </a:solidFill>
              </a:rPr>
              <a:pPr defTabSz="685202"/>
              <a:t>‹#›</a:t>
            </a:fld>
            <a:endParaRPr lang="en-US">
              <a:solidFill>
                <a:srgbClr val="505050">
                  <a:tint val="75000"/>
                </a:srgbClr>
              </a:solidFill>
            </a:endParaRPr>
          </a:p>
        </p:txBody>
      </p:sp>
    </p:spTree>
    <p:extLst>
      <p:ext uri="{BB962C8B-B14F-4D97-AF65-F5344CB8AC3E}">
        <p14:creationId xmlns:p14="http://schemas.microsoft.com/office/powerpoint/2010/main" val="922285883"/>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98CC98-9561-468F-ABAF-3D654AB6227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1706A87-2728-4407-8D4D-2E5A43B81C2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6546F1D-19D6-49AC-871D-733BC11415BA}"/>
              </a:ext>
            </a:extLst>
          </p:cNvPr>
          <p:cNvSpPr>
            <a:spLocks noGrp="1"/>
          </p:cNvSpPr>
          <p:nvPr>
            <p:ph type="dt" sz="half" idx="10"/>
          </p:nvPr>
        </p:nvSpPr>
        <p:spPr/>
        <p:txBody>
          <a:bodyPr/>
          <a:lstStyle/>
          <a:p>
            <a:fld id="{8063D5CA-E039-4AB7-A5A4-23EF12AD3BDE}" type="datetimeFigureOut">
              <a:rPr lang="en-US" smtClean="0"/>
              <a:t>10/16/18</a:t>
            </a:fld>
            <a:endParaRPr lang="en-US"/>
          </a:p>
        </p:txBody>
      </p:sp>
      <p:sp>
        <p:nvSpPr>
          <p:cNvPr id="5" name="Footer Placeholder 4">
            <a:extLst>
              <a:ext uri="{FF2B5EF4-FFF2-40B4-BE49-F238E27FC236}">
                <a16:creationId xmlns:a16="http://schemas.microsoft.com/office/drawing/2014/main" id="{9AAE4AAD-101D-4069-992B-F1BAD205AA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C5E74C-C9DD-439A-BA56-5729C56A1583}"/>
              </a:ext>
            </a:extLst>
          </p:cNvPr>
          <p:cNvSpPr>
            <a:spLocks noGrp="1"/>
          </p:cNvSpPr>
          <p:nvPr>
            <p:ph type="sldNum" sz="quarter" idx="12"/>
          </p:nvPr>
        </p:nvSpPr>
        <p:spPr/>
        <p:txBody>
          <a:bodyPr/>
          <a:lstStyle/>
          <a:p>
            <a:fld id="{02F2AD54-5057-4BA6-A491-F95923CD09DE}" type="slidenum">
              <a:rPr lang="en-US" smtClean="0"/>
              <a:t>‹#›</a:t>
            </a:fld>
            <a:endParaRPr lang="en-US"/>
          </a:p>
        </p:txBody>
      </p:sp>
    </p:spTree>
    <p:extLst>
      <p:ext uri="{BB962C8B-B14F-4D97-AF65-F5344CB8AC3E}">
        <p14:creationId xmlns:p14="http://schemas.microsoft.com/office/powerpoint/2010/main" val="428891705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0877212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67255F4-7C58-4BBA-A3F5-26B4C4AB0335}" type="datetimeFigureOut">
              <a:rPr lang="en-US" smtClean="0">
                <a:solidFill>
                  <a:srgbClr val="000000">
                    <a:tint val="75000"/>
                  </a:srgbClr>
                </a:solidFill>
              </a:rPr>
              <a:pPr/>
              <a:t>10/16/18</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A4BE7A9A-2538-4781-A015-FF1A92A0C2A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51757655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6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Tree>
    <p:extLst>
      <p:ext uri="{BB962C8B-B14F-4D97-AF65-F5344CB8AC3E}">
        <p14:creationId xmlns:p14="http://schemas.microsoft.com/office/powerpoint/2010/main" val="135677940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7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A2348ECF-26C5-46F7-AB4A-94957FAB561F}"/>
              </a:ext>
            </a:extLst>
          </p:cNvPr>
          <p:cNvSpPr>
            <a:spLocks noGrp="1"/>
          </p:cNvSpPr>
          <p:nvPr>
            <p:ph type="body" sz="quarter" idx="10"/>
          </p:nvPr>
        </p:nvSpPr>
        <p:spPr>
          <a:xfrm>
            <a:off x="269240" y="1189178"/>
            <a:ext cx="11653523" cy="2356691"/>
          </a:xfrm>
        </p:spPr>
        <p:txBody>
          <a:bodyPr>
            <a:spAutoFit/>
          </a:bodyPr>
          <a:lstStyle>
            <a:lvl1pPr>
              <a:lnSpc>
                <a:spcPct val="95000"/>
              </a:lnSpc>
              <a:spcBef>
                <a:spcPts val="588"/>
              </a:spcBef>
              <a:spcAft>
                <a:spcPts val="588"/>
              </a:spcAft>
              <a:defRPr sz="3528">
                <a:solidFill>
                  <a:schemeClr val="bg1"/>
                </a:solidFill>
              </a:defRPr>
            </a:lvl1pPr>
            <a:lvl2pPr>
              <a:lnSpc>
                <a:spcPct val="95000"/>
              </a:lnSpc>
              <a:spcBef>
                <a:spcPts val="588"/>
              </a:spcBef>
              <a:spcAft>
                <a:spcPts val="588"/>
              </a:spcAft>
              <a:defRPr>
                <a:solidFill>
                  <a:schemeClr val="bg1"/>
                </a:solidFill>
              </a:defRPr>
            </a:lvl2pPr>
            <a:lvl3pPr>
              <a:lnSpc>
                <a:spcPct val="95000"/>
              </a:lnSpc>
              <a:spcBef>
                <a:spcPts val="588"/>
              </a:spcBef>
              <a:spcAft>
                <a:spcPts val="588"/>
              </a:spcAft>
              <a:defRPr>
                <a:solidFill>
                  <a:schemeClr val="bg1"/>
                </a:solidFill>
              </a:defRPr>
            </a:lvl3pPr>
            <a:lvl4pPr>
              <a:lnSpc>
                <a:spcPct val="95000"/>
              </a:lnSpc>
              <a:spcBef>
                <a:spcPts val="588"/>
              </a:spcBef>
              <a:spcAft>
                <a:spcPts val="588"/>
              </a:spcAft>
              <a:defRPr>
                <a:solidFill>
                  <a:schemeClr val="bg1"/>
                </a:solidFill>
              </a:defRPr>
            </a:lvl4pPr>
            <a:lvl5pPr>
              <a:lnSpc>
                <a:spcPct val="95000"/>
              </a:lnSpc>
              <a:spcBef>
                <a:spcPts val="588"/>
              </a:spcBef>
              <a:spcAft>
                <a:spcPts val="588"/>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8571753"/>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81917"/>
          </a:xfrm>
        </p:spPr>
        <p:txBody>
          <a:bodyPr wrap="square">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9256645"/>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74639" y="355826"/>
            <a:ext cx="11642721" cy="1316945"/>
          </a:xfrm>
        </p:spPr>
        <p:txBody>
          <a:bodyPr/>
          <a:lstStyle/>
          <a:p>
            <a:r>
              <a:rPr lang="en-US" dirty="0"/>
              <a:t>Click to edit Master title style</a:t>
            </a:r>
          </a:p>
        </p:txBody>
      </p:sp>
      <p:sp>
        <p:nvSpPr>
          <p:cNvPr id="3" name="Rectangle 2"/>
          <p:cNvSpPr/>
          <p:nvPr userDrawn="1"/>
        </p:nvSpPr>
        <p:spPr>
          <a:xfrm>
            <a:off x="0" y="1984829"/>
            <a:ext cx="12192000" cy="4873171"/>
          </a:xfrm>
          <a:prstGeom prst="rect">
            <a:avLst/>
          </a:prstGeom>
          <a:solidFill>
            <a:srgbClr val="0078D7">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 name="Rectangle 3">
            <a:extLst>
              <a:ext uri="{FF2B5EF4-FFF2-40B4-BE49-F238E27FC236}">
                <a16:creationId xmlns:a16="http://schemas.microsoft.com/office/drawing/2014/main" id="{3CBAB0C0-1421-4CF2-96C0-B3D867F59D26}"/>
              </a:ext>
            </a:extLst>
          </p:cNvPr>
          <p:cNvSpPr/>
          <p:nvPr userDrawn="1"/>
        </p:nvSpPr>
        <p:spPr>
          <a:xfrm>
            <a:off x="0" y="1984829"/>
            <a:ext cx="4837797" cy="4873171"/>
          </a:xfrm>
          <a:prstGeom prst="rect">
            <a:avLst/>
          </a:prstGeom>
          <a:solidFill>
            <a:srgbClr val="0078D7"/>
          </a:solidFill>
          <a:ln w="12700" cap="flat" cmpd="sng" algn="ctr">
            <a:noFill/>
            <a:prstDash val="solid"/>
            <a:miter lim="800000"/>
          </a:ln>
          <a:effectLst/>
        </p:spPr>
        <p:txBody>
          <a:bodyPr rtlCol="0" anchor="ctr"/>
          <a:lstStyle/>
          <a:p>
            <a:pPr algn="ctr">
              <a:defRPr/>
            </a:pPr>
            <a:endParaRPr lang="en-US" kern="0" dirty="0">
              <a:solidFill>
                <a:srgbClr val="FFFFFF"/>
              </a:solidFill>
              <a:latin typeface="Calibri" panose="020F0502020204030204"/>
            </a:endParaRPr>
          </a:p>
        </p:txBody>
      </p:sp>
      <p:sp>
        <p:nvSpPr>
          <p:cNvPr id="7" name="Text Placeholder 6">
            <a:extLst>
              <a:ext uri="{FF2B5EF4-FFF2-40B4-BE49-F238E27FC236}">
                <a16:creationId xmlns:a16="http://schemas.microsoft.com/office/drawing/2014/main" id="{B41548F6-765D-43DC-A825-2E3FD3751E47}"/>
              </a:ext>
            </a:extLst>
          </p:cNvPr>
          <p:cNvSpPr>
            <a:spLocks noGrp="1"/>
          </p:cNvSpPr>
          <p:nvPr>
            <p:ph type="body" sz="quarter" idx="10"/>
          </p:nvPr>
        </p:nvSpPr>
        <p:spPr>
          <a:xfrm>
            <a:off x="274638" y="2357133"/>
            <a:ext cx="3358577" cy="3434786"/>
          </a:xfrm>
        </p:spPr>
        <p:txBody>
          <a:bodyPr>
            <a:noAutofit/>
          </a:bodyPr>
          <a:lstStyle>
            <a:lvl1pPr marL="0" indent="0">
              <a:spcBef>
                <a:spcPts val="1800"/>
              </a:spcBef>
              <a:buNone/>
              <a:defRPr sz="2000">
                <a:solidFill>
                  <a:schemeClr val="bg1"/>
                </a:solidFill>
                <a:latin typeface="Segoe UI Semilight" panose="020B0402040204020203" pitchFamily="34" charset="0"/>
                <a:cs typeface="Segoe UI Semilight" panose="020B0402040204020203" pitchFamily="34" charset="0"/>
              </a:defRPr>
            </a:lvl1pPr>
            <a:lvl2pPr marL="457200" indent="0">
              <a:buNone/>
              <a:defRPr sz="1800">
                <a:solidFill>
                  <a:schemeClr val="bg1"/>
                </a:solidFill>
                <a:latin typeface="Segoe UI Semilight" panose="020B0402040204020203" pitchFamily="34" charset="0"/>
                <a:cs typeface="Segoe UI Semilight" panose="020B0402040204020203" pitchFamily="34" charset="0"/>
              </a:defRPr>
            </a:lvl2pPr>
            <a:lvl3pPr marL="914400" indent="0">
              <a:buNone/>
              <a:defRPr sz="1600">
                <a:solidFill>
                  <a:schemeClr val="bg1"/>
                </a:solidFill>
                <a:latin typeface="Segoe UI Semilight" panose="020B0402040204020203" pitchFamily="34" charset="0"/>
                <a:cs typeface="Segoe UI Semilight" panose="020B0402040204020203" pitchFamily="34" charset="0"/>
              </a:defRPr>
            </a:lvl3pPr>
            <a:lvl4pPr marL="1371600" indent="0">
              <a:buNone/>
              <a:defRPr sz="1400">
                <a:solidFill>
                  <a:schemeClr val="bg1"/>
                </a:solidFill>
                <a:latin typeface="Segoe UI Semilight" panose="020B0402040204020203" pitchFamily="34" charset="0"/>
                <a:cs typeface="Segoe UI Semilight" panose="020B0402040204020203" pitchFamily="34" charset="0"/>
              </a:defRPr>
            </a:lvl4pPr>
            <a:lvl5pPr marL="1828800" indent="0">
              <a:buNone/>
              <a:defRPr sz="1400">
                <a:solidFill>
                  <a:schemeClr val="bg1"/>
                </a:solidFill>
                <a:latin typeface="Segoe UI Semilight" panose="020B0402040204020203" pitchFamily="34" charset="0"/>
                <a:cs typeface="Segoe UI Semilight" panose="020B04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1060935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itle square photo">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349" y="0"/>
            <a:ext cx="6857651" cy="6858000"/>
          </a:xfrm>
          <a:prstGeom prst="rect">
            <a:avLst/>
          </a:prstGeom>
        </p:spPr>
      </p:pic>
    </p:spTree>
    <p:extLst>
      <p:ext uri="{BB962C8B-B14F-4D97-AF65-F5344CB8AC3E}">
        <p14:creationId xmlns:p14="http://schemas.microsoft.com/office/powerpoint/2010/main" val="2602285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3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Title Slide - Microsoft">
    <p:bg>
      <p:bgRef idx="1001">
        <a:schemeClr val="bg2"/>
      </p:bgRef>
    </p:bg>
    <p:spTree>
      <p:nvGrpSpPr>
        <p:cNvPr id="1" name=""/>
        <p:cNvGrpSpPr/>
        <p:nvPr/>
      </p:nvGrpSpPr>
      <p:grpSpPr>
        <a:xfrm>
          <a:off x="0" y="0"/>
          <a:ext cx="0" cy="0"/>
          <a:chOff x="0" y="0"/>
          <a:chExt cx="0" cy="0"/>
        </a:xfrm>
      </p:grpSpPr>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533751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945973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2521552"/>
            <a:ext cx="9423291" cy="3595546"/>
          </a:xfrm>
          <a:noFill/>
        </p:spPr>
        <p:txBody>
          <a:bodyPr lIns="146304" tIns="0" rIns="0" bIns="91440" anchor="t" anchorCtr="0"/>
          <a:lstStyle>
            <a:lvl1pPr>
              <a:defRPr sz="5293" spc="-98" baseline="0">
                <a:solidFill>
                  <a:schemeClr val="tx1"/>
                </a:solidFill>
              </a:defRPr>
            </a:lvl1pPr>
          </a:lstStyle>
          <a:p>
            <a:r>
              <a:rPr lang="en-US"/>
              <a:t>Lorem ipsum</a:t>
            </a:r>
          </a:p>
        </p:txBody>
      </p:sp>
    </p:spTree>
    <p:extLst>
      <p:ext uri="{BB962C8B-B14F-4D97-AF65-F5344CB8AC3E}">
        <p14:creationId xmlns:p14="http://schemas.microsoft.com/office/powerpoint/2010/main" val="289526232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E00144-2186-7A43-B9FE-A9213D1835F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13A4038-84AA-F849-8A1F-8B9C90C775C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E6BB272-6091-D342-8B9E-CE4BC236205C}"/>
              </a:ext>
            </a:extLst>
          </p:cNvPr>
          <p:cNvSpPr>
            <a:spLocks noGrp="1"/>
          </p:cNvSpPr>
          <p:nvPr>
            <p:ph type="dt" sz="half" idx="10"/>
          </p:nvPr>
        </p:nvSpPr>
        <p:spPr/>
        <p:txBody>
          <a:bodyPr/>
          <a:lstStyle/>
          <a:p>
            <a:fld id="{EFE36A07-46FC-4E71-A304-E2131C14BD2E}" type="datetimeFigureOut">
              <a:rPr lang="en-US" smtClean="0"/>
              <a:t>10/16/18</a:t>
            </a:fld>
            <a:endParaRPr lang="en-US"/>
          </a:p>
        </p:txBody>
      </p:sp>
      <p:sp>
        <p:nvSpPr>
          <p:cNvPr id="5" name="Footer Placeholder 4">
            <a:extLst>
              <a:ext uri="{FF2B5EF4-FFF2-40B4-BE49-F238E27FC236}">
                <a16:creationId xmlns:a16="http://schemas.microsoft.com/office/drawing/2014/main" id="{BF22CC1F-8EF2-0341-A9FF-47316159D9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1A190B-0CDF-504D-BE46-9D43040170D6}"/>
              </a:ext>
            </a:extLst>
          </p:cNvPr>
          <p:cNvSpPr>
            <a:spLocks noGrp="1"/>
          </p:cNvSpPr>
          <p:nvPr>
            <p:ph type="sldNum" sz="quarter" idx="12"/>
          </p:nvPr>
        </p:nvSpPr>
        <p:spPr/>
        <p:txBody>
          <a:bodyPr/>
          <a:lstStyle/>
          <a:p>
            <a:fld id="{F1D3FCF2-A216-44BD-889C-147BFFB1151F}" type="slidenum">
              <a:rPr lang="en-US" smtClean="0"/>
              <a:t>‹#›</a:t>
            </a:fld>
            <a:endParaRPr lang="en-US"/>
          </a:p>
        </p:txBody>
      </p:sp>
    </p:spTree>
    <p:extLst>
      <p:ext uri="{BB962C8B-B14F-4D97-AF65-F5344CB8AC3E}">
        <p14:creationId xmlns:p14="http://schemas.microsoft.com/office/powerpoint/2010/main" val="250218923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11EAE-38B1-3C4C-95B3-5FC2C43E67D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1BF4A63-E1C1-7948-9ACE-DFA9D2133BB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BE7604C-1D96-6242-8D05-79406D542933}"/>
              </a:ext>
            </a:extLst>
          </p:cNvPr>
          <p:cNvSpPr>
            <a:spLocks noGrp="1"/>
          </p:cNvSpPr>
          <p:nvPr>
            <p:ph type="dt" sz="half" idx="10"/>
          </p:nvPr>
        </p:nvSpPr>
        <p:spPr/>
        <p:txBody>
          <a:bodyPr/>
          <a:lstStyle/>
          <a:p>
            <a:fld id="{4FD1B6CC-B1C9-6D4B-A5EC-80AC067F9D8C}" type="datetimeFigureOut">
              <a:rPr lang="en-US" smtClean="0"/>
              <a:t>10/16/18</a:t>
            </a:fld>
            <a:endParaRPr lang="en-US"/>
          </a:p>
        </p:txBody>
      </p:sp>
      <p:sp>
        <p:nvSpPr>
          <p:cNvPr id="5" name="Footer Placeholder 4">
            <a:extLst>
              <a:ext uri="{FF2B5EF4-FFF2-40B4-BE49-F238E27FC236}">
                <a16:creationId xmlns:a16="http://schemas.microsoft.com/office/drawing/2014/main" id="{019D3B54-48AA-9E45-8257-BB21E870957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85D5BA6-C707-A64E-9341-9B43056AD0FC}"/>
              </a:ext>
            </a:extLst>
          </p:cNvPr>
          <p:cNvSpPr>
            <a:spLocks noGrp="1"/>
          </p:cNvSpPr>
          <p:nvPr>
            <p:ph type="sldNum" sz="quarter" idx="12"/>
          </p:nvPr>
        </p:nvSpPr>
        <p:spPr/>
        <p:txBody>
          <a:bodyPr/>
          <a:lstStyle/>
          <a:p>
            <a:fld id="{D948CFA5-ACF8-AD4A-BD38-DA8C76F036DC}" type="slidenum">
              <a:rPr lang="en-US" smtClean="0"/>
              <a:t>‹#›</a:t>
            </a:fld>
            <a:endParaRPr lang="en-US"/>
          </a:p>
        </p:txBody>
      </p:sp>
    </p:spTree>
    <p:extLst>
      <p:ext uri="{BB962C8B-B14F-4D97-AF65-F5344CB8AC3E}">
        <p14:creationId xmlns:p14="http://schemas.microsoft.com/office/powerpoint/2010/main" val="90479587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99A95-6521-CA4C-A9B1-36FA63EAE24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F1190F-2094-F44A-B2FD-C594437482F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32CC711-41DB-E247-8E8D-04F9D7188A6A}"/>
              </a:ext>
            </a:extLst>
          </p:cNvPr>
          <p:cNvSpPr>
            <a:spLocks noGrp="1"/>
          </p:cNvSpPr>
          <p:nvPr>
            <p:ph type="dt" sz="half" idx="10"/>
          </p:nvPr>
        </p:nvSpPr>
        <p:spPr/>
        <p:txBody>
          <a:bodyPr/>
          <a:lstStyle/>
          <a:p>
            <a:fld id="{4FD1B6CC-B1C9-6D4B-A5EC-80AC067F9D8C}" type="datetimeFigureOut">
              <a:rPr lang="en-US" smtClean="0"/>
              <a:t>10/16/18</a:t>
            </a:fld>
            <a:endParaRPr lang="en-US"/>
          </a:p>
        </p:txBody>
      </p:sp>
      <p:sp>
        <p:nvSpPr>
          <p:cNvPr id="5" name="Footer Placeholder 4">
            <a:extLst>
              <a:ext uri="{FF2B5EF4-FFF2-40B4-BE49-F238E27FC236}">
                <a16:creationId xmlns:a16="http://schemas.microsoft.com/office/drawing/2014/main" id="{5F2BA65E-BB4D-924E-B6C5-E0D23AC0C9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45C2BB-F6AA-2D4A-8BFD-660BFB70D7B1}"/>
              </a:ext>
            </a:extLst>
          </p:cNvPr>
          <p:cNvSpPr>
            <a:spLocks noGrp="1"/>
          </p:cNvSpPr>
          <p:nvPr>
            <p:ph type="sldNum" sz="quarter" idx="12"/>
          </p:nvPr>
        </p:nvSpPr>
        <p:spPr/>
        <p:txBody>
          <a:bodyPr/>
          <a:lstStyle/>
          <a:p>
            <a:fld id="{D948CFA5-ACF8-AD4A-BD38-DA8C76F036DC}" type="slidenum">
              <a:rPr lang="en-US" smtClean="0"/>
              <a:t>‹#›</a:t>
            </a:fld>
            <a:endParaRPr lang="en-US"/>
          </a:p>
        </p:txBody>
      </p:sp>
    </p:spTree>
    <p:extLst>
      <p:ext uri="{BB962C8B-B14F-4D97-AF65-F5344CB8AC3E}">
        <p14:creationId xmlns:p14="http://schemas.microsoft.com/office/powerpoint/2010/main" val="216596998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88FC80-FCD3-2848-A9E1-2727C8EB03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403C4B2-62D0-BD48-8754-04EC614DBD76}"/>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9642A30-9DD9-AC4D-A4D6-DAD8DCDBE3D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579AB54-6B3B-A046-AAC7-CD5C2DCE0755}"/>
              </a:ext>
            </a:extLst>
          </p:cNvPr>
          <p:cNvSpPr>
            <a:spLocks noGrp="1"/>
          </p:cNvSpPr>
          <p:nvPr>
            <p:ph type="dt" sz="half" idx="10"/>
          </p:nvPr>
        </p:nvSpPr>
        <p:spPr/>
        <p:txBody>
          <a:bodyPr/>
          <a:lstStyle/>
          <a:p>
            <a:fld id="{4FD1B6CC-B1C9-6D4B-A5EC-80AC067F9D8C}" type="datetimeFigureOut">
              <a:rPr lang="en-US" smtClean="0"/>
              <a:t>10/16/18</a:t>
            </a:fld>
            <a:endParaRPr lang="en-US"/>
          </a:p>
        </p:txBody>
      </p:sp>
      <p:sp>
        <p:nvSpPr>
          <p:cNvPr id="6" name="Footer Placeholder 5">
            <a:extLst>
              <a:ext uri="{FF2B5EF4-FFF2-40B4-BE49-F238E27FC236}">
                <a16:creationId xmlns:a16="http://schemas.microsoft.com/office/drawing/2014/main" id="{98634989-B73B-9744-910D-9339151903F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D588B0F-F4B1-FA4D-AFAF-19024F57C614}"/>
              </a:ext>
            </a:extLst>
          </p:cNvPr>
          <p:cNvSpPr>
            <a:spLocks noGrp="1"/>
          </p:cNvSpPr>
          <p:nvPr>
            <p:ph type="sldNum" sz="quarter" idx="12"/>
          </p:nvPr>
        </p:nvSpPr>
        <p:spPr/>
        <p:txBody>
          <a:bodyPr/>
          <a:lstStyle/>
          <a:p>
            <a:fld id="{D948CFA5-ACF8-AD4A-BD38-DA8C76F036DC}" type="slidenum">
              <a:rPr lang="en-US" smtClean="0"/>
              <a:t>‹#›</a:t>
            </a:fld>
            <a:endParaRPr lang="en-US"/>
          </a:p>
        </p:txBody>
      </p:sp>
    </p:spTree>
    <p:extLst>
      <p:ext uri="{BB962C8B-B14F-4D97-AF65-F5344CB8AC3E}">
        <p14:creationId xmlns:p14="http://schemas.microsoft.com/office/powerpoint/2010/main" val="50309861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9EB51-0CE0-424C-8516-C1FE36CADFC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68E77EF-2E0B-634F-BF22-72C1F7B5BA4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A771014D-F14F-1646-8D2C-D5173E209B88}"/>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B0229BE-D058-4145-82C7-930F3BBC39C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47FA88B-D128-3D40-B353-307DE34420C0}"/>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1AB3835-4D73-E34A-A644-D567A77AC762}"/>
              </a:ext>
            </a:extLst>
          </p:cNvPr>
          <p:cNvSpPr>
            <a:spLocks noGrp="1"/>
          </p:cNvSpPr>
          <p:nvPr>
            <p:ph type="dt" sz="half" idx="10"/>
          </p:nvPr>
        </p:nvSpPr>
        <p:spPr/>
        <p:txBody>
          <a:bodyPr/>
          <a:lstStyle/>
          <a:p>
            <a:fld id="{4FD1B6CC-B1C9-6D4B-A5EC-80AC067F9D8C}" type="datetimeFigureOut">
              <a:rPr lang="en-US" smtClean="0"/>
              <a:t>10/16/18</a:t>
            </a:fld>
            <a:endParaRPr lang="en-US"/>
          </a:p>
        </p:txBody>
      </p:sp>
      <p:sp>
        <p:nvSpPr>
          <p:cNvPr id="8" name="Footer Placeholder 7">
            <a:extLst>
              <a:ext uri="{FF2B5EF4-FFF2-40B4-BE49-F238E27FC236}">
                <a16:creationId xmlns:a16="http://schemas.microsoft.com/office/drawing/2014/main" id="{85D63D97-651A-F743-95F5-2097798265E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E29C766-DF99-864D-BA6C-377832B27F0C}"/>
              </a:ext>
            </a:extLst>
          </p:cNvPr>
          <p:cNvSpPr>
            <a:spLocks noGrp="1"/>
          </p:cNvSpPr>
          <p:nvPr>
            <p:ph type="sldNum" sz="quarter" idx="12"/>
          </p:nvPr>
        </p:nvSpPr>
        <p:spPr/>
        <p:txBody>
          <a:bodyPr/>
          <a:lstStyle/>
          <a:p>
            <a:fld id="{D948CFA5-ACF8-AD4A-BD38-DA8C76F036DC}" type="slidenum">
              <a:rPr lang="en-US" smtClean="0"/>
              <a:t>‹#›</a:t>
            </a:fld>
            <a:endParaRPr lang="en-US"/>
          </a:p>
        </p:txBody>
      </p:sp>
    </p:spTree>
    <p:extLst>
      <p:ext uri="{BB962C8B-B14F-4D97-AF65-F5344CB8AC3E}">
        <p14:creationId xmlns:p14="http://schemas.microsoft.com/office/powerpoint/2010/main" val="348362596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8121E4-2100-E245-B103-7C3404529DA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9F7C2CA-0D94-574C-9075-D1BD5CBC844E}"/>
              </a:ext>
            </a:extLst>
          </p:cNvPr>
          <p:cNvSpPr>
            <a:spLocks noGrp="1"/>
          </p:cNvSpPr>
          <p:nvPr>
            <p:ph type="dt" sz="half" idx="10"/>
          </p:nvPr>
        </p:nvSpPr>
        <p:spPr/>
        <p:txBody>
          <a:bodyPr/>
          <a:lstStyle/>
          <a:p>
            <a:fld id="{4FD1B6CC-B1C9-6D4B-A5EC-80AC067F9D8C}" type="datetimeFigureOut">
              <a:rPr lang="en-US" smtClean="0"/>
              <a:t>10/16/18</a:t>
            </a:fld>
            <a:endParaRPr lang="en-US"/>
          </a:p>
        </p:txBody>
      </p:sp>
      <p:sp>
        <p:nvSpPr>
          <p:cNvPr id="4" name="Footer Placeholder 3">
            <a:extLst>
              <a:ext uri="{FF2B5EF4-FFF2-40B4-BE49-F238E27FC236}">
                <a16:creationId xmlns:a16="http://schemas.microsoft.com/office/drawing/2014/main" id="{D3C36E55-204A-8E46-B67A-6ECE3058EAC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74CCB48-583F-3B4E-96DA-E0A1448F2F76}"/>
              </a:ext>
            </a:extLst>
          </p:cNvPr>
          <p:cNvSpPr>
            <a:spLocks noGrp="1"/>
          </p:cNvSpPr>
          <p:nvPr>
            <p:ph type="sldNum" sz="quarter" idx="12"/>
          </p:nvPr>
        </p:nvSpPr>
        <p:spPr/>
        <p:txBody>
          <a:bodyPr/>
          <a:lstStyle/>
          <a:p>
            <a:fld id="{D948CFA5-ACF8-AD4A-BD38-DA8C76F036DC}" type="slidenum">
              <a:rPr lang="en-US" smtClean="0"/>
              <a:t>‹#›</a:t>
            </a:fld>
            <a:endParaRPr lang="en-US"/>
          </a:p>
        </p:txBody>
      </p:sp>
    </p:spTree>
    <p:extLst>
      <p:ext uri="{BB962C8B-B14F-4D97-AF65-F5344CB8AC3E}">
        <p14:creationId xmlns:p14="http://schemas.microsoft.com/office/powerpoint/2010/main" val="72307603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BA4EFCF-D038-CA4D-8FB2-62357747AB4A}"/>
              </a:ext>
            </a:extLst>
          </p:cNvPr>
          <p:cNvSpPr>
            <a:spLocks noGrp="1"/>
          </p:cNvSpPr>
          <p:nvPr>
            <p:ph type="dt" sz="half" idx="10"/>
          </p:nvPr>
        </p:nvSpPr>
        <p:spPr/>
        <p:txBody>
          <a:bodyPr/>
          <a:lstStyle/>
          <a:p>
            <a:fld id="{4FD1B6CC-B1C9-6D4B-A5EC-80AC067F9D8C}" type="datetimeFigureOut">
              <a:rPr lang="en-US" smtClean="0"/>
              <a:t>10/16/18</a:t>
            </a:fld>
            <a:endParaRPr lang="en-US"/>
          </a:p>
        </p:txBody>
      </p:sp>
      <p:sp>
        <p:nvSpPr>
          <p:cNvPr id="3" name="Footer Placeholder 2">
            <a:extLst>
              <a:ext uri="{FF2B5EF4-FFF2-40B4-BE49-F238E27FC236}">
                <a16:creationId xmlns:a16="http://schemas.microsoft.com/office/drawing/2014/main" id="{77563EED-9BD4-B040-9F9B-BB7451479EF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E2A3A5B-FB1B-954D-A74D-0425D2CC2E2D}"/>
              </a:ext>
            </a:extLst>
          </p:cNvPr>
          <p:cNvSpPr>
            <a:spLocks noGrp="1"/>
          </p:cNvSpPr>
          <p:nvPr>
            <p:ph type="sldNum" sz="quarter" idx="12"/>
          </p:nvPr>
        </p:nvSpPr>
        <p:spPr/>
        <p:txBody>
          <a:bodyPr/>
          <a:lstStyle/>
          <a:p>
            <a:fld id="{D948CFA5-ACF8-AD4A-BD38-DA8C76F036DC}" type="slidenum">
              <a:rPr lang="en-US" smtClean="0"/>
              <a:t>‹#›</a:t>
            </a:fld>
            <a:endParaRPr lang="en-US"/>
          </a:p>
        </p:txBody>
      </p:sp>
    </p:spTree>
    <p:extLst>
      <p:ext uri="{BB962C8B-B14F-4D97-AF65-F5344CB8AC3E}">
        <p14:creationId xmlns:p14="http://schemas.microsoft.com/office/powerpoint/2010/main" val="429288770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234232-4B16-5B49-B40D-0C930B02021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341D147-3EB5-EA47-B20E-47F99653232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0FB583D-3513-8841-AFB3-8330C6E0C33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0BB3DC2-DB08-564C-B734-248AA44DCDFE}"/>
              </a:ext>
            </a:extLst>
          </p:cNvPr>
          <p:cNvSpPr>
            <a:spLocks noGrp="1"/>
          </p:cNvSpPr>
          <p:nvPr>
            <p:ph type="dt" sz="half" idx="10"/>
          </p:nvPr>
        </p:nvSpPr>
        <p:spPr/>
        <p:txBody>
          <a:bodyPr/>
          <a:lstStyle/>
          <a:p>
            <a:fld id="{4FD1B6CC-B1C9-6D4B-A5EC-80AC067F9D8C}" type="datetimeFigureOut">
              <a:rPr lang="en-US" smtClean="0"/>
              <a:t>10/16/18</a:t>
            </a:fld>
            <a:endParaRPr lang="en-US"/>
          </a:p>
        </p:txBody>
      </p:sp>
      <p:sp>
        <p:nvSpPr>
          <p:cNvPr id="6" name="Footer Placeholder 5">
            <a:extLst>
              <a:ext uri="{FF2B5EF4-FFF2-40B4-BE49-F238E27FC236}">
                <a16:creationId xmlns:a16="http://schemas.microsoft.com/office/drawing/2014/main" id="{DB2C13D9-83E1-1743-8BC1-6349480D700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1644F7C-C220-F848-AF0A-F7C00A91E541}"/>
              </a:ext>
            </a:extLst>
          </p:cNvPr>
          <p:cNvSpPr>
            <a:spLocks noGrp="1"/>
          </p:cNvSpPr>
          <p:nvPr>
            <p:ph type="sldNum" sz="quarter" idx="12"/>
          </p:nvPr>
        </p:nvSpPr>
        <p:spPr/>
        <p:txBody>
          <a:bodyPr/>
          <a:lstStyle/>
          <a:p>
            <a:fld id="{D948CFA5-ACF8-AD4A-BD38-DA8C76F036DC}" type="slidenum">
              <a:rPr lang="en-US" smtClean="0"/>
              <a:t>‹#›</a:t>
            </a:fld>
            <a:endParaRPr lang="en-US"/>
          </a:p>
        </p:txBody>
      </p:sp>
    </p:spTree>
    <p:extLst>
      <p:ext uri="{BB962C8B-B14F-4D97-AF65-F5344CB8AC3E}">
        <p14:creationId xmlns:p14="http://schemas.microsoft.com/office/powerpoint/2010/main" val="268009150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6720E-532B-A84D-BEAB-1281937AC42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AF18519-11A4-FC4D-9926-5095ACAA176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D02463A-0C87-3745-AD08-71E573475A9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922C491-9FFA-CB43-BA5C-D33F1B86B0C8}"/>
              </a:ext>
            </a:extLst>
          </p:cNvPr>
          <p:cNvSpPr>
            <a:spLocks noGrp="1"/>
          </p:cNvSpPr>
          <p:nvPr>
            <p:ph type="dt" sz="half" idx="10"/>
          </p:nvPr>
        </p:nvSpPr>
        <p:spPr/>
        <p:txBody>
          <a:bodyPr/>
          <a:lstStyle/>
          <a:p>
            <a:fld id="{4FD1B6CC-B1C9-6D4B-A5EC-80AC067F9D8C}" type="datetimeFigureOut">
              <a:rPr lang="en-US" smtClean="0"/>
              <a:t>10/16/18</a:t>
            </a:fld>
            <a:endParaRPr lang="en-US"/>
          </a:p>
        </p:txBody>
      </p:sp>
      <p:sp>
        <p:nvSpPr>
          <p:cNvPr id="6" name="Footer Placeholder 5">
            <a:extLst>
              <a:ext uri="{FF2B5EF4-FFF2-40B4-BE49-F238E27FC236}">
                <a16:creationId xmlns:a16="http://schemas.microsoft.com/office/drawing/2014/main" id="{DDB42E9D-DDF1-8F49-8AE4-92CE951F653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6C77064-E313-2043-BAC8-50E3CB8D25DC}"/>
              </a:ext>
            </a:extLst>
          </p:cNvPr>
          <p:cNvSpPr>
            <a:spLocks noGrp="1"/>
          </p:cNvSpPr>
          <p:nvPr>
            <p:ph type="sldNum" sz="quarter" idx="12"/>
          </p:nvPr>
        </p:nvSpPr>
        <p:spPr/>
        <p:txBody>
          <a:bodyPr/>
          <a:lstStyle/>
          <a:p>
            <a:fld id="{D948CFA5-ACF8-AD4A-BD38-DA8C76F036DC}" type="slidenum">
              <a:rPr lang="en-US" smtClean="0"/>
              <a:t>‹#›</a:t>
            </a:fld>
            <a:endParaRPr lang="en-US"/>
          </a:p>
        </p:txBody>
      </p:sp>
    </p:spTree>
    <p:extLst>
      <p:ext uri="{BB962C8B-B14F-4D97-AF65-F5344CB8AC3E}">
        <p14:creationId xmlns:p14="http://schemas.microsoft.com/office/powerpoint/2010/main" val="33826890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90768139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DB18-A80E-5642-B48F-4B8C64C4140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63D7586-26A5-6B45-A61D-1F9C9DF2D58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475C9B2-F04F-0D43-8903-490BE7DD20A5}"/>
              </a:ext>
            </a:extLst>
          </p:cNvPr>
          <p:cNvSpPr>
            <a:spLocks noGrp="1"/>
          </p:cNvSpPr>
          <p:nvPr>
            <p:ph type="dt" sz="half" idx="10"/>
          </p:nvPr>
        </p:nvSpPr>
        <p:spPr/>
        <p:txBody>
          <a:bodyPr/>
          <a:lstStyle/>
          <a:p>
            <a:fld id="{4FD1B6CC-B1C9-6D4B-A5EC-80AC067F9D8C}" type="datetimeFigureOut">
              <a:rPr lang="en-US" smtClean="0"/>
              <a:t>10/16/18</a:t>
            </a:fld>
            <a:endParaRPr lang="en-US"/>
          </a:p>
        </p:txBody>
      </p:sp>
      <p:sp>
        <p:nvSpPr>
          <p:cNvPr id="5" name="Footer Placeholder 4">
            <a:extLst>
              <a:ext uri="{FF2B5EF4-FFF2-40B4-BE49-F238E27FC236}">
                <a16:creationId xmlns:a16="http://schemas.microsoft.com/office/drawing/2014/main" id="{38D8B987-4865-8149-813C-B5E944CEE92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C58EA24-72A5-394E-BA18-E9F305DF7AD2}"/>
              </a:ext>
            </a:extLst>
          </p:cNvPr>
          <p:cNvSpPr>
            <a:spLocks noGrp="1"/>
          </p:cNvSpPr>
          <p:nvPr>
            <p:ph type="sldNum" sz="quarter" idx="12"/>
          </p:nvPr>
        </p:nvSpPr>
        <p:spPr/>
        <p:txBody>
          <a:bodyPr/>
          <a:lstStyle/>
          <a:p>
            <a:fld id="{D948CFA5-ACF8-AD4A-BD38-DA8C76F036DC}" type="slidenum">
              <a:rPr lang="en-US" smtClean="0"/>
              <a:t>‹#›</a:t>
            </a:fld>
            <a:endParaRPr lang="en-US"/>
          </a:p>
        </p:txBody>
      </p:sp>
    </p:spTree>
    <p:extLst>
      <p:ext uri="{BB962C8B-B14F-4D97-AF65-F5344CB8AC3E}">
        <p14:creationId xmlns:p14="http://schemas.microsoft.com/office/powerpoint/2010/main" val="252715530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56E0043-9AAB-D145-A1AC-41B75B8F726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ADB4105-B63B-A941-80D5-9D965F29DE3E}"/>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538A7E-39AD-D148-BA8B-D949CABAC6F5}"/>
              </a:ext>
            </a:extLst>
          </p:cNvPr>
          <p:cNvSpPr>
            <a:spLocks noGrp="1"/>
          </p:cNvSpPr>
          <p:nvPr>
            <p:ph type="dt" sz="half" idx="10"/>
          </p:nvPr>
        </p:nvSpPr>
        <p:spPr/>
        <p:txBody>
          <a:bodyPr/>
          <a:lstStyle/>
          <a:p>
            <a:fld id="{4FD1B6CC-B1C9-6D4B-A5EC-80AC067F9D8C}" type="datetimeFigureOut">
              <a:rPr lang="en-US" smtClean="0"/>
              <a:t>10/16/18</a:t>
            </a:fld>
            <a:endParaRPr lang="en-US"/>
          </a:p>
        </p:txBody>
      </p:sp>
      <p:sp>
        <p:nvSpPr>
          <p:cNvPr id="5" name="Footer Placeholder 4">
            <a:extLst>
              <a:ext uri="{FF2B5EF4-FFF2-40B4-BE49-F238E27FC236}">
                <a16:creationId xmlns:a16="http://schemas.microsoft.com/office/drawing/2014/main" id="{BCDBF23D-DF5B-814A-9C76-F8FE345852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75F7FED-4293-7049-9679-A3C248CDD2BF}"/>
              </a:ext>
            </a:extLst>
          </p:cNvPr>
          <p:cNvSpPr>
            <a:spLocks noGrp="1"/>
          </p:cNvSpPr>
          <p:nvPr>
            <p:ph type="sldNum" sz="quarter" idx="12"/>
          </p:nvPr>
        </p:nvSpPr>
        <p:spPr/>
        <p:txBody>
          <a:bodyPr/>
          <a:lstStyle/>
          <a:p>
            <a:fld id="{D948CFA5-ACF8-AD4A-BD38-DA8C76F036DC}" type="slidenum">
              <a:rPr lang="en-US" smtClean="0"/>
              <a:t>‹#›</a:t>
            </a:fld>
            <a:endParaRPr lang="en-US"/>
          </a:p>
        </p:txBody>
      </p:sp>
    </p:spTree>
    <p:extLst>
      <p:ext uri="{BB962C8B-B14F-4D97-AF65-F5344CB8AC3E}">
        <p14:creationId xmlns:p14="http://schemas.microsoft.com/office/powerpoint/2010/main" val="166111063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_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26082968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81917"/>
          </a:xfrm>
        </p:spPr>
        <p:txBody>
          <a:bodyPr wrap="square">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803167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81917"/>
          </a:xfrm>
        </p:spPr>
        <p:txBody>
          <a:bodyPr wrap="square">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36864250"/>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6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Tree>
    <p:extLst>
      <p:ext uri="{BB962C8B-B14F-4D97-AF65-F5344CB8AC3E}">
        <p14:creationId xmlns:p14="http://schemas.microsoft.com/office/powerpoint/2010/main" val="348708664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78291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7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A2348ECF-26C5-46F7-AB4A-94957FAB561F}"/>
              </a:ext>
            </a:extLst>
          </p:cNvPr>
          <p:cNvSpPr>
            <a:spLocks noGrp="1"/>
          </p:cNvSpPr>
          <p:nvPr>
            <p:ph type="body" sz="quarter" idx="10"/>
          </p:nvPr>
        </p:nvSpPr>
        <p:spPr>
          <a:xfrm>
            <a:off x="269240" y="1189178"/>
            <a:ext cx="11653523" cy="2356691"/>
          </a:xfrm>
        </p:spPr>
        <p:txBody>
          <a:bodyPr>
            <a:spAutoFit/>
          </a:bodyPr>
          <a:lstStyle>
            <a:lvl1pPr>
              <a:lnSpc>
                <a:spcPct val="95000"/>
              </a:lnSpc>
              <a:spcBef>
                <a:spcPts val="588"/>
              </a:spcBef>
              <a:spcAft>
                <a:spcPts val="588"/>
              </a:spcAft>
              <a:defRPr sz="3528">
                <a:solidFill>
                  <a:schemeClr val="bg1"/>
                </a:solidFill>
              </a:defRPr>
            </a:lvl1pPr>
            <a:lvl2pPr>
              <a:lnSpc>
                <a:spcPct val="95000"/>
              </a:lnSpc>
              <a:spcBef>
                <a:spcPts val="588"/>
              </a:spcBef>
              <a:spcAft>
                <a:spcPts val="588"/>
              </a:spcAft>
              <a:defRPr>
                <a:solidFill>
                  <a:schemeClr val="bg1"/>
                </a:solidFill>
              </a:defRPr>
            </a:lvl2pPr>
            <a:lvl3pPr>
              <a:lnSpc>
                <a:spcPct val="95000"/>
              </a:lnSpc>
              <a:spcBef>
                <a:spcPts val="588"/>
              </a:spcBef>
              <a:spcAft>
                <a:spcPts val="588"/>
              </a:spcAft>
              <a:defRPr>
                <a:solidFill>
                  <a:schemeClr val="bg1"/>
                </a:solidFill>
              </a:defRPr>
            </a:lvl3pPr>
            <a:lvl4pPr>
              <a:lnSpc>
                <a:spcPct val="95000"/>
              </a:lnSpc>
              <a:spcBef>
                <a:spcPts val="588"/>
              </a:spcBef>
              <a:spcAft>
                <a:spcPts val="588"/>
              </a:spcAft>
              <a:defRPr>
                <a:solidFill>
                  <a:schemeClr val="bg1"/>
                </a:solidFill>
              </a:defRPr>
            </a:lvl4pPr>
            <a:lvl5pPr>
              <a:lnSpc>
                <a:spcPct val="95000"/>
              </a:lnSpc>
              <a:spcBef>
                <a:spcPts val="588"/>
              </a:spcBef>
              <a:spcAft>
                <a:spcPts val="588"/>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628512"/>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7176559"/>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5863282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208956216"/>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80"/>
            <a:ext cx="11653523" cy="2079990"/>
          </a:xfrm>
        </p:spPr>
        <p:txBody>
          <a:bodyPr wrap="square">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4775530"/>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2012279"/>
          </a:xfrm>
        </p:spPr>
        <p:txBody>
          <a:bodyPr/>
          <a:lstStyle>
            <a:lvl1pPr marL="0" indent="0">
              <a:buNone/>
              <a:defRPr>
                <a:solidFill>
                  <a:schemeClr val="tx2"/>
                </a:solidFill>
              </a:defRPr>
            </a:lvl1pPr>
            <a:lvl2pPr marL="0" indent="0">
              <a:buFontTx/>
              <a:buNone/>
              <a:defRPr sz="1961"/>
            </a:lvl2pPr>
            <a:lvl3pPr marL="224031" indent="0">
              <a:buNone/>
              <a:defRPr/>
            </a:lvl3pPr>
            <a:lvl4pPr marL="448061" indent="0">
              <a:buNone/>
              <a:defRPr/>
            </a:lvl4pPr>
            <a:lvl5pPr marL="67209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2629016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239828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5253490"/>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3050368"/>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5915248"/>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4370804"/>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8 Microsoft Corporation. All rights reserved. </a:t>
            </a:r>
          </a:p>
        </p:txBody>
      </p:sp>
    </p:spTree>
    <p:extLst>
      <p:ext uri="{BB962C8B-B14F-4D97-AF65-F5344CB8AC3E}">
        <p14:creationId xmlns:p14="http://schemas.microsoft.com/office/powerpoint/2010/main" val="268129740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amp; Content Layou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lIns="150602" tIns="120481" rIns="150602" bIns="120481"/>
          <a:lstStyle/>
          <a:p>
            <a:r>
              <a:rPr lang="en-US"/>
              <a:t>Click to edit Master title style</a:t>
            </a:r>
          </a:p>
        </p:txBody>
      </p:sp>
      <p:sp>
        <p:nvSpPr>
          <p:cNvPr id="5" name="Text Placeholder 4"/>
          <p:cNvSpPr>
            <a:spLocks noGrp="1"/>
          </p:cNvSpPr>
          <p:nvPr>
            <p:ph type="body" sz="quarter" idx="10"/>
          </p:nvPr>
        </p:nvSpPr>
        <p:spPr>
          <a:xfrm>
            <a:off x="269240" y="1635898"/>
            <a:ext cx="11653523" cy="2059838"/>
          </a:xfrm>
          <a:prstGeom prst="rect">
            <a:avLst/>
          </a:prstGeom>
        </p:spPr>
        <p:txBody>
          <a:bodyPr lIns="150602" tIns="120481" rIns="150602" bIns="120481"/>
          <a:lstStyle>
            <a:lvl1pPr>
              <a:defRPr>
                <a:solidFill>
                  <a:srgbClr val="00B0F0"/>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6168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051">
          <p15:clr>
            <a:srgbClr val="FBAE40"/>
          </p15:clr>
        </p15:guide>
        <p15:guide id="2" pos="3917">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74639" y="355826"/>
            <a:ext cx="11642721" cy="1316945"/>
          </a:xfrm>
        </p:spPr>
        <p:txBody>
          <a:bodyPr/>
          <a:lstStyle/>
          <a:p>
            <a:r>
              <a:rPr lang="en-US" dirty="0"/>
              <a:t>Click to edit Master title style</a:t>
            </a:r>
          </a:p>
        </p:txBody>
      </p:sp>
      <p:sp>
        <p:nvSpPr>
          <p:cNvPr id="3" name="Rectangle 2"/>
          <p:cNvSpPr/>
          <p:nvPr userDrawn="1"/>
        </p:nvSpPr>
        <p:spPr>
          <a:xfrm>
            <a:off x="0" y="1984829"/>
            <a:ext cx="12192000" cy="4873171"/>
          </a:xfrm>
          <a:prstGeom prst="rect">
            <a:avLst/>
          </a:prstGeom>
          <a:solidFill>
            <a:srgbClr val="0078D7">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 name="Rectangle 3">
            <a:extLst>
              <a:ext uri="{FF2B5EF4-FFF2-40B4-BE49-F238E27FC236}">
                <a16:creationId xmlns:a16="http://schemas.microsoft.com/office/drawing/2014/main" id="{3CBAB0C0-1421-4CF2-96C0-B3D867F59D26}"/>
              </a:ext>
            </a:extLst>
          </p:cNvPr>
          <p:cNvSpPr/>
          <p:nvPr userDrawn="1"/>
        </p:nvSpPr>
        <p:spPr>
          <a:xfrm>
            <a:off x="0" y="1984829"/>
            <a:ext cx="4837797" cy="4873171"/>
          </a:xfrm>
          <a:prstGeom prst="rect">
            <a:avLst/>
          </a:prstGeom>
          <a:solidFill>
            <a:srgbClr val="0078D7"/>
          </a:solidFill>
          <a:ln w="12700" cap="flat" cmpd="sng" algn="ctr">
            <a:noFill/>
            <a:prstDash val="solid"/>
            <a:miter lim="800000"/>
          </a:ln>
          <a:effectLst/>
        </p:spPr>
        <p:txBody>
          <a:bodyPr rtlCol="0" anchor="ctr"/>
          <a:lstStyle/>
          <a:p>
            <a:pPr algn="ctr">
              <a:defRPr/>
            </a:pPr>
            <a:endParaRPr lang="en-US" kern="0" dirty="0">
              <a:solidFill>
                <a:srgbClr val="FFFFFF"/>
              </a:solidFill>
              <a:latin typeface="Calibri" panose="020F0502020204030204"/>
            </a:endParaRPr>
          </a:p>
        </p:txBody>
      </p:sp>
      <p:sp>
        <p:nvSpPr>
          <p:cNvPr id="7" name="Text Placeholder 6">
            <a:extLst>
              <a:ext uri="{FF2B5EF4-FFF2-40B4-BE49-F238E27FC236}">
                <a16:creationId xmlns:a16="http://schemas.microsoft.com/office/drawing/2014/main" id="{B41548F6-765D-43DC-A825-2E3FD3751E47}"/>
              </a:ext>
            </a:extLst>
          </p:cNvPr>
          <p:cNvSpPr>
            <a:spLocks noGrp="1"/>
          </p:cNvSpPr>
          <p:nvPr>
            <p:ph type="body" sz="quarter" idx="10"/>
          </p:nvPr>
        </p:nvSpPr>
        <p:spPr>
          <a:xfrm>
            <a:off x="274638" y="2357133"/>
            <a:ext cx="3358577" cy="3434786"/>
          </a:xfrm>
        </p:spPr>
        <p:txBody>
          <a:bodyPr>
            <a:noAutofit/>
          </a:bodyPr>
          <a:lstStyle>
            <a:lvl1pPr marL="0" indent="0">
              <a:spcBef>
                <a:spcPts val="1800"/>
              </a:spcBef>
              <a:buNone/>
              <a:defRPr sz="2000">
                <a:solidFill>
                  <a:schemeClr val="bg1"/>
                </a:solidFill>
                <a:latin typeface="Segoe UI Semilight" panose="020B0402040204020203" pitchFamily="34" charset="0"/>
                <a:cs typeface="Segoe UI Semilight" panose="020B0402040204020203" pitchFamily="34" charset="0"/>
              </a:defRPr>
            </a:lvl1pPr>
            <a:lvl2pPr marL="457200" indent="0">
              <a:buNone/>
              <a:defRPr sz="1800">
                <a:solidFill>
                  <a:schemeClr val="bg1"/>
                </a:solidFill>
                <a:latin typeface="Segoe UI Semilight" panose="020B0402040204020203" pitchFamily="34" charset="0"/>
                <a:cs typeface="Segoe UI Semilight" panose="020B0402040204020203" pitchFamily="34" charset="0"/>
              </a:defRPr>
            </a:lvl2pPr>
            <a:lvl3pPr marL="914400" indent="0">
              <a:buNone/>
              <a:defRPr sz="1600">
                <a:solidFill>
                  <a:schemeClr val="bg1"/>
                </a:solidFill>
                <a:latin typeface="Segoe UI Semilight" panose="020B0402040204020203" pitchFamily="34" charset="0"/>
                <a:cs typeface="Segoe UI Semilight" panose="020B0402040204020203" pitchFamily="34" charset="0"/>
              </a:defRPr>
            </a:lvl3pPr>
            <a:lvl4pPr marL="1371600" indent="0">
              <a:buNone/>
              <a:defRPr sz="1400">
                <a:solidFill>
                  <a:schemeClr val="bg1"/>
                </a:solidFill>
                <a:latin typeface="Segoe UI Semilight" panose="020B0402040204020203" pitchFamily="34" charset="0"/>
                <a:cs typeface="Segoe UI Semilight" panose="020B0402040204020203" pitchFamily="34" charset="0"/>
              </a:defRPr>
            </a:lvl4pPr>
            <a:lvl5pPr marL="1828800" indent="0">
              <a:buNone/>
              <a:defRPr sz="1400">
                <a:solidFill>
                  <a:schemeClr val="bg1"/>
                </a:solidFill>
                <a:latin typeface="Segoe UI Semilight" panose="020B0402040204020203" pitchFamily="34" charset="0"/>
                <a:cs typeface="Segoe UI Semilight" panose="020B04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186726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82909615"/>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81917"/>
          </a:xfrm>
        </p:spPr>
        <p:txBody>
          <a:bodyPr wrap="square">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386027"/>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81917"/>
          </a:xfrm>
        </p:spPr>
        <p:txBody>
          <a:bodyPr wrap="square">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7858048"/>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584001"/>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20465477"/>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Title square photo">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349" y="0"/>
            <a:ext cx="6857651" cy="6858000"/>
          </a:xfrm>
          <a:prstGeom prst="rect">
            <a:avLst/>
          </a:prstGeom>
        </p:spPr>
      </p:pic>
    </p:spTree>
    <p:extLst>
      <p:ext uri="{BB962C8B-B14F-4D97-AF65-F5344CB8AC3E}">
        <p14:creationId xmlns:p14="http://schemas.microsoft.com/office/powerpoint/2010/main" val="4276086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36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06951"/>
          </a:xfrm>
        </p:spPr>
        <p:txBody>
          <a:bodyPr wrap="square">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7360" y="6566898"/>
            <a:ext cx="3457280" cy="158429"/>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24609456"/>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437950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3395166"/>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65565193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32886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3169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782320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14665126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8985245"/>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374871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055564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full photo">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p:nvPr>
        </p:nvSpPr>
        <p:spPr bwMode="auto">
          <a:xfrm>
            <a:off x="269239" y="2108564"/>
            <a:ext cx="6276530" cy="875413"/>
          </a:xfrm>
          <a:noFill/>
        </p:spPr>
        <p:txBody>
          <a:bodyPr lIns="146304" tIns="91440" rIns="146304" bIns="91440" anchor="t" anchorCtr="0"/>
          <a:lstStyle>
            <a:lvl1pPr>
              <a:defRPr sz="5294" spc="-98" baseline="0">
                <a:gradFill>
                  <a:gsLst>
                    <a:gs pos="8718">
                      <a:srgbClr val="353535"/>
                    </a:gs>
                    <a:gs pos="34000">
                      <a:srgbClr val="353535"/>
                    </a:gs>
                  </a:gsLst>
                  <a:lin ang="5400000" scaled="0"/>
                </a:gradFill>
              </a:defRPr>
            </a:lvl1pPr>
          </a:lstStyle>
          <a:p>
            <a:r>
              <a:rPr lang="en-US"/>
              <a:t>Click to edit Master title style</a:t>
            </a:r>
          </a:p>
        </p:txBody>
      </p:sp>
      <p:sp>
        <p:nvSpPr>
          <p:cNvPr id="3" name="Text Placeholder 2"/>
          <p:cNvSpPr>
            <a:spLocks noGrp="1"/>
          </p:cNvSpPr>
          <p:nvPr>
            <p:ph type="body" sz="quarter" idx="14" hasCustomPrompt="1"/>
          </p:nvPr>
        </p:nvSpPr>
        <p:spPr bwMode="auto">
          <a:xfrm>
            <a:off x="269239" y="3874398"/>
            <a:ext cx="4482124" cy="1677043"/>
          </a:xfrm>
        </p:spPr>
        <p:txBody>
          <a:bodyPr lIns="164592" tIns="109728" rIns="164592" bIns="109728">
            <a:noAutofit/>
          </a:bodyPr>
          <a:lstStyle>
            <a:lvl1pPr marL="0" indent="0">
              <a:spcBef>
                <a:spcPts val="0"/>
              </a:spcBef>
              <a:buNone/>
              <a:defRPr sz="3137" baseline="0">
                <a:gradFill>
                  <a:gsLst>
                    <a:gs pos="8718">
                      <a:srgbClr val="353535"/>
                    </a:gs>
                    <a:gs pos="34000">
                      <a:srgbClr val="353535"/>
                    </a:gs>
                  </a:gsLst>
                  <a:lin ang="5400000" scaled="0"/>
                </a:gradFill>
                <a:latin typeface="+mj-lt"/>
              </a:defRPr>
            </a:lvl1pPr>
          </a:lstStyle>
          <a:p>
            <a:pPr lvl="0"/>
            <a:r>
              <a:rPr lang="en-US"/>
              <a:t>Speaker name</a:t>
            </a:r>
          </a:p>
        </p:txBody>
      </p:sp>
      <p:grpSp>
        <p:nvGrpSpPr>
          <p:cNvPr id="7" name="Group 6"/>
          <p:cNvGrpSpPr>
            <a:grpSpLocks noChangeAspect="1"/>
          </p:cNvGrpSpPr>
          <p:nvPr/>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14" name="Picture 13">
            <a:extLst>
              <a:ext uri="{FF2B5EF4-FFF2-40B4-BE49-F238E27FC236}">
                <a16:creationId xmlns:a16="http://schemas.microsoft.com/office/drawing/2014/main" id="{2098C98E-B5A3-448D-A88D-A312BC68C773}"/>
              </a:ext>
            </a:extLst>
          </p:cNvPr>
          <p:cNvPicPr>
            <a:picLocks noChangeAspect="1"/>
          </p:cNvPicPr>
          <p:nvPr/>
        </p:nvPicPr>
        <p:blipFill rotWithShape="1">
          <a:blip r:embed="rId3"/>
          <a:srcRect t="9264"/>
          <a:stretch/>
        </p:blipFill>
        <p:spPr>
          <a:xfrm>
            <a:off x="1" y="1"/>
            <a:ext cx="12221569" cy="7393956"/>
          </a:xfrm>
          <a:prstGeom prst="rect">
            <a:avLst/>
          </a:prstGeom>
        </p:spPr>
      </p:pic>
    </p:spTree>
    <p:extLst>
      <p:ext uri="{BB962C8B-B14F-4D97-AF65-F5344CB8AC3E}">
        <p14:creationId xmlns:p14="http://schemas.microsoft.com/office/powerpoint/2010/main" val="1890111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7272504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645983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F350FD-0873-47C6-85CE-351ABEF242C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EAEE55B-B612-469E-B78E-73B75089BE3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EA6F87-DA3A-4D8B-83AC-F005868B79B1}"/>
              </a:ext>
            </a:extLst>
          </p:cNvPr>
          <p:cNvSpPr>
            <a:spLocks noGrp="1"/>
          </p:cNvSpPr>
          <p:nvPr>
            <p:ph type="dt" sz="half" idx="10"/>
          </p:nvPr>
        </p:nvSpPr>
        <p:spPr/>
        <p:txBody>
          <a:bodyPr/>
          <a:lstStyle/>
          <a:p>
            <a:fld id="{64090161-8224-436E-9697-076F1D8F120C}" type="datetimeFigureOut">
              <a:rPr lang="en-US" smtClean="0"/>
              <a:t>10/16/18</a:t>
            </a:fld>
            <a:endParaRPr lang="en-US"/>
          </a:p>
        </p:txBody>
      </p:sp>
      <p:sp>
        <p:nvSpPr>
          <p:cNvPr id="5" name="Footer Placeholder 4">
            <a:extLst>
              <a:ext uri="{FF2B5EF4-FFF2-40B4-BE49-F238E27FC236}">
                <a16:creationId xmlns:a16="http://schemas.microsoft.com/office/drawing/2014/main" id="{F51DC8CE-A490-46FB-BECC-F7960C2540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EC9ACB-B879-49D1-A839-486998EC2459}"/>
              </a:ext>
            </a:extLst>
          </p:cNvPr>
          <p:cNvSpPr>
            <a:spLocks noGrp="1"/>
          </p:cNvSpPr>
          <p:nvPr>
            <p:ph type="sldNum" sz="quarter" idx="12"/>
          </p:nvPr>
        </p:nvSpPr>
        <p:spPr/>
        <p:txBody>
          <a:bodyPr/>
          <a:lstStyle/>
          <a:p>
            <a:fld id="{27D3882F-12A7-44E5-A720-F0805A4EC1C9}" type="slidenum">
              <a:rPr lang="en-US" smtClean="0"/>
              <a:t>‹#›</a:t>
            </a:fld>
            <a:endParaRPr lang="en-US"/>
          </a:p>
        </p:txBody>
      </p:sp>
    </p:spTree>
    <p:extLst>
      <p:ext uri="{BB962C8B-B14F-4D97-AF65-F5344CB8AC3E}">
        <p14:creationId xmlns:p14="http://schemas.microsoft.com/office/powerpoint/2010/main" val="8970921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stretch>
            <a:fillRect/>
          </a:stretch>
        </p:blipFill>
        <p:spPr>
          <a:xfrm>
            <a:off x="448586" y="6121376"/>
            <a:ext cx="1254995" cy="269134"/>
          </a:xfrm>
          <a:prstGeom prst="rect">
            <a:avLst/>
          </a:prstGeom>
        </p:spPr>
      </p:pic>
      <p:sp>
        <p:nvSpPr>
          <p:cNvPr id="7" name="Text Placeholder 14"/>
          <p:cNvSpPr>
            <a:spLocks noGrp="1"/>
          </p:cNvSpPr>
          <p:nvPr>
            <p:ph type="body" sz="quarter" idx="15" hasCustomPrompt="1"/>
          </p:nvPr>
        </p:nvSpPr>
        <p:spPr>
          <a:xfrm>
            <a:off x="267682" y="291070"/>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a:t>Session Code</a:t>
            </a:r>
          </a:p>
        </p:txBody>
      </p:sp>
    </p:spTree>
    <p:extLst>
      <p:ext uri="{BB962C8B-B14F-4D97-AF65-F5344CB8AC3E}">
        <p14:creationId xmlns:p14="http://schemas.microsoft.com/office/powerpoint/2010/main" val="33740921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Dark">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4819" y="6116754"/>
            <a:ext cx="1248592" cy="268966"/>
          </a:xfrm>
          <a:prstGeom prst="rect">
            <a:avLst/>
          </a:prstGeom>
        </p:spPr>
      </p:pic>
      <p:sp>
        <p:nvSpPr>
          <p:cNvPr id="6" name="Text Placeholder 14"/>
          <p:cNvSpPr>
            <a:spLocks noGrp="1"/>
          </p:cNvSpPr>
          <p:nvPr>
            <p:ph type="body" sz="quarter" idx="15" hasCustomPrompt="1"/>
          </p:nvPr>
        </p:nvSpPr>
        <p:spPr>
          <a:xfrm>
            <a:off x="267682" y="291070"/>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a:t>Session Code</a:t>
            </a:r>
          </a:p>
        </p:txBody>
      </p:sp>
    </p:spTree>
    <p:extLst>
      <p:ext uri="{BB962C8B-B14F-4D97-AF65-F5344CB8AC3E}">
        <p14:creationId xmlns:p14="http://schemas.microsoft.com/office/powerpoint/2010/main" val="12484005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13B48C3B-2CDD-41BD-82BC-F143BCAFB7BC}"/>
              </a:ext>
            </a:extLst>
          </p:cNvPr>
          <p:cNvSpPr txBox="1">
            <a:spLocks/>
          </p:cNvSpPr>
          <p:nvPr userDrawn="1"/>
        </p:nvSpPr>
        <p:spPr>
          <a:xfrm>
            <a:off x="0" y="0"/>
            <a:ext cx="5399314" cy="6858000"/>
          </a:xfrm>
          <a:prstGeom prst="rect">
            <a:avLst/>
          </a:prstGeom>
          <a:solidFill>
            <a:srgbClr val="0078D7"/>
          </a:solidFill>
        </p:spPr>
        <p:txBody>
          <a:bodyPr vert="horz" wrap="square" lIns="91414" tIns="45706" rIns="91414" bIns="45706" rtlCol="0" anchor="ctr">
            <a:norm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192">
              <a:lnSpc>
                <a:spcPct val="70000"/>
              </a:lnSpc>
            </a:pPr>
            <a:endParaRPr lang="en-US" sz="3528" b="1" spc="0">
              <a:solidFill>
                <a:srgbClr val="00BCF2"/>
              </a:solidFill>
              <a:latin typeface="Segoe UI Semilight"/>
            </a:endParaRPr>
          </a:p>
        </p:txBody>
      </p:sp>
      <p:sp>
        <p:nvSpPr>
          <p:cNvPr id="2" name="Title 1">
            <a:extLst>
              <a:ext uri="{FF2B5EF4-FFF2-40B4-BE49-F238E27FC236}">
                <a16:creationId xmlns:a16="http://schemas.microsoft.com/office/drawing/2014/main" id="{FC399A4E-A611-49AC-AC72-6257819D2BFA}"/>
              </a:ext>
            </a:extLst>
          </p:cNvPr>
          <p:cNvSpPr>
            <a:spLocks noGrp="1"/>
          </p:cNvSpPr>
          <p:nvPr>
            <p:ph type="title"/>
          </p:nvPr>
        </p:nvSpPr>
        <p:spPr>
          <a:xfrm>
            <a:off x="269241" y="2771578"/>
            <a:ext cx="5130074" cy="1314847"/>
          </a:xfrm>
        </p:spPr>
        <p:txBody>
          <a:bodyPr vert="horz" wrap="square" lIns="146304" tIns="91440" rIns="146304" bIns="91440" rtlCol="0" anchor="ctr" anchorCtr="0">
            <a:spAutoFit/>
          </a:bodyPr>
          <a:lstStyle>
            <a:lvl1pPr>
              <a:defRPr lang="en-US" sz="3600" b="1" spc="0">
                <a:solidFill>
                  <a:schemeClr val="bg2">
                    <a:lumMod val="10000"/>
                  </a:schemeClr>
                </a:solidFill>
                <a:latin typeface="Segoe UI Semibold" charset="0"/>
                <a:ea typeface="Segoe UI Semibold" charset="0"/>
                <a:cs typeface="Segoe UI Semibold" charset="0"/>
              </a:defRPr>
            </a:lvl1pPr>
          </a:lstStyle>
          <a:p>
            <a:pPr marL="0" lvl="0">
              <a:lnSpc>
                <a:spcPct val="100000"/>
              </a:lnSpc>
            </a:pPr>
            <a:r>
              <a:rPr lang="en-US"/>
              <a:t>Click to edit Master title style</a:t>
            </a:r>
          </a:p>
        </p:txBody>
      </p:sp>
      <p:sp>
        <p:nvSpPr>
          <p:cNvPr id="14" name="Text Placeholder 13">
            <a:extLst>
              <a:ext uri="{FF2B5EF4-FFF2-40B4-BE49-F238E27FC236}">
                <a16:creationId xmlns:a16="http://schemas.microsoft.com/office/drawing/2014/main" id="{C201B679-1DA6-45FD-9570-713EF3F4903A}"/>
              </a:ext>
            </a:extLst>
          </p:cNvPr>
          <p:cNvSpPr>
            <a:spLocks noGrp="1"/>
          </p:cNvSpPr>
          <p:nvPr>
            <p:ph type="body" sz="quarter" idx="11"/>
          </p:nvPr>
        </p:nvSpPr>
        <p:spPr>
          <a:xfrm>
            <a:off x="6350000" y="1436125"/>
            <a:ext cx="4700858" cy="1562912"/>
          </a:xfrm>
        </p:spPr>
        <p:txBody>
          <a:bodyPr/>
          <a:lstStyle>
            <a:lvl1pPr>
              <a:defRPr sz="2400"/>
            </a:lvl1pPr>
            <a:lvl2pPr>
              <a:defRPr sz="1800">
                <a:latin typeface="+mj-lt"/>
              </a:defRPr>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168982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4720857" cy="1046440"/>
          </a:xfrm>
        </p:spPr>
        <p:txBody>
          <a:bodyPr vert="horz" wrap="square" lIns="146304" tIns="91440" rIns="146304" bIns="91440" rtlCol="0" anchor="t">
            <a:noAutofit/>
          </a:bodyPr>
          <a:lstStyle>
            <a:lvl1pPr>
              <a:defRPr lang="en-US" sz="3200" b="0" kern="1200" cap="none" spc="0" baseline="0" dirty="0">
                <a:ln w="3175">
                  <a:noFill/>
                </a:ln>
                <a:solidFill>
                  <a:schemeClr val="bg1"/>
                </a:solidFill>
                <a:effectLst/>
                <a:latin typeface="+mj-lt"/>
                <a:ea typeface="Segoe UI Semilight" panose="020B0402040204020203" pitchFamily="34" charset="0"/>
                <a:cs typeface="Segoe UI Semilight" panose="020B0402040204020203" pitchFamily="34"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12886AA-A156-4EC6-A1EA-17C1BB0CF527}"/>
              </a:ext>
            </a:extLst>
          </p:cNvPr>
          <p:cNvSpPr>
            <a:spLocks noGrp="1"/>
          </p:cNvSpPr>
          <p:nvPr>
            <p:ph type="body" sz="quarter" idx="10"/>
          </p:nvPr>
        </p:nvSpPr>
        <p:spPr>
          <a:xfrm>
            <a:off x="269240" y="2314246"/>
            <a:ext cx="4547689" cy="4048455"/>
          </a:xfrm>
        </p:spPr>
        <p:txBody>
          <a:bodyPr>
            <a:normAutofit/>
          </a:bodyPr>
          <a:lstStyle>
            <a:lvl1pPr>
              <a:lnSpc>
                <a:spcPct val="100000"/>
              </a:lnSpc>
              <a:spcBef>
                <a:spcPts val="200"/>
              </a:spcBef>
              <a:spcAft>
                <a:spcPts val="1200"/>
              </a:spcAft>
              <a:defRPr lang="en-US" sz="1400" spc="100" smtClean="0">
                <a:solidFill>
                  <a:schemeClr val="bg1"/>
                </a:solidFill>
                <a:latin typeface="Segoe UI Semilight" charset="0"/>
                <a:cs typeface="Segoe UI Semilight" charset="0"/>
              </a:defRPr>
            </a:lvl1pPr>
            <a:lvl2pPr>
              <a:defRPr lang="en-US" smtClean="0">
                <a:solidFill>
                  <a:schemeClr val="tx1"/>
                </a:solidFill>
              </a:defRPr>
            </a:lvl2pPr>
            <a:lvl3pPr>
              <a:defRPr lang="en-US" smtClean="0">
                <a:solidFill>
                  <a:schemeClr val="tx1"/>
                </a:solidFill>
              </a:defRPr>
            </a:lvl3pPr>
            <a:lvl4pPr>
              <a:defRPr lang="en-US" smtClean="0">
                <a:solidFill>
                  <a:schemeClr val="tx1"/>
                </a:solidFill>
              </a:defRPr>
            </a:lvl4pPr>
            <a:lvl5pPr>
              <a:defRPr lang="en-US">
                <a:solidFill>
                  <a:schemeClr val="tx1"/>
                </a:solidFill>
              </a:defRPr>
            </a:lvl5pPr>
          </a:lstStyle>
          <a:p>
            <a:pPr marL="0" lvl="0" indent="0" defTabSz="914225">
              <a:spcBef>
                <a:spcPts val="1000"/>
              </a:spcBef>
              <a:buNone/>
            </a:pPr>
            <a:r>
              <a:rPr lang="en-US"/>
              <a:t>Edit Master text styles</a:t>
            </a:r>
          </a:p>
        </p:txBody>
      </p:sp>
    </p:spTree>
    <p:extLst>
      <p:ext uri="{BB962C8B-B14F-4D97-AF65-F5344CB8AC3E}">
        <p14:creationId xmlns:p14="http://schemas.microsoft.com/office/powerpoint/2010/main" val="287977815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998316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468246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632438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8323690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8676766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350680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909631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196557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354214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131890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978950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87518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1640787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563198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l="-3" r="43761"/>
          <a:stretch/>
        </p:blipFill>
        <p:spPr>
          <a:xfrm flipH="1">
            <a:off x="5334350" y="2"/>
            <a:ext cx="6855908" cy="6857996"/>
          </a:xfrm>
          <a:prstGeom prst="rect">
            <a:avLst/>
          </a:prstGeom>
        </p:spPr>
      </p:pic>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5391757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038361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2201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83252"/>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91409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8 Microsoft Corporation. All rights reserved. </a:t>
            </a:r>
          </a:p>
        </p:txBody>
      </p:sp>
    </p:spTree>
    <p:extLst>
      <p:ext uri="{BB962C8B-B14F-4D97-AF65-F5344CB8AC3E}">
        <p14:creationId xmlns:p14="http://schemas.microsoft.com/office/powerpoint/2010/main" val="201035306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894411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2" y="294380"/>
            <a:ext cx="11655840" cy="899665"/>
          </a:xfrm>
        </p:spPr>
        <p:txBody>
          <a:bodyPr/>
          <a:lstStyle>
            <a:lvl1pPr marL="0" algn="l" defTabSz="895519" rtl="0" eaLnBrk="1" latinLnBrk="0" hangingPunct="1">
              <a:spcBef>
                <a:spcPct val="0"/>
              </a:spcBef>
              <a:buNone/>
              <a:defRPr lang="en-US" sz="4309"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370174128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A2348ECF-26C5-46F7-AB4A-94957FAB561F}"/>
              </a:ext>
            </a:extLst>
          </p:cNvPr>
          <p:cNvSpPr>
            <a:spLocks noGrp="1"/>
          </p:cNvSpPr>
          <p:nvPr>
            <p:ph type="body" sz="quarter" idx="10"/>
          </p:nvPr>
        </p:nvSpPr>
        <p:spPr>
          <a:xfrm>
            <a:off x="269240" y="1189178"/>
            <a:ext cx="11653523" cy="2356691"/>
          </a:xfrm>
        </p:spPr>
        <p:txBody>
          <a:bodyPr>
            <a:spAutoFit/>
          </a:bodyPr>
          <a:lstStyle>
            <a:lvl1pPr>
              <a:lnSpc>
                <a:spcPct val="95000"/>
              </a:lnSpc>
              <a:spcBef>
                <a:spcPts val="588"/>
              </a:spcBef>
              <a:spcAft>
                <a:spcPts val="588"/>
              </a:spcAft>
              <a:defRPr sz="3528">
                <a:solidFill>
                  <a:schemeClr val="bg1"/>
                </a:solidFill>
              </a:defRPr>
            </a:lvl1pPr>
            <a:lvl2pPr>
              <a:lnSpc>
                <a:spcPct val="95000"/>
              </a:lnSpc>
              <a:spcBef>
                <a:spcPts val="588"/>
              </a:spcBef>
              <a:spcAft>
                <a:spcPts val="588"/>
              </a:spcAft>
              <a:defRPr>
                <a:solidFill>
                  <a:schemeClr val="bg1"/>
                </a:solidFill>
              </a:defRPr>
            </a:lvl2pPr>
            <a:lvl3pPr>
              <a:lnSpc>
                <a:spcPct val="95000"/>
              </a:lnSpc>
              <a:spcBef>
                <a:spcPts val="588"/>
              </a:spcBef>
              <a:spcAft>
                <a:spcPts val="588"/>
              </a:spcAft>
              <a:defRPr>
                <a:solidFill>
                  <a:schemeClr val="bg1"/>
                </a:solidFill>
              </a:defRPr>
            </a:lvl3pPr>
            <a:lvl4pPr>
              <a:lnSpc>
                <a:spcPct val="95000"/>
              </a:lnSpc>
              <a:spcBef>
                <a:spcPts val="588"/>
              </a:spcBef>
              <a:spcAft>
                <a:spcPts val="588"/>
              </a:spcAft>
              <a:defRPr>
                <a:solidFill>
                  <a:schemeClr val="bg1"/>
                </a:solidFill>
              </a:defRPr>
            </a:lvl4pPr>
            <a:lvl5pPr>
              <a:lnSpc>
                <a:spcPct val="95000"/>
              </a:lnSpc>
              <a:spcBef>
                <a:spcPts val="588"/>
              </a:spcBef>
              <a:spcAft>
                <a:spcPts val="588"/>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66864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2521552"/>
            <a:ext cx="9423291" cy="3595546"/>
          </a:xfrm>
          <a:noFill/>
        </p:spPr>
        <p:txBody>
          <a:bodyPr lIns="146304" tIns="0" rIns="0" bIns="91440" anchor="t" anchorCtr="0"/>
          <a:lstStyle>
            <a:lvl1pPr>
              <a:defRPr sz="5293" spc="-98" baseline="0">
                <a:solidFill>
                  <a:schemeClr val="tx1"/>
                </a:solidFill>
              </a:defRPr>
            </a:lvl1pPr>
          </a:lstStyle>
          <a:p>
            <a:r>
              <a:rPr lang="en-US"/>
              <a:t>Lorem ipsum</a:t>
            </a:r>
          </a:p>
        </p:txBody>
      </p:sp>
    </p:spTree>
    <p:extLst>
      <p:ext uri="{BB962C8B-B14F-4D97-AF65-F5344CB8AC3E}">
        <p14:creationId xmlns:p14="http://schemas.microsoft.com/office/powerpoint/2010/main" val="254069241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Tree>
    <p:extLst>
      <p:ext uri="{BB962C8B-B14F-4D97-AF65-F5344CB8AC3E}">
        <p14:creationId xmlns:p14="http://schemas.microsoft.com/office/powerpoint/2010/main" val="191482886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57058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with photo and tile">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p:nvSpPr>
        <p:spPr bwMode="auto">
          <a:xfrm>
            <a:off x="269239" y="2077800"/>
            <a:ext cx="5378549"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5378486" cy="1793104"/>
          </a:xfrm>
          <a:noFill/>
        </p:spPr>
        <p:txBody>
          <a:bodyPr lIns="146304" tIns="91440" rIns="146304" bIns="91440" anchor="t" anchorCtr="0"/>
          <a:lstStyle>
            <a:lvl1pPr>
              <a:defRPr sz="4705"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6"/>
            <a:ext cx="5380106" cy="1793104"/>
          </a:xfrm>
        </p:spPr>
        <p:txBody>
          <a:bodyPr lIns="164592" tIns="109728" rIns="164592"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grpSp>
        <p:nvGrpSpPr>
          <p:cNvPr id="8" name="Group 7"/>
          <p:cNvGrpSpPr>
            <a:grpSpLocks noChangeAspect="1"/>
          </p:cNvGrpSpPr>
          <p:nvPr/>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958456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F350FD-0873-47C6-85CE-351ABEF242C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EAEE55B-B612-469E-B78E-73B75089BE3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EA6F87-DA3A-4D8B-83AC-F005868B79B1}"/>
              </a:ext>
            </a:extLst>
          </p:cNvPr>
          <p:cNvSpPr>
            <a:spLocks noGrp="1"/>
          </p:cNvSpPr>
          <p:nvPr>
            <p:ph type="dt" sz="half" idx="10"/>
          </p:nvPr>
        </p:nvSpPr>
        <p:spPr/>
        <p:txBody>
          <a:bodyPr/>
          <a:lstStyle/>
          <a:p>
            <a:fld id="{64090161-8224-436E-9697-076F1D8F120C}" type="datetimeFigureOut">
              <a:rPr lang="en-US" smtClean="0"/>
              <a:t>10/16/18</a:t>
            </a:fld>
            <a:endParaRPr lang="en-US"/>
          </a:p>
        </p:txBody>
      </p:sp>
      <p:sp>
        <p:nvSpPr>
          <p:cNvPr id="5" name="Footer Placeholder 4">
            <a:extLst>
              <a:ext uri="{FF2B5EF4-FFF2-40B4-BE49-F238E27FC236}">
                <a16:creationId xmlns:a16="http://schemas.microsoft.com/office/drawing/2014/main" id="{F51DC8CE-A490-46FB-BECC-F7960C2540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EC9ACB-B879-49D1-A839-486998EC2459}"/>
              </a:ext>
            </a:extLst>
          </p:cNvPr>
          <p:cNvSpPr>
            <a:spLocks noGrp="1"/>
          </p:cNvSpPr>
          <p:nvPr>
            <p:ph type="sldNum" sz="quarter" idx="12"/>
          </p:nvPr>
        </p:nvSpPr>
        <p:spPr/>
        <p:txBody>
          <a:bodyPr/>
          <a:lstStyle/>
          <a:p>
            <a:fld id="{27D3882F-12A7-44E5-A720-F0805A4EC1C9}" type="slidenum">
              <a:rPr lang="en-US" smtClean="0"/>
              <a:t>‹#›</a:t>
            </a:fld>
            <a:endParaRPr lang="en-US"/>
          </a:p>
        </p:txBody>
      </p:sp>
    </p:spTree>
    <p:extLst>
      <p:ext uri="{BB962C8B-B14F-4D97-AF65-F5344CB8AC3E}">
        <p14:creationId xmlns:p14="http://schemas.microsoft.com/office/powerpoint/2010/main" val="95175306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9107622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2503501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2012279"/>
          </a:xfrm>
        </p:spPr>
        <p:txBody>
          <a:bodyPr/>
          <a:lstStyle>
            <a:lvl1pPr marL="0" indent="0">
              <a:buNone/>
              <a:defRPr>
                <a:solidFill>
                  <a:schemeClr val="tx2"/>
                </a:solidFill>
              </a:defRPr>
            </a:lvl1pPr>
            <a:lvl2pPr marL="0" indent="0">
              <a:buFontTx/>
              <a:buNone/>
              <a:defRPr sz="1961"/>
            </a:lvl2pPr>
            <a:lvl3pPr marL="224031" indent="0">
              <a:buNone/>
              <a:defRPr/>
            </a:lvl3pPr>
            <a:lvl4pPr marL="448061" indent="0">
              <a:buNone/>
              <a:defRPr/>
            </a:lvl4pPr>
            <a:lvl5pPr marL="67209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80"/>
            <a:ext cx="11653523" cy="2079990"/>
          </a:xfrm>
        </p:spPr>
        <p:txBody>
          <a:bodyPr wrap="square">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89057184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81917"/>
          </a:xfrm>
        </p:spPr>
        <p:txBody>
          <a:bodyPr wrap="square">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121254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349" y="0"/>
            <a:ext cx="6857651" cy="6858000"/>
          </a:xfrm>
          <a:prstGeom prst="rect">
            <a:avLst/>
          </a:prstGeom>
        </p:spPr>
      </p:pic>
    </p:spTree>
    <p:extLst>
      <p:ext uri="{BB962C8B-B14F-4D97-AF65-F5344CB8AC3E}">
        <p14:creationId xmlns:p14="http://schemas.microsoft.com/office/powerpoint/2010/main" val="2821454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360"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64469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F350FD-0873-47C6-85CE-351ABEF242C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EAEE55B-B612-469E-B78E-73B75089BE3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EA6F87-DA3A-4D8B-83AC-F005868B79B1}"/>
              </a:ext>
            </a:extLst>
          </p:cNvPr>
          <p:cNvSpPr>
            <a:spLocks noGrp="1"/>
          </p:cNvSpPr>
          <p:nvPr>
            <p:ph type="dt" sz="half" idx="10"/>
          </p:nvPr>
        </p:nvSpPr>
        <p:spPr/>
        <p:txBody>
          <a:bodyPr/>
          <a:lstStyle/>
          <a:p>
            <a:fld id="{64090161-8224-436E-9697-076F1D8F120C}" type="datetimeFigureOut">
              <a:rPr lang="en-US" smtClean="0"/>
              <a:t>10/16/18</a:t>
            </a:fld>
            <a:endParaRPr lang="en-US"/>
          </a:p>
        </p:txBody>
      </p:sp>
      <p:sp>
        <p:nvSpPr>
          <p:cNvPr id="5" name="Footer Placeholder 4">
            <a:extLst>
              <a:ext uri="{FF2B5EF4-FFF2-40B4-BE49-F238E27FC236}">
                <a16:creationId xmlns:a16="http://schemas.microsoft.com/office/drawing/2014/main" id="{F51DC8CE-A490-46FB-BECC-F7960C2540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EC9ACB-B879-49D1-A839-486998EC2459}"/>
              </a:ext>
            </a:extLst>
          </p:cNvPr>
          <p:cNvSpPr>
            <a:spLocks noGrp="1"/>
          </p:cNvSpPr>
          <p:nvPr>
            <p:ph type="sldNum" sz="quarter" idx="12"/>
          </p:nvPr>
        </p:nvSpPr>
        <p:spPr/>
        <p:txBody>
          <a:bodyPr/>
          <a:lstStyle/>
          <a:p>
            <a:fld id="{27D3882F-12A7-44E5-A720-F0805A4EC1C9}" type="slidenum">
              <a:rPr lang="en-US" smtClean="0"/>
              <a:t>‹#›</a:t>
            </a:fld>
            <a:endParaRPr lang="en-US"/>
          </a:p>
        </p:txBody>
      </p:sp>
    </p:spTree>
    <p:extLst>
      <p:ext uri="{BB962C8B-B14F-4D97-AF65-F5344CB8AC3E}">
        <p14:creationId xmlns:p14="http://schemas.microsoft.com/office/powerpoint/2010/main" val="15365201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730144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5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Tree>
    <p:extLst>
      <p:ext uri="{BB962C8B-B14F-4D97-AF65-F5344CB8AC3E}">
        <p14:creationId xmlns:p14="http://schemas.microsoft.com/office/powerpoint/2010/main" val="390567495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2521552"/>
            <a:ext cx="9423291" cy="3595546"/>
          </a:xfrm>
          <a:noFill/>
        </p:spPr>
        <p:txBody>
          <a:bodyPr lIns="146304" tIns="0" rIns="0" bIns="91440" anchor="t" anchorCtr="0"/>
          <a:lstStyle>
            <a:lvl1pPr>
              <a:defRPr sz="5293" spc="-98" baseline="0">
                <a:solidFill>
                  <a:schemeClr val="tx1"/>
                </a:solidFill>
              </a:defRPr>
            </a:lvl1pPr>
          </a:lstStyle>
          <a:p>
            <a:r>
              <a:rPr lang="en-US"/>
              <a:t>Lorem ipsum</a:t>
            </a:r>
          </a:p>
        </p:txBody>
      </p:sp>
    </p:spTree>
    <p:extLst>
      <p:ext uri="{BB962C8B-B14F-4D97-AF65-F5344CB8AC3E}">
        <p14:creationId xmlns:p14="http://schemas.microsoft.com/office/powerpoint/2010/main" val="16726978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6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A2348ECF-26C5-46F7-AB4A-94957FAB561F}"/>
              </a:ext>
            </a:extLst>
          </p:cNvPr>
          <p:cNvSpPr>
            <a:spLocks noGrp="1"/>
          </p:cNvSpPr>
          <p:nvPr>
            <p:ph type="body" sz="quarter" idx="10"/>
          </p:nvPr>
        </p:nvSpPr>
        <p:spPr>
          <a:xfrm>
            <a:off x="269240" y="1189178"/>
            <a:ext cx="11653523" cy="2356691"/>
          </a:xfrm>
        </p:spPr>
        <p:txBody>
          <a:bodyPr>
            <a:spAutoFit/>
          </a:bodyPr>
          <a:lstStyle>
            <a:lvl1pPr>
              <a:lnSpc>
                <a:spcPct val="95000"/>
              </a:lnSpc>
              <a:spcBef>
                <a:spcPts val="588"/>
              </a:spcBef>
              <a:spcAft>
                <a:spcPts val="588"/>
              </a:spcAft>
              <a:defRPr sz="3528">
                <a:solidFill>
                  <a:schemeClr val="bg1"/>
                </a:solidFill>
              </a:defRPr>
            </a:lvl1pPr>
            <a:lvl2pPr>
              <a:lnSpc>
                <a:spcPct val="95000"/>
              </a:lnSpc>
              <a:spcBef>
                <a:spcPts val="588"/>
              </a:spcBef>
              <a:spcAft>
                <a:spcPts val="588"/>
              </a:spcAft>
              <a:defRPr>
                <a:solidFill>
                  <a:schemeClr val="bg1"/>
                </a:solidFill>
              </a:defRPr>
            </a:lvl2pPr>
            <a:lvl3pPr>
              <a:lnSpc>
                <a:spcPct val="95000"/>
              </a:lnSpc>
              <a:spcBef>
                <a:spcPts val="588"/>
              </a:spcBef>
              <a:spcAft>
                <a:spcPts val="588"/>
              </a:spcAft>
              <a:defRPr>
                <a:solidFill>
                  <a:schemeClr val="bg1"/>
                </a:solidFill>
              </a:defRPr>
            </a:lvl3pPr>
            <a:lvl4pPr>
              <a:lnSpc>
                <a:spcPct val="95000"/>
              </a:lnSpc>
              <a:spcBef>
                <a:spcPts val="588"/>
              </a:spcBef>
              <a:spcAft>
                <a:spcPts val="588"/>
              </a:spcAft>
              <a:defRPr>
                <a:solidFill>
                  <a:schemeClr val="bg1"/>
                </a:solidFill>
              </a:defRPr>
            </a:lvl4pPr>
            <a:lvl5pPr>
              <a:lnSpc>
                <a:spcPct val="95000"/>
              </a:lnSpc>
              <a:spcBef>
                <a:spcPts val="588"/>
              </a:spcBef>
              <a:spcAft>
                <a:spcPts val="588"/>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27039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02034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489713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4214775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5501957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F350FD-0873-47C6-85CE-351ABEF242C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EAEE55B-B612-469E-B78E-73B75089BE3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EA6F87-DA3A-4D8B-83AC-F005868B79B1}"/>
              </a:ext>
            </a:extLst>
          </p:cNvPr>
          <p:cNvSpPr>
            <a:spLocks noGrp="1"/>
          </p:cNvSpPr>
          <p:nvPr>
            <p:ph type="dt" sz="half" idx="10"/>
          </p:nvPr>
        </p:nvSpPr>
        <p:spPr/>
        <p:txBody>
          <a:bodyPr/>
          <a:lstStyle/>
          <a:p>
            <a:fld id="{64090161-8224-436E-9697-076F1D8F120C}" type="datetimeFigureOut">
              <a:rPr lang="en-US" smtClean="0"/>
              <a:t>10/16/18</a:t>
            </a:fld>
            <a:endParaRPr lang="en-US"/>
          </a:p>
        </p:txBody>
      </p:sp>
      <p:sp>
        <p:nvSpPr>
          <p:cNvPr id="5" name="Footer Placeholder 4">
            <a:extLst>
              <a:ext uri="{FF2B5EF4-FFF2-40B4-BE49-F238E27FC236}">
                <a16:creationId xmlns:a16="http://schemas.microsoft.com/office/drawing/2014/main" id="{F51DC8CE-A490-46FB-BECC-F7960C2540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EC9ACB-B879-49D1-A839-486998EC2459}"/>
              </a:ext>
            </a:extLst>
          </p:cNvPr>
          <p:cNvSpPr>
            <a:spLocks noGrp="1"/>
          </p:cNvSpPr>
          <p:nvPr>
            <p:ph type="sldNum" sz="quarter" idx="12"/>
          </p:nvPr>
        </p:nvSpPr>
        <p:spPr/>
        <p:txBody>
          <a:bodyPr/>
          <a:lstStyle/>
          <a:p>
            <a:fld id="{27D3882F-12A7-44E5-A720-F0805A4EC1C9}" type="slidenum">
              <a:rPr lang="en-US" smtClean="0"/>
              <a:t>‹#›</a:t>
            </a:fld>
            <a:endParaRPr lang="en-US"/>
          </a:p>
        </p:txBody>
      </p:sp>
    </p:spTree>
    <p:extLst>
      <p:ext uri="{BB962C8B-B14F-4D97-AF65-F5344CB8AC3E}">
        <p14:creationId xmlns:p14="http://schemas.microsoft.com/office/powerpoint/2010/main" val="344676835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5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Tree>
    <p:extLst>
      <p:ext uri="{BB962C8B-B14F-4D97-AF65-F5344CB8AC3E}">
        <p14:creationId xmlns:p14="http://schemas.microsoft.com/office/powerpoint/2010/main" val="299385502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2521552"/>
            <a:ext cx="9423291" cy="3595546"/>
          </a:xfrm>
          <a:noFill/>
        </p:spPr>
        <p:txBody>
          <a:bodyPr lIns="146304" tIns="0" rIns="0" bIns="91440" anchor="t" anchorCtr="0"/>
          <a:lstStyle>
            <a:lvl1pPr>
              <a:defRPr sz="5293" spc="-98" baseline="0">
                <a:solidFill>
                  <a:schemeClr val="tx1"/>
                </a:solidFill>
              </a:defRPr>
            </a:lvl1pPr>
          </a:lstStyle>
          <a:p>
            <a:r>
              <a:rPr lang="en-US"/>
              <a:t>Lorem ipsum</a:t>
            </a:r>
          </a:p>
        </p:txBody>
      </p:sp>
    </p:spTree>
    <p:extLst>
      <p:ext uri="{BB962C8B-B14F-4D97-AF65-F5344CB8AC3E}">
        <p14:creationId xmlns:p14="http://schemas.microsoft.com/office/powerpoint/2010/main" val="224852927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6409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6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A2348ECF-26C5-46F7-AB4A-94957FAB561F}"/>
              </a:ext>
            </a:extLst>
          </p:cNvPr>
          <p:cNvSpPr>
            <a:spLocks noGrp="1"/>
          </p:cNvSpPr>
          <p:nvPr>
            <p:ph type="body" sz="quarter" idx="10"/>
          </p:nvPr>
        </p:nvSpPr>
        <p:spPr>
          <a:xfrm>
            <a:off x="269240" y="1189178"/>
            <a:ext cx="11653523" cy="2356691"/>
          </a:xfrm>
        </p:spPr>
        <p:txBody>
          <a:bodyPr>
            <a:spAutoFit/>
          </a:bodyPr>
          <a:lstStyle>
            <a:lvl1pPr>
              <a:lnSpc>
                <a:spcPct val="95000"/>
              </a:lnSpc>
              <a:spcBef>
                <a:spcPts val="588"/>
              </a:spcBef>
              <a:spcAft>
                <a:spcPts val="588"/>
              </a:spcAft>
              <a:defRPr sz="3528">
                <a:solidFill>
                  <a:schemeClr val="bg1"/>
                </a:solidFill>
              </a:defRPr>
            </a:lvl1pPr>
            <a:lvl2pPr>
              <a:lnSpc>
                <a:spcPct val="95000"/>
              </a:lnSpc>
              <a:spcBef>
                <a:spcPts val="588"/>
              </a:spcBef>
              <a:spcAft>
                <a:spcPts val="588"/>
              </a:spcAft>
              <a:defRPr>
                <a:solidFill>
                  <a:schemeClr val="bg1"/>
                </a:solidFill>
              </a:defRPr>
            </a:lvl2pPr>
            <a:lvl3pPr>
              <a:lnSpc>
                <a:spcPct val="95000"/>
              </a:lnSpc>
              <a:spcBef>
                <a:spcPts val="588"/>
              </a:spcBef>
              <a:spcAft>
                <a:spcPts val="588"/>
              </a:spcAft>
              <a:defRPr>
                <a:solidFill>
                  <a:schemeClr val="bg1"/>
                </a:solidFill>
              </a:defRPr>
            </a:lvl3pPr>
            <a:lvl4pPr>
              <a:lnSpc>
                <a:spcPct val="95000"/>
              </a:lnSpc>
              <a:spcBef>
                <a:spcPts val="588"/>
              </a:spcBef>
              <a:spcAft>
                <a:spcPts val="588"/>
              </a:spcAft>
              <a:defRPr>
                <a:solidFill>
                  <a:schemeClr val="bg1"/>
                </a:solidFill>
              </a:defRPr>
            </a:lvl4pPr>
            <a:lvl5pPr>
              <a:lnSpc>
                <a:spcPct val="95000"/>
              </a:lnSpc>
              <a:spcBef>
                <a:spcPts val="588"/>
              </a:spcBef>
              <a:spcAft>
                <a:spcPts val="588"/>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100424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81917"/>
          </a:xfrm>
        </p:spPr>
        <p:txBody>
          <a:bodyPr wrap="square">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731806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square photo">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349" y="0"/>
            <a:ext cx="6857651" cy="6858000"/>
          </a:xfrm>
          <a:prstGeom prst="rect">
            <a:avLst/>
          </a:prstGeom>
        </p:spPr>
      </p:pic>
    </p:spTree>
    <p:extLst>
      <p:ext uri="{BB962C8B-B14F-4D97-AF65-F5344CB8AC3E}">
        <p14:creationId xmlns:p14="http://schemas.microsoft.com/office/powerpoint/2010/main" val="2740967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36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84548706"/>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8161870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9200494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5811603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51819272"/>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461418446"/>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843555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5854554"/>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8554225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06951"/>
          </a:xfrm>
        </p:spPr>
        <p:txBody>
          <a:bodyPr wrap="square">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7360" y="6566898"/>
            <a:ext cx="3457280" cy="158429"/>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26127836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86160377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50159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857660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4007928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67255F4-7C58-4BBA-A3F5-26B4C4AB0335}" type="datetimeFigureOut">
              <a:rPr lang="en-US" smtClean="0">
                <a:solidFill>
                  <a:srgbClr val="000000">
                    <a:tint val="75000"/>
                  </a:srgbClr>
                </a:solidFill>
              </a:rPr>
              <a:pPr/>
              <a:t>10/16/18</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A4BE7A9A-2538-4781-A015-FF1A92A0C2A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82725042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6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Tree>
    <p:extLst>
      <p:ext uri="{BB962C8B-B14F-4D97-AF65-F5344CB8AC3E}">
        <p14:creationId xmlns:p14="http://schemas.microsoft.com/office/powerpoint/2010/main" val="52111749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67741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7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A2348ECF-26C5-46F7-AB4A-94957FAB561F}"/>
              </a:ext>
            </a:extLst>
          </p:cNvPr>
          <p:cNvSpPr>
            <a:spLocks noGrp="1"/>
          </p:cNvSpPr>
          <p:nvPr>
            <p:ph type="body" sz="quarter" idx="10"/>
          </p:nvPr>
        </p:nvSpPr>
        <p:spPr>
          <a:xfrm>
            <a:off x="269240" y="1189178"/>
            <a:ext cx="11653523" cy="2356691"/>
          </a:xfrm>
        </p:spPr>
        <p:txBody>
          <a:bodyPr>
            <a:spAutoFit/>
          </a:bodyPr>
          <a:lstStyle>
            <a:lvl1pPr>
              <a:lnSpc>
                <a:spcPct val="95000"/>
              </a:lnSpc>
              <a:spcBef>
                <a:spcPts val="588"/>
              </a:spcBef>
              <a:spcAft>
                <a:spcPts val="588"/>
              </a:spcAft>
              <a:defRPr sz="3528">
                <a:solidFill>
                  <a:schemeClr val="bg1"/>
                </a:solidFill>
              </a:defRPr>
            </a:lvl1pPr>
            <a:lvl2pPr>
              <a:lnSpc>
                <a:spcPct val="95000"/>
              </a:lnSpc>
              <a:spcBef>
                <a:spcPts val="588"/>
              </a:spcBef>
              <a:spcAft>
                <a:spcPts val="588"/>
              </a:spcAft>
              <a:defRPr>
                <a:solidFill>
                  <a:schemeClr val="bg1"/>
                </a:solidFill>
              </a:defRPr>
            </a:lvl2pPr>
            <a:lvl3pPr>
              <a:lnSpc>
                <a:spcPct val="95000"/>
              </a:lnSpc>
              <a:spcBef>
                <a:spcPts val="588"/>
              </a:spcBef>
              <a:spcAft>
                <a:spcPts val="588"/>
              </a:spcAft>
              <a:defRPr>
                <a:solidFill>
                  <a:schemeClr val="bg1"/>
                </a:solidFill>
              </a:defRPr>
            </a:lvl3pPr>
            <a:lvl4pPr>
              <a:lnSpc>
                <a:spcPct val="95000"/>
              </a:lnSpc>
              <a:spcBef>
                <a:spcPts val="588"/>
              </a:spcBef>
              <a:spcAft>
                <a:spcPts val="588"/>
              </a:spcAft>
              <a:defRPr>
                <a:solidFill>
                  <a:schemeClr val="bg1"/>
                </a:solidFill>
              </a:defRPr>
            </a:lvl4pPr>
            <a:lvl5pPr>
              <a:lnSpc>
                <a:spcPct val="95000"/>
              </a:lnSpc>
              <a:spcBef>
                <a:spcPts val="588"/>
              </a:spcBef>
              <a:spcAft>
                <a:spcPts val="588"/>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504449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6038834"/>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81917"/>
          </a:xfrm>
        </p:spPr>
        <p:txBody>
          <a:bodyPr wrap="square">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632111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600" kern="1200" cap="all" spc="300" dirty="0">
                <a:solidFill>
                  <a:srgbClr val="0078D7"/>
                </a:solidFill>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196356068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amp; Content Layou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lIns="150602" tIns="120481" rIns="150602" bIns="120481"/>
          <a:lstStyle/>
          <a:p>
            <a:r>
              <a:rPr lang="en-US"/>
              <a:t>Click to edit Master title style</a:t>
            </a:r>
          </a:p>
        </p:txBody>
      </p:sp>
      <p:sp>
        <p:nvSpPr>
          <p:cNvPr id="5" name="Text Placeholder 4"/>
          <p:cNvSpPr>
            <a:spLocks noGrp="1"/>
          </p:cNvSpPr>
          <p:nvPr>
            <p:ph type="body" sz="quarter" idx="10"/>
          </p:nvPr>
        </p:nvSpPr>
        <p:spPr>
          <a:xfrm>
            <a:off x="269240" y="1635898"/>
            <a:ext cx="11653523" cy="2059838"/>
          </a:xfrm>
          <a:prstGeom prst="rect">
            <a:avLst/>
          </a:prstGeom>
        </p:spPr>
        <p:txBody>
          <a:bodyPr lIns="150602" tIns="120481" rIns="150602" bIns="120481"/>
          <a:lstStyle>
            <a:lvl1pPr>
              <a:defRPr>
                <a:solidFill>
                  <a:srgbClr val="00B0F0"/>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5930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051">
          <p15:clr>
            <a:srgbClr val="FBAE40"/>
          </p15:clr>
        </p15:guide>
        <p15:guide id="2" pos="3917">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695497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74639" y="355826"/>
            <a:ext cx="11642721" cy="1316945"/>
          </a:xfrm>
        </p:spPr>
        <p:txBody>
          <a:bodyPr/>
          <a:lstStyle/>
          <a:p>
            <a:r>
              <a:rPr lang="en-US" dirty="0"/>
              <a:t>Click to edit Master title style</a:t>
            </a:r>
          </a:p>
        </p:txBody>
      </p:sp>
      <p:sp>
        <p:nvSpPr>
          <p:cNvPr id="3" name="Rectangle 2"/>
          <p:cNvSpPr/>
          <p:nvPr userDrawn="1"/>
        </p:nvSpPr>
        <p:spPr>
          <a:xfrm>
            <a:off x="0" y="1984829"/>
            <a:ext cx="12192000" cy="4873171"/>
          </a:xfrm>
          <a:prstGeom prst="rect">
            <a:avLst/>
          </a:prstGeom>
          <a:solidFill>
            <a:srgbClr val="0078D7">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 name="Rectangle 3">
            <a:extLst>
              <a:ext uri="{FF2B5EF4-FFF2-40B4-BE49-F238E27FC236}">
                <a16:creationId xmlns:a16="http://schemas.microsoft.com/office/drawing/2014/main" id="{3CBAB0C0-1421-4CF2-96C0-B3D867F59D26}"/>
              </a:ext>
            </a:extLst>
          </p:cNvPr>
          <p:cNvSpPr/>
          <p:nvPr userDrawn="1"/>
        </p:nvSpPr>
        <p:spPr>
          <a:xfrm>
            <a:off x="0" y="1984829"/>
            <a:ext cx="4837797" cy="4873171"/>
          </a:xfrm>
          <a:prstGeom prst="rect">
            <a:avLst/>
          </a:prstGeom>
          <a:solidFill>
            <a:srgbClr val="0078D7"/>
          </a:solidFill>
          <a:ln w="12700" cap="flat" cmpd="sng" algn="ctr">
            <a:noFill/>
            <a:prstDash val="solid"/>
            <a:miter lim="800000"/>
          </a:ln>
          <a:effectLst/>
        </p:spPr>
        <p:txBody>
          <a:bodyPr rtlCol="0" anchor="ctr"/>
          <a:lstStyle/>
          <a:p>
            <a:pPr algn="ctr">
              <a:defRPr/>
            </a:pPr>
            <a:endParaRPr lang="en-US" kern="0" dirty="0">
              <a:solidFill>
                <a:srgbClr val="FFFFFF"/>
              </a:solidFill>
              <a:latin typeface="Calibri" panose="020F0502020204030204"/>
            </a:endParaRPr>
          </a:p>
        </p:txBody>
      </p:sp>
      <p:sp>
        <p:nvSpPr>
          <p:cNvPr id="7" name="Text Placeholder 6">
            <a:extLst>
              <a:ext uri="{FF2B5EF4-FFF2-40B4-BE49-F238E27FC236}">
                <a16:creationId xmlns:a16="http://schemas.microsoft.com/office/drawing/2014/main" id="{B41548F6-765D-43DC-A825-2E3FD3751E47}"/>
              </a:ext>
            </a:extLst>
          </p:cNvPr>
          <p:cNvSpPr>
            <a:spLocks noGrp="1"/>
          </p:cNvSpPr>
          <p:nvPr>
            <p:ph type="body" sz="quarter" idx="10"/>
          </p:nvPr>
        </p:nvSpPr>
        <p:spPr>
          <a:xfrm>
            <a:off x="274638" y="2357133"/>
            <a:ext cx="3358577" cy="3434786"/>
          </a:xfrm>
        </p:spPr>
        <p:txBody>
          <a:bodyPr>
            <a:noAutofit/>
          </a:bodyPr>
          <a:lstStyle>
            <a:lvl1pPr marL="0" indent="0">
              <a:spcBef>
                <a:spcPts val="1800"/>
              </a:spcBef>
              <a:buNone/>
              <a:defRPr sz="2000">
                <a:solidFill>
                  <a:schemeClr val="bg1"/>
                </a:solidFill>
                <a:latin typeface="Segoe UI Semilight" panose="020B0402040204020203" pitchFamily="34" charset="0"/>
                <a:cs typeface="Segoe UI Semilight" panose="020B0402040204020203" pitchFamily="34" charset="0"/>
              </a:defRPr>
            </a:lvl1pPr>
            <a:lvl2pPr marL="457200" indent="0">
              <a:buNone/>
              <a:defRPr sz="1800">
                <a:solidFill>
                  <a:schemeClr val="bg1"/>
                </a:solidFill>
                <a:latin typeface="Segoe UI Semilight" panose="020B0402040204020203" pitchFamily="34" charset="0"/>
                <a:cs typeface="Segoe UI Semilight" panose="020B0402040204020203" pitchFamily="34" charset="0"/>
              </a:defRPr>
            </a:lvl2pPr>
            <a:lvl3pPr marL="914400" indent="0">
              <a:buNone/>
              <a:defRPr sz="1600">
                <a:solidFill>
                  <a:schemeClr val="bg1"/>
                </a:solidFill>
                <a:latin typeface="Segoe UI Semilight" panose="020B0402040204020203" pitchFamily="34" charset="0"/>
                <a:cs typeface="Segoe UI Semilight" panose="020B0402040204020203" pitchFamily="34" charset="0"/>
              </a:defRPr>
            </a:lvl3pPr>
            <a:lvl4pPr marL="1371600" indent="0">
              <a:buNone/>
              <a:defRPr sz="1400">
                <a:solidFill>
                  <a:schemeClr val="bg1"/>
                </a:solidFill>
                <a:latin typeface="Segoe UI Semilight" panose="020B0402040204020203" pitchFamily="34" charset="0"/>
                <a:cs typeface="Segoe UI Semilight" panose="020B0402040204020203" pitchFamily="34" charset="0"/>
              </a:defRPr>
            </a:lvl4pPr>
            <a:lvl5pPr marL="1828800" indent="0">
              <a:buNone/>
              <a:defRPr sz="1400">
                <a:solidFill>
                  <a:schemeClr val="bg1"/>
                </a:solidFill>
                <a:latin typeface="Segoe UI Semilight" panose="020B0402040204020203" pitchFamily="34" charset="0"/>
                <a:cs typeface="Segoe UI Semilight" panose="020B04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2809589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square photo">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349" y="0"/>
            <a:ext cx="6857651" cy="6858000"/>
          </a:xfrm>
          <a:prstGeom prst="rect">
            <a:avLst/>
          </a:prstGeom>
        </p:spPr>
      </p:pic>
    </p:spTree>
    <p:extLst>
      <p:ext uri="{BB962C8B-B14F-4D97-AF65-F5344CB8AC3E}">
        <p14:creationId xmlns:p14="http://schemas.microsoft.com/office/powerpoint/2010/main" val="3307218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3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Title Slide - Microsoft">
    <p:bg>
      <p:bgRef idx="1001">
        <a:schemeClr val="bg2"/>
      </p:bgRef>
    </p:bg>
    <p:spTree>
      <p:nvGrpSpPr>
        <p:cNvPr id="1" name=""/>
        <p:cNvGrpSpPr/>
        <p:nvPr/>
      </p:nvGrpSpPr>
      <p:grpSpPr>
        <a:xfrm>
          <a:off x="0" y="0"/>
          <a:ext cx="0" cy="0"/>
          <a:chOff x="0" y="0"/>
          <a:chExt cx="0" cy="0"/>
        </a:xfrm>
      </p:grpSpPr>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1060015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857660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4739052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67255F4-7C58-4BBA-A3F5-26B4C4AB0335}" type="datetimeFigureOut">
              <a:rPr lang="en-US" smtClean="0">
                <a:solidFill>
                  <a:srgbClr val="000000">
                    <a:tint val="75000"/>
                  </a:srgbClr>
                </a:solidFill>
              </a:rPr>
              <a:pPr/>
              <a:t>10/16/18</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A4BE7A9A-2538-4781-A015-FF1A92A0C2A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3166450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theme" Target="../theme/theme10.xml"/><Relationship Id="rId1" Type="http://schemas.openxmlformats.org/officeDocument/2006/relationships/slideLayout" Target="../slideLayouts/slideLayout79.xml"/></Relationships>
</file>

<file path=ppt/slideMasters/_rels/slideMaster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heme" Target="../theme/theme11.xml"/><Relationship Id="rId1" Type="http://schemas.openxmlformats.org/officeDocument/2006/relationships/slideLayout" Target="../slideLayouts/slideLayout80.xml"/></Relationships>
</file>

<file path=ppt/slideMasters/_rels/slideMaster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heme" Target="../theme/theme12.xml"/><Relationship Id="rId1" Type="http://schemas.openxmlformats.org/officeDocument/2006/relationships/slideLayout" Target="../slideLayouts/slideLayout81.xml"/></Relationships>
</file>

<file path=ppt/slideMasters/_rels/slideMaster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heme" Target="../theme/theme13.xml"/><Relationship Id="rId1" Type="http://schemas.openxmlformats.org/officeDocument/2006/relationships/slideLayout" Target="../slideLayouts/slideLayout82.xml"/></Relationships>
</file>

<file path=ppt/slideMasters/_rels/slideMaster14.xml.rels><?xml version="1.0" encoding="UTF-8" standalone="yes"?>
<Relationships xmlns="http://schemas.openxmlformats.org/package/2006/relationships"><Relationship Id="rId2" Type="http://schemas.openxmlformats.org/officeDocument/2006/relationships/theme" Target="../theme/theme14.xml"/><Relationship Id="rId1" Type="http://schemas.openxmlformats.org/officeDocument/2006/relationships/slideLayout" Target="../slideLayouts/slideLayout83.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04.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heme" Target="../theme/theme16.xml"/><Relationship Id="rId5" Type="http://schemas.openxmlformats.org/officeDocument/2006/relationships/slideLayout" Target="../slideLayouts/slideLayout101.xml"/><Relationship Id="rId10" Type="http://schemas.openxmlformats.org/officeDocument/2006/relationships/slideLayout" Target="../slideLayouts/slideLayout106.xml"/><Relationship Id="rId4" Type="http://schemas.openxmlformats.org/officeDocument/2006/relationships/slideLayout" Target="../slideLayouts/slideLayout100.xml"/><Relationship Id="rId9" Type="http://schemas.openxmlformats.org/officeDocument/2006/relationships/slideLayout" Target="../slideLayouts/slideLayout105.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slideLayout" Target="../slideLayouts/slideLayout132.xml"/><Relationship Id="rId3" Type="http://schemas.openxmlformats.org/officeDocument/2006/relationships/slideLayout" Target="../slideLayouts/slideLayout109.xml"/><Relationship Id="rId21" Type="http://schemas.openxmlformats.org/officeDocument/2006/relationships/slideLayout" Target="../slideLayouts/slideLayout127.xml"/><Relationship Id="rId34" Type="http://schemas.openxmlformats.org/officeDocument/2006/relationships/slideLayout" Target="../slideLayouts/slideLayout140.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33" Type="http://schemas.openxmlformats.org/officeDocument/2006/relationships/slideLayout" Target="../slideLayouts/slideLayout139.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29" Type="http://schemas.openxmlformats.org/officeDocument/2006/relationships/slideLayout" Target="../slideLayouts/slideLayout135.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32" Type="http://schemas.openxmlformats.org/officeDocument/2006/relationships/slideLayout" Target="../slideLayouts/slideLayout138.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slideLayout" Target="../slideLayouts/slideLayout134.xml"/><Relationship Id="rId36" Type="http://schemas.openxmlformats.org/officeDocument/2006/relationships/image" Target="../media/image8.png"/><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31" Type="http://schemas.openxmlformats.org/officeDocument/2006/relationships/slideLayout" Target="../slideLayouts/slideLayout137.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slideLayout" Target="../slideLayouts/slideLayout133.xml"/><Relationship Id="rId30" Type="http://schemas.openxmlformats.org/officeDocument/2006/relationships/slideLayout" Target="../slideLayouts/slideLayout136.xml"/><Relationship Id="rId35" Type="http://schemas.openxmlformats.org/officeDocument/2006/relationships/theme" Target="../theme/theme17.xml"/><Relationship Id="rId8" Type="http://schemas.openxmlformats.org/officeDocument/2006/relationships/slideLayout" Target="../slideLayouts/slideLayout114.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9" Type="http://schemas.openxmlformats.org/officeDocument/2006/relationships/slideLayout" Target="../slideLayouts/slideLayout179.xml"/><Relationship Id="rId21" Type="http://schemas.openxmlformats.org/officeDocument/2006/relationships/slideLayout" Target="../slideLayouts/slideLayout161.xml"/><Relationship Id="rId34" Type="http://schemas.openxmlformats.org/officeDocument/2006/relationships/slideLayout" Target="../slideLayouts/slideLayout174.xml"/><Relationship Id="rId42" Type="http://schemas.openxmlformats.org/officeDocument/2006/relationships/slideLayout" Target="../slideLayouts/slideLayout182.xml"/><Relationship Id="rId7" Type="http://schemas.openxmlformats.org/officeDocument/2006/relationships/slideLayout" Target="../slideLayouts/slideLayout147.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29" Type="http://schemas.openxmlformats.org/officeDocument/2006/relationships/slideLayout" Target="../slideLayouts/slideLayout169.xml"/><Relationship Id="rId41" Type="http://schemas.openxmlformats.org/officeDocument/2006/relationships/slideLayout" Target="../slideLayouts/slideLayout181.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slideLayout" Target="../slideLayouts/slideLayout172.xml"/><Relationship Id="rId37" Type="http://schemas.openxmlformats.org/officeDocument/2006/relationships/slideLayout" Target="../slideLayouts/slideLayout177.xml"/><Relationship Id="rId40" Type="http://schemas.openxmlformats.org/officeDocument/2006/relationships/slideLayout" Target="../slideLayouts/slideLayout180.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36" Type="http://schemas.openxmlformats.org/officeDocument/2006/relationships/slideLayout" Target="../slideLayouts/slideLayout176.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31" Type="http://schemas.openxmlformats.org/officeDocument/2006/relationships/slideLayout" Target="../slideLayouts/slideLayout171.xml"/><Relationship Id="rId44" Type="http://schemas.openxmlformats.org/officeDocument/2006/relationships/theme" Target="../theme/theme18.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slideLayout" Target="../slideLayouts/slideLayout170.xml"/><Relationship Id="rId35" Type="http://schemas.openxmlformats.org/officeDocument/2006/relationships/slideLayout" Target="../slideLayouts/slideLayout175.xml"/><Relationship Id="rId43" Type="http://schemas.openxmlformats.org/officeDocument/2006/relationships/slideLayout" Target="../slideLayouts/slideLayout183.xml"/><Relationship Id="rId8" Type="http://schemas.openxmlformats.org/officeDocument/2006/relationships/slideLayout" Target="../slideLayouts/slideLayout148.xml"/><Relationship Id="rId3" Type="http://schemas.openxmlformats.org/officeDocument/2006/relationships/slideLayout" Target="../slideLayouts/slideLayout143.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slideLayout" Target="../slideLayouts/slideLayout173.xml"/><Relationship Id="rId38" Type="http://schemas.openxmlformats.org/officeDocument/2006/relationships/slideLayout" Target="../slideLayouts/slideLayout17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image" Target="../media/image8.png"/><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heme" Target="../theme/theme2.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4" Type="http://schemas.openxmlformats.org/officeDocument/2006/relationships/slideLayout" Target="../slideLayouts/slideLayout49.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54.xml"/><Relationship Id="rId1" Type="http://schemas.openxmlformats.org/officeDocument/2006/relationships/slideLayout" Target="../slideLayouts/slideLayout5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2.xml"/><Relationship Id="rId3" Type="http://schemas.openxmlformats.org/officeDocument/2006/relationships/slideLayout" Target="../slideLayouts/slideLayout57.xml"/><Relationship Id="rId7" Type="http://schemas.openxmlformats.org/officeDocument/2006/relationships/slideLayout" Target="../slideLayouts/slideLayout61.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5" Type="http://schemas.openxmlformats.org/officeDocument/2006/relationships/slideLayout" Target="../slideLayouts/slideLayout59.xml"/><Relationship Id="rId10" Type="http://schemas.openxmlformats.org/officeDocument/2006/relationships/image" Target="../media/image1.emf"/><Relationship Id="rId4" Type="http://schemas.openxmlformats.org/officeDocument/2006/relationships/slideLayout" Target="../slideLayouts/slideLayout58.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0.xml"/><Relationship Id="rId3" Type="http://schemas.openxmlformats.org/officeDocument/2006/relationships/slideLayout" Target="../slideLayouts/slideLayout65.xml"/><Relationship Id="rId7" Type="http://schemas.openxmlformats.org/officeDocument/2006/relationships/slideLayout" Target="../slideLayouts/slideLayout69.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theme" Target="../theme/theme6.xml"/><Relationship Id="rId5" Type="http://schemas.openxmlformats.org/officeDocument/2006/relationships/slideLayout" Target="../slideLayouts/slideLayout6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heme" Target="../theme/theme7.xml"/><Relationship Id="rId1" Type="http://schemas.openxmlformats.org/officeDocument/2006/relationships/slideLayout" Target="../slideLayouts/slideLayout73.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76.xml"/><Relationship Id="rId2" Type="http://schemas.openxmlformats.org/officeDocument/2006/relationships/slideLayout" Target="../slideLayouts/slideLayout75.xml"/><Relationship Id="rId1" Type="http://schemas.openxmlformats.org/officeDocument/2006/relationships/slideLayout" Target="../slideLayouts/slideLayout74.xml"/><Relationship Id="rId5" Type="http://schemas.openxmlformats.org/officeDocument/2006/relationships/image" Target="../media/image1.emf"/><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78.xml"/><Relationship Id="rId1" Type="http://schemas.openxmlformats.org/officeDocument/2006/relationships/slideLayout" Target="../slideLayouts/slideLayout77.xml"/><Relationship Id="rId4" Type="http://schemas.openxmlformats.org/officeDocument/2006/relationships/image" Target="../media/image13.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431759859"/>
      </p:ext>
    </p:extLst>
  </p:cSld>
  <p:clrMap bg1="lt1" tx1="dk1" bg2="lt2" tx2="dk2" accent1="accent1" accent2="accent2" accent3="accent3" accent4="accent4" accent5="accent5" accent6="accent6" hlink="hlink" folHlink="folHlink"/>
  <p:sldLayoutIdLst>
    <p:sldLayoutId id="2147484366" r:id="rId1"/>
    <p:sldLayoutId id="2147484695" r:id="rId2"/>
    <p:sldLayoutId id="2147483663" r:id="rId3"/>
    <p:sldLayoutId id="2147484697" r:id="rId4"/>
    <p:sldLayoutId id="2147484707" r:id="rId5"/>
    <p:sldLayoutId id="2147483666" r:id="rId6"/>
    <p:sldLayoutId id="2147483667" r:id="rId7"/>
    <p:sldLayoutId id="2147483668" r:id="rId8"/>
    <p:sldLayoutId id="2147484708" r:id="rId9"/>
    <p:sldLayoutId id="2147483670" r:id="rId10"/>
    <p:sldLayoutId id="2147483671" r:id="rId11"/>
    <p:sldLayoutId id="2147484696"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4278"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58158747"/>
      </p:ext>
    </p:extLst>
  </p:cSld>
  <p:clrMap bg1="lt1" tx1="dk1" bg2="lt2" tx2="dk2" accent1="accent1" accent2="accent2" accent3="accent3" accent4="accent4" accent5="accent5" accent6="accent6" hlink="hlink" folHlink="folHlink"/>
  <p:sldLayoutIdLst>
    <p:sldLayoutId id="2147484703" r:id="rId1"/>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1521594545"/>
      </p:ext>
    </p:extLst>
  </p:cSld>
  <p:clrMap bg1="dk1" tx1="lt1" bg2="dk2" tx2="lt2" accent1="accent1" accent2="accent2" accent3="accent3" accent4="accent4" accent5="accent5" accent6="accent6" hlink="hlink" folHlink="folHlink"/>
  <p:sldLayoutIdLst>
    <p:sldLayoutId id="2147484354" r:id="rId1"/>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3" userDrawn="1">
          <p15:clr>
            <a:srgbClr val="5ACBF0"/>
          </p15:clr>
        </p15:guide>
        <p15:guide id="2" pos="170" userDrawn="1">
          <p15:clr>
            <a:srgbClr val="5ACBF0"/>
          </p15:clr>
        </p15:guide>
        <p15:guide id="3" pos="7510" userDrawn="1">
          <p15:clr>
            <a:srgbClr val="5ACBF0"/>
          </p15:clr>
        </p15:guide>
        <p15:guide id="4" orient="horz" pos="4137" userDrawn="1">
          <p15:clr>
            <a:srgbClr val="5ACBF0"/>
          </p15:clr>
        </p15:guide>
        <p15:guide id="5" pos="734" userDrawn="1">
          <p15:clr>
            <a:srgbClr val="5ACBF0"/>
          </p15:clr>
        </p15:guide>
        <p15:guide id="6" pos="1299" userDrawn="1">
          <p15:clr>
            <a:srgbClr val="5ACBF0"/>
          </p15:clr>
        </p15:guide>
        <p15:guide id="7" pos="1864" userDrawn="1">
          <p15:clr>
            <a:srgbClr val="5ACBF0"/>
          </p15:clr>
        </p15:guide>
        <p15:guide id="8" pos="2428" userDrawn="1">
          <p15:clr>
            <a:srgbClr val="5ACBF0"/>
          </p15:clr>
        </p15:guide>
        <p15:guide id="9" pos="2993" userDrawn="1">
          <p15:clr>
            <a:srgbClr val="5ACBF0"/>
          </p15:clr>
        </p15:guide>
        <p15:guide id="10" pos="3558" userDrawn="1">
          <p15:clr>
            <a:srgbClr val="5ACBF0"/>
          </p15:clr>
        </p15:guide>
        <p15:guide id="11" pos="4122" userDrawn="1">
          <p15:clr>
            <a:srgbClr val="5ACBF0"/>
          </p15:clr>
        </p15:guide>
        <p15:guide id="12" pos="4687" userDrawn="1">
          <p15:clr>
            <a:srgbClr val="5ACBF0"/>
          </p15:clr>
        </p15:guide>
        <p15:guide id="13" pos="5252" userDrawn="1">
          <p15:clr>
            <a:srgbClr val="5ACBF0"/>
          </p15:clr>
        </p15:guide>
        <p15:guide id="14" pos="5816" userDrawn="1">
          <p15:clr>
            <a:srgbClr val="5ACBF0"/>
          </p15:clr>
        </p15:guide>
        <p15:guide id="15" pos="6381" userDrawn="1">
          <p15:clr>
            <a:srgbClr val="5ACBF0"/>
          </p15:clr>
        </p15:guide>
        <p15:guide id="16" pos="6946" userDrawn="1">
          <p15:clr>
            <a:srgbClr val="5ACBF0"/>
          </p15:clr>
        </p15:guide>
        <p15:guide id="17" orient="horz" pos="748" userDrawn="1">
          <p15:clr>
            <a:srgbClr val="5ACBF0"/>
          </p15:clr>
        </p15:guide>
        <p15:guide id="18" orient="horz" pos="1313" userDrawn="1">
          <p15:clr>
            <a:srgbClr val="5ACBF0"/>
          </p15:clr>
        </p15:guide>
        <p15:guide id="19" orient="horz" pos="1878" userDrawn="1">
          <p15:clr>
            <a:srgbClr val="5ACBF0"/>
          </p15:clr>
        </p15:guide>
        <p15:guide id="20" orient="horz" pos="2442" userDrawn="1">
          <p15:clr>
            <a:srgbClr val="5ACBF0"/>
          </p15:clr>
        </p15:guide>
        <p15:guide id="21" orient="horz" pos="3007" userDrawn="1">
          <p15:clr>
            <a:srgbClr val="5ACBF0"/>
          </p15:clr>
        </p15:guide>
        <p15:guide id="22" orient="horz" pos="3572" userDrawn="1">
          <p15:clr>
            <a:srgbClr val="5ACBF0"/>
          </p15:clr>
        </p15:guide>
        <p15:guide id="23" pos="282" userDrawn="1">
          <p15:clr>
            <a:srgbClr val="C35EA4"/>
          </p15:clr>
        </p15:guide>
        <p15:guide id="24" pos="7398" userDrawn="1">
          <p15:clr>
            <a:srgbClr val="C35EA4"/>
          </p15:clr>
        </p15:guide>
        <p15:guide id="25" orient="horz" pos="296" userDrawn="1">
          <p15:clr>
            <a:srgbClr val="C35EA4"/>
          </p15:clr>
        </p15:guide>
        <p15:guide id="26" orient="horz" pos="4024" userDrawn="1">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3109065208"/>
      </p:ext>
    </p:extLst>
  </p:cSld>
  <p:clrMap bg1="dk1" tx1="lt1" bg2="dk2" tx2="lt2" accent1="accent1" accent2="accent2" accent3="accent3" accent4="accent4" accent5="accent5" accent6="accent6" hlink="hlink" folHlink="folHlink"/>
  <p:sldLayoutIdLst>
    <p:sldLayoutId id="2147484376" r:id="rId1"/>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3" userDrawn="1">
          <p15:clr>
            <a:srgbClr val="5ACBF0"/>
          </p15:clr>
        </p15:guide>
        <p15:guide id="2" pos="170" userDrawn="1">
          <p15:clr>
            <a:srgbClr val="5ACBF0"/>
          </p15:clr>
        </p15:guide>
        <p15:guide id="3" pos="7510" userDrawn="1">
          <p15:clr>
            <a:srgbClr val="5ACBF0"/>
          </p15:clr>
        </p15:guide>
        <p15:guide id="4" orient="horz" pos="4137" userDrawn="1">
          <p15:clr>
            <a:srgbClr val="5ACBF0"/>
          </p15:clr>
        </p15:guide>
        <p15:guide id="5" pos="734" userDrawn="1">
          <p15:clr>
            <a:srgbClr val="5ACBF0"/>
          </p15:clr>
        </p15:guide>
        <p15:guide id="6" pos="1299" userDrawn="1">
          <p15:clr>
            <a:srgbClr val="5ACBF0"/>
          </p15:clr>
        </p15:guide>
        <p15:guide id="7" pos="1864" userDrawn="1">
          <p15:clr>
            <a:srgbClr val="5ACBF0"/>
          </p15:clr>
        </p15:guide>
        <p15:guide id="8" pos="2428" userDrawn="1">
          <p15:clr>
            <a:srgbClr val="5ACBF0"/>
          </p15:clr>
        </p15:guide>
        <p15:guide id="9" pos="2993" userDrawn="1">
          <p15:clr>
            <a:srgbClr val="5ACBF0"/>
          </p15:clr>
        </p15:guide>
        <p15:guide id="10" pos="3558" userDrawn="1">
          <p15:clr>
            <a:srgbClr val="5ACBF0"/>
          </p15:clr>
        </p15:guide>
        <p15:guide id="11" pos="4122" userDrawn="1">
          <p15:clr>
            <a:srgbClr val="5ACBF0"/>
          </p15:clr>
        </p15:guide>
        <p15:guide id="12" pos="4687" userDrawn="1">
          <p15:clr>
            <a:srgbClr val="5ACBF0"/>
          </p15:clr>
        </p15:guide>
        <p15:guide id="13" pos="5252" userDrawn="1">
          <p15:clr>
            <a:srgbClr val="5ACBF0"/>
          </p15:clr>
        </p15:guide>
        <p15:guide id="14" pos="5816" userDrawn="1">
          <p15:clr>
            <a:srgbClr val="5ACBF0"/>
          </p15:clr>
        </p15:guide>
        <p15:guide id="15" pos="6381" userDrawn="1">
          <p15:clr>
            <a:srgbClr val="5ACBF0"/>
          </p15:clr>
        </p15:guide>
        <p15:guide id="16" pos="6946" userDrawn="1">
          <p15:clr>
            <a:srgbClr val="5ACBF0"/>
          </p15:clr>
        </p15:guide>
        <p15:guide id="17" orient="horz" pos="748" userDrawn="1">
          <p15:clr>
            <a:srgbClr val="5ACBF0"/>
          </p15:clr>
        </p15:guide>
        <p15:guide id="18" orient="horz" pos="1313" userDrawn="1">
          <p15:clr>
            <a:srgbClr val="5ACBF0"/>
          </p15:clr>
        </p15:guide>
        <p15:guide id="19" orient="horz" pos="1878" userDrawn="1">
          <p15:clr>
            <a:srgbClr val="5ACBF0"/>
          </p15:clr>
        </p15:guide>
        <p15:guide id="20" orient="horz" pos="2442" userDrawn="1">
          <p15:clr>
            <a:srgbClr val="5ACBF0"/>
          </p15:clr>
        </p15:guide>
        <p15:guide id="21" orient="horz" pos="3007" userDrawn="1">
          <p15:clr>
            <a:srgbClr val="5ACBF0"/>
          </p15:clr>
        </p15:guide>
        <p15:guide id="22" orient="horz" pos="3572" userDrawn="1">
          <p15:clr>
            <a:srgbClr val="5ACBF0"/>
          </p15:clr>
        </p15:guide>
        <p15:guide id="23" pos="282" userDrawn="1">
          <p15:clr>
            <a:srgbClr val="C35EA4"/>
          </p15:clr>
        </p15:guide>
        <p15:guide id="24" pos="7398" userDrawn="1">
          <p15:clr>
            <a:srgbClr val="C35EA4"/>
          </p15:clr>
        </p15:guide>
        <p15:guide id="25" orient="horz" pos="296" userDrawn="1">
          <p15:clr>
            <a:srgbClr val="C35EA4"/>
          </p15:clr>
        </p15:guide>
        <p15:guide id="26" orient="horz" pos="4024" userDrawn="1">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1078344222"/>
      </p:ext>
    </p:extLst>
  </p:cSld>
  <p:clrMap bg1="dk1" tx1="lt1" bg2="dk2" tx2="lt2" accent1="accent1" accent2="accent2" accent3="accent3" accent4="accent4" accent5="accent5" accent6="accent6" hlink="hlink" folHlink="folHlink"/>
  <p:sldLayoutIdLst>
    <p:sldLayoutId id="2147484322" r:id="rId1"/>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3" userDrawn="1">
          <p15:clr>
            <a:srgbClr val="5ACBF0"/>
          </p15:clr>
        </p15:guide>
        <p15:guide id="2" pos="170" userDrawn="1">
          <p15:clr>
            <a:srgbClr val="5ACBF0"/>
          </p15:clr>
        </p15:guide>
        <p15:guide id="3" pos="7510" userDrawn="1">
          <p15:clr>
            <a:srgbClr val="5ACBF0"/>
          </p15:clr>
        </p15:guide>
        <p15:guide id="4" orient="horz" pos="4137" userDrawn="1">
          <p15:clr>
            <a:srgbClr val="5ACBF0"/>
          </p15:clr>
        </p15:guide>
        <p15:guide id="5" pos="734" userDrawn="1">
          <p15:clr>
            <a:srgbClr val="5ACBF0"/>
          </p15:clr>
        </p15:guide>
        <p15:guide id="6" pos="1299" userDrawn="1">
          <p15:clr>
            <a:srgbClr val="5ACBF0"/>
          </p15:clr>
        </p15:guide>
        <p15:guide id="7" pos="1864" userDrawn="1">
          <p15:clr>
            <a:srgbClr val="5ACBF0"/>
          </p15:clr>
        </p15:guide>
        <p15:guide id="8" pos="2428" userDrawn="1">
          <p15:clr>
            <a:srgbClr val="5ACBF0"/>
          </p15:clr>
        </p15:guide>
        <p15:guide id="9" pos="2993" userDrawn="1">
          <p15:clr>
            <a:srgbClr val="5ACBF0"/>
          </p15:clr>
        </p15:guide>
        <p15:guide id="10" pos="3558" userDrawn="1">
          <p15:clr>
            <a:srgbClr val="5ACBF0"/>
          </p15:clr>
        </p15:guide>
        <p15:guide id="11" pos="4122" userDrawn="1">
          <p15:clr>
            <a:srgbClr val="5ACBF0"/>
          </p15:clr>
        </p15:guide>
        <p15:guide id="12" pos="4687" userDrawn="1">
          <p15:clr>
            <a:srgbClr val="5ACBF0"/>
          </p15:clr>
        </p15:guide>
        <p15:guide id="13" pos="5252" userDrawn="1">
          <p15:clr>
            <a:srgbClr val="5ACBF0"/>
          </p15:clr>
        </p15:guide>
        <p15:guide id="14" pos="5816" userDrawn="1">
          <p15:clr>
            <a:srgbClr val="5ACBF0"/>
          </p15:clr>
        </p15:guide>
        <p15:guide id="15" pos="6381" userDrawn="1">
          <p15:clr>
            <a:srgbClr val="5ACBF0"/>
          </p15:clr>
        </p15:guide>
        <p15:guide id="16" pos="6946" userDrawn="1">
          <p15:clr>
            <a:srgbClr val="5ACBF0"/>
          </p15:clr>
        </p15:guide>
        <p15:guide id="17" orient="horz" pos="748" userDrawn="1">
          <p15:clr>
            <a:srgbClr val="5ACBF0"/>
          </p15:clr>
        </p15:guide>
        <p15:guide id="18" orient="horz" pos="1313" userDrawn="1">
          <p15:clr>
            <a:srgbClr val="5ACBF0"/>
          </p15:clr>
        </p15:guide>
        <p15:guide id="19" orient="horz" pos="1878" userDrawn="1">
          <p15:clr>
            <a:srgbClr val="5ACBF0"/>
          </p15:clr>
        </p15:guide>
        <p15:guide id="20" orient="horz" pos="2442" userDrawn="1">
          <p15:clr>
            <a:srgbClr val="5ACBF0"/>
          </p15:clr>
        </p15:guide>
        <p15:guide id="21" orient="horz" pos="3007" userDrawn="1">
          <p15:clr>
            <a:srgbClr val="5ACBF0"/>
          </p15:clr>
        </p15:guide>
        <p15:guide id="22" orient="horz" pos="3572" userDrawn="1">
          <p15:clr>
            <a:srgbClr val="5ACBF0"/>
          </p15:clr>
        </p15:guide>
        <p15:guide id="23" pos="282" userDrawn="1">
          <p15:clr>
            <a:srgbClr val="C35EA4"/>
          </p15:clr>
        </p15:guide>
        <p15:guide id="24" pos="7398" userDrawn="1">
          <p15:clr>
            <a:srgbClr val="C35EA4"/>
          </p15:clr>
        </p15:guide>
        <p15:guide id="25" orient="horz" pos="296" userDrawn="1">
          <p15:clr>
            <a:srgbClr val="C35EA4"/>
          </p15:clr>
        </p15:guide>
        <p15:guide id="26" orient="horz" pos="4024" userDrawn="1">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5" y="0"/>
            <a:ext cx="933679" cy="5654401"/>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sp>
            <p:nvSpPr>
              <p:cNvPr id="33" name="Rectangle 32"/>
              <p:cNvSpPr/>
              <p:nvPr userDrawn="1"/>
            </p:nvSpPr>
            <p:spPr bwMode="auto">
              <a:xfrm rot="5400000">
                <a:off x="12328887" y="335399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16 G:124 B:16</a:t>
                </a:r>
              </a:p>
            </p:txBody>
          </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
        <p:nvSpPr>
          <p:cNvPr id="22" name="Rectangle 21"/>
          <p:cNvSpPr/>
          <p:nvPr userDrawn="1"/>
        </p:nvSpPr>
        <p:spPr bwMode="auto">
          <a:xfrm rot="5400000">
            <a:off x="12086466" y="4185103"/>
            <a:ext cx="852950" cy="28407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258"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3" userDrawn="1">
          <p15:clr>
            <a:srgbClr val="5ACBF0"/>
          </p15:clr>
        </p15:guide>
        <p15:guide id="2" pos="170" userDrawn="1">
          <p15:clr>
            <a:srgbClr val="5ACBF0"/>
          </p15:clr>
        </p15:guide>
        <p15:guide id="3" pos="734" userDrawn="1">
          <p15:clr>
            <a:srgbClr val="5ACBF0"/>
          </p15:clr>
        </p15:guide>
        <p15:guide id="4" pos="1299" userDrawn="1">
          <p15:clr>
            <a:srgbClr val="5ACBF0"/>
          </p15:clr>
        </p15:guide>
        <p15:guide id="5" pos="1864" userDrawn="1">
          <p15:clr>
            <a:srgbClr val="5ACBF0"/>
          </p15:clr>
        </p15:guide>
        <p15:guide id="6" pos="2428" userDrawn="1">
          <p15:clr>
            <a:srgbClr val="5ACBF0"/>
          </p15:clr>
        </p15:guide>
        <p15:guide id="7" pos="2993" userDrawn="1">
          <p15:clr>
            <a:srgbClr val="5ACBF0"/>
          </p15:clr>
        </p15:guide>
        <p15:guide id="8" pos="3558" userDrawn="1">
          <p15:clr>
            <a:srgbClr val="5ACBF0"/>
          </p15:clr>
        </p15:guide>
        <p15:guide id="9" pos="4122" userDrawn="1">
          <p15:clr>
            <a:srgbClr val="5ACBF0"/>
          </p15:clr>
        </p15:guide>
        <p15:guide id="10" pos="4687" userDrawn="1">
          <p15:clr>
            <a:srgbClr val="5ACBF0"/>
          </p15:clr>
        </p15:guide>
        <p15:guide id="11" pos="5252" userDrawn="1">
          <p15:clr>
            <a:srgbClr val="5ACBF0"/>
          </p15:clr>
        </p15:guide>
        <p15:guide id="12" pos="5816" userDrawn="1">
          <p15:clr>
            <a:srgbClr val="5ACBF0"/>
          </p15:clr>
        </p15:guide>
        <p15:guide id="13" pos="6381" userDrawn="1">
          <p15:clr>
            <a:srgbClr val="5ACBF0"/>
          </p15:clr>
        </p15:guide>
        <p15:guide id="14" pos="6946" userDrawn="1">
          <p15:clr>
            <a:srgbClr val="5ACBF0"/>
          </p15:clr>
        </p15:guide>
        <p15:guide id="15" pos="7510" userDrawn="1">
          <p15:clr>
            <a:srgbClr val="5ACBF0"/>
          </p15:clr>
        </p15:guide>
        <p15:guide id="16" pos="282" userDrawn="1">
          <p15:clr>
            <a:srgbClr val="C35EA4"/>
          </p15:clr>
        </p15:guide>
        <p15:guide id="17" pos="7398" userDrawn="1">
          <p15:clr>
            <a:srgbClr val="C35EA4"/>
          </p15:clr>
        </p15:guide>
        <p15:guide id="18" orient="horz" pos="748" userDrawn="1">
          <p15:clr>
            <a:srgbClr val="5ACBF0"/>
          </p15:clr>
        </p15:guide>
        <p15:guide id="19" orient="horz" pos="1313" userDrawn="1">
          <p15:clr>
            <a:srgbClr val="5ACBF0"/>
          </p15:clr>
        </p15:guide>
        <p15:guide id="20" orient="horz" pos="1878" userDrawn="1">
          <p15:clr>
            <a:srgbClr val="5ACBF0"/>
          </p15:clr>
        </p15:guide>
        <p15:guide id="21" orient="horz" pos="2442" userDrawn="1">
          <p15:clr>
            <a:srgbClr val="5ACBF0"/>
          </p15:clr>
        </p15:guide>
        <p15:guide id="22" orient="horz" pos="3007" userDrawn="1">
          <p15:clr>
            <a:srgbClr val="5ACBF0"/>
          </p15:clr>
        </p15:guide>
        <p15:guide id="23" orient="horz" pos="3572" userDrawn="1">
          <p15:clr>
            <a:srgbClr val="5ACBF0"/>
          </p15:clr>
        </p15:guide>
        <p15:guide id="24" orient="horz" pos="4137" userDrawn="1">
          <p15:clr>
            <a:srgbClr val="5ACBF0"/>
          </p15:clr>
        </p15:guide>
        <p15:guide id="25" orient="horz" pos="296" userDrawn="1">
          <p15:clr>
            <a:srgbClr val="C35EA4"/>
          </p15:clr>
        </p15:guide>
        <p15:guide id="26" orient="horz" pos="4024" userDrawn="1">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8742257"/>
      </p:ext>
    </p:extLst>
  </p:cSld>
  <p:clrMap bg1="dk1" tx1="lt1" bg2="dk2" tx2="lt2" accent1="accent1" accent2="accent2" accent3="accent3" accent4="accent4" accent5="accent5" accent6="accent6" hlink="hlink" folHlink="folHlink"/>
  <p:sldLayoutIdLst>
    <p:sldLayoutId id="2147483669" r:id="rId1"/>
    <p:sldLayoutId id="2147484797" r:id="rId2"/>
    <p:sldLayoutId id="2147484798" r:id="rId3"/>
    <p:sldLayoutId id="2147484799" r:id="rId4"/>
    <p:sldLayoutId id="2147484800" r:id="rId5"/>
    <p:sldLayoutId id="2147484801" r:id="rId6"/>
    <p:sldLayoutId id="2147484802" r:id="rId7"/>
    <p:sldLayoutId id="2147484803" r:id="rId8"/>
    <p:sldLayoutId id="2147484804" r:id="rId9"/>
    <p:sldLayoutId id="2147484805" r:id="rId10"/>
    <p:sldLayoutId id="2147484806" r:id="rId11"/>
    <p:sldLayoutId id="2147484807" r:id="rId12"/>
    <p:sldLayoutId id="2147484808" r:id="rId1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8742257"/>
      </p:ext>
    </p:extLst>
  </p:cSld>
  <p:clrMap bg1="dk1" tx1="lt1" bg2="dk2" tx2="lt2" accent1="accent1" accent2="accent2" accent3="accent3" accent4="accent4" accent5="accent5" accent6="accent6" hlink="hlink" folHlink="folHlink"/>
  <p:sldLayoutIdLst>
    <p:sldLayoutId id="2147484710" r:id="rId1"/>
    <p:sldLayoutId id="2147484809" r:id="rId2"/>
    <p:sldLayoutId id="2147484810" r:id="rId3"/>
    <p:sldLayoutId id="2147484811" r:id="rId4"/>
    <p:sldLayoutId id="2147484812" r:id="rId5"/>
    <p:sldLayoutId id="2147484813" r:id="rId6"/>
    <p:sldLayoutId id="2147484814" r:id="rId7"/>
    <p:sldLayoutId id="2147484815" r:id="rId8"/>
    <p:sldLayoutId id="2147484817" r:id="rId9"/>
    <p:sldLayoutId id="2147484820" r:id="rId1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7428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6"/>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325294170"/>
      </p:ext>
    </p:extLst>
  </p:cSld>
  <p:clrMap bg1="lt1" tx1="dk1" bg2="lt2" tx2="dk2" accent1="accent1" accent2="accent2" accent3="accent3" accent4="accent4" accent5="accent5" accent6="accent6" hlink="hlink" folHlink="folHlink"/>
  <p:sldLayoutIdLst>
    <p:sldLayoutId id="2147484712" r:id="rId1"/>
    <p:sldLayoutId id="2147484713" r:id="rId2"/>
    <p:sldLayoutId id="2147484714" r:id="rId3"/>
    <p:sldLayoutId id="2147484715" r:id="rId4"/>
    <p:sldLayoutId id="2147484716" r:id="rId5"/>
    <p:sldLayoutId id="2147484717" r:id="rId6"/>
    <p:sldLayoutId id="2147484718" r:id="rId7"/>
    <p:sldLayoutId id="2147484719" r:id="rId8"/>
    <p:sldLayoutId id="2147484720" r:id="rId9"/>
    <p:sldLayoutId id="2147484721" r:id="rId10"/>
    <p:sldLayoutId id="2147484722" r:id="rId11"/>
    <p:sldLayoutId id="2147484723" r:id="rId12"/>
    <p:sldLayoutId id="2147484724" r:id="rId13"/>
    <p:sldLayoutId id="2147484725" r:id="rId14"/>
    <p:sldLayoutId id="2147484726" r:id="rId15"/>
    <p:sldLayoutId id="2147484727" r:id="rId16"/>
    <p:sldLayoutId id="2147484728" r:id="rId17"/>
    <p:sldLayoutId id="2147484729" r:id="rId18"/>
    <p:sldLayoutId id="2147484730" r:id="rId19"/>
    <p:sldLayoutId id="2147484731" r:id="rId20"/>
    <p:sldLayoutId id="2147484732" r:id="rId21"/>
    <p:sldLayoutId id="2147484733" r:id="rId22"/>
    <p:sldLayoutId id="2147484734" r:id="rId23"/>
    <p:sldLayoutId id="2147484735" r:id="rId24"/>
    <p:sldLayoutId id="2147484736" r:id="rId25"/>
    <p:sldLayoutId id="2147484737" r:id="rId26"/>
    <p:sldLayoutId id="2147484788" r:id="rId27"/>
    <p:sldLayoutId id="2147484789" r:id="rId28"/>
    <p:sldLayoutId id="2147484790" r:id="rId29"/>
    <p:sldLayoutId id="2147484791" r:id="rId30"/>
    <p:sldLayoutId id="2147484792" r:id="rId31"/>
    <p:sldLayoutId id="2147484793" r:id="rId32"/>
    <p:sldLayoutId id="2147484796" r:id="rId33"/>
    <p:sldLayoutId id="2147484778" r:id="rId34"/>
  </p:sldLayoutIdLst>
  <p:transition>
    <p:fade/>
  </p:transition>
  <p:txStyles>
    <p:titleStyle>
      <a:lvl1pPr algn="l" defTabSz="914192" rtl="0" eaLnBrk="1" latinLnBrk="0" hangingPunct="1">
        <a:lnSpc>
          <a:spcPct val="90000"/>
        </a:lnSpc>
        <a:spcBef>
          <a:spcPct val="0"/>
        </a:spcBef>
        <a:buNone/>
        <a:defRPr lang="en-US" sz="3600" b="0" kern="1200" cap="all" spc="300" baseline="0" dirty="0">
          <a:ln w="3175">
            <a:noFill/>
          </a:ln>
          <a:solidFill>
            <a:srgbClr val="0078D7"/>
          </a:solidFill>
          <a:effectLst/>
          <a:latin typeface="Segoe UI Semilight" charset="0"/>
          <a:ea typeface="+mn-ea"/>
          <a:cs typeface="Segoe UI Semilight" charset="0"/>
        </a:defRPr>
      </a:lvl1pPr>
    </p:titleStyle>
    <p:bodyStyle>
      <a:lvl1pPr marL="336080" marR="0" indent="-33608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A91B1CC-AC40-6A42-B07A-987532D86FF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12BB6A-1EC5-5B48-8EEF-CF5DDFE7B6A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DABA525-7A35-2F47-9335-11EA9795675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D1B6CC-B1C9-6D4B-A5EC-80AC067F9D8C}" type="datetimeFigureOut">
              <a:rPr lang="en-US" smtClean="0"/>
              <a:t>10/16/18</a:t>
            </a:fld>
            <a:endParaRPr lang="en-US"/>
          </a:p>
        </p:txBody>
      </p:sp>
      <p:sp>
        <p:nvSpPr>
          <p:cNvPr id="5" name="Footer Placeholder 4">
            <a:extLst>
              <a:ext uri="{FF2B5EF4-FFF2-40B4-BE49-F238E27FC236}">
                <a16:creationId xmlns:a16="http://schemas.microsoft.com/office/drawing/2014/main" id="{FCFC223A-F0BE-AF40-9203-56FB34E4CE9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C585B17-03C7-994D-96D4-8E1F9D18A58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48CFA5-ACF8-AD4A-BD38-DA8C76F036DC}" type="slidenum">
              <a:rPr lang="en-US" smtClean="0"/>
              <a:t>‹#›</a:t>
            </a:fld>
            <a:endParaRPr lang="en-US"/>
          </a:p>
        </p:txBody>
      </p:sp>
    </p:spTree>
    <p:extLst>
      <p:ext uri="{BB962C8B-B14F-4D97-AF65-F5344CB8AC3E}">
        <p14:creationId xmlns:p14="http://schemas.microsoft.com/office/powerpoint/2010/main" val="3270242489"/>
      </p:ext>
    </p:extLst>
  </p:cSld>
  <p:clrMap bg1="lt1" tx1="dk1" bg2="lt2" tx2="dk2" accent1="accent1" accent2="accent2" accent3="accent3" accent4="accent4" accent5="accent5" accent6="accent6" hlink="hlink" folHlink="folHlink"/>
  <p:sldLayoutIdLst>
    <p:sldLayoutId id="2147484822" r:id="rId1"/>
    <p:sldLayoutId id="2147484823" r:id="rId2"/>
    <p:sldLayoutId id="2147484824" r:id="rId3"/>
    <p:sldLayoutId id="2147484825" r:id="rId4"/>
    <p:sldLayoutId id="2147484826" r:id="rId5"/>
    <p:sldLayoutId id="2147484827" r:id="rId6"/>
    <p:sldLayoutId id="2147484828" r:id="rId7"/>
    <p:sldLayoutId id="2147484829" r:id="rId8"/>
    <p:sldLayoutId id="2147484830" r:id="rId9"/>
    <p:sldLayoutId id="2147484831" r:id="rId10"/>
    <p:sldLayoutId id="2147484832" r:id="rId11"/>
    <p:sldLayoutId id="2147484833" r:id="rId12"/>
    <p:sldLayoutId id="2147484834" r:id="rId13"/>
    <p:sldLayoutId id="2147484835" r:id="rId14"/>
    <p:sldLayoutId id="2147484836" r:id="rId15"/>
    <p:sldLayoutId id="2147484837" r:id="rId16"/>
    <p:sldLayoutId id="2147484838" r:id="rId17"/>
    <p:sldLayoutId id="2147484846" r:id="rId18"/>
    <p:sldLayoutId id="2147484847" r:id="rId19"/>
    <p:sldLayoutId id="2147484848" r:id="rId20"/>
    <p:sldLayoutId id="2147484849" r:id="rId21"/>
    <p:sldLayoutId id="2147484850" r:id="rId22"/>
    <p:sldLayoutId id="2147484851" r:id="rId23"/>
    <p:sldLayoutId id="2147484852" r:id="rId24"/>
    <p:sldLayoutId id="2147484853" r:id="rId25"/>
    <p:sldLayoutId id="2147484855" r:id="rId26"/>
    <p:sldLayoutId id="2147484858" r:id="rId27"/>
    <p:sldLayoutId id="2147484859" r:id="rId28"/>
    <p:sldLayoutId id="2147484860" r:id="rId29"/>
    <p:sldLayoutId id="2147484862" r:id="rId30"/>
    <p:sldLayoutId id="2147484863" r:id="rId31"/>
    <p:sldLayoutId id="2147484864" r:id="rId32"/>
    <p:sldLayoutId id="2147484865" r:id="rId33"/>
    <p:sldLayoutId id="2147484866" r:id="rId34"/>
    <p:sldLayoutId id="2147484868" r:id="rId35"/>
    <p:sldLayoutId id="2147484869" r:id="rId36"/>
    <p:sldLayoutId id="2147484870" r:id="rId37"/>
    <p:sldLayoutId id="2147484871" r:id="rId38"/>
    <p:sldLayoutId id="2147484872" r:id="rId39"/>
    <p:sldLayoutId id="2147484873" r:id="rId40"/>
    <p:sldLayoutId id="2147484874" r:id="rId41"/>
    <p:sldLayoutId id="2147484875" r:id="rId42"/>
    <p:sldLayoutId id="2147484876" r:id="rId4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74286"/>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5"/>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797031082"/>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4698" r:id="rId19"/>
    <p:sldLayoutId id="2147484699" r:id="rId20"/>
    <p:sldLayoutId id="2147483814" r:id="rId21"/>
    <p:sldLayoutId id="2147483815" r:id="rId22"/>
    <p:sldLayoutId id="2147483816" r:id="rId23"/>
  </p:sldLayoutIdLst>
  <p:transition>
    <p:fade/>
  </p:transition>
  <p:txStyles>
    <p:titleStyle>
      <a:lvl1pPr algn="l" defTabSz="914192" rtl="0" eaLnBrk="1" latinLnBrk="0" hangingPunct="1">
        <a:lnSpc>
          <a:spcPct val="90000"/>
        </a:lnSpc>
        <a:spcBef>
          <a:spcPct val="0"/>
        </a:spcBef>
        <a:buNone/>
        <a:defRPr lang="en-US" sz="4800" b="0" kern="1200" cap="none" spc="-100" baseline="0" dirty="0" smtClean="0">
          <a:ln w="3175">
            <a:noFill/>
          </a:ln>
          <a:solidFill>
            <a:srgbClr val="505050"/>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0" tIns="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1559" y="1486472"/>
            <a:ext cx="11653521" cy="1961373"/>
          </a:xfrm>
          <a:prstGeom prst="rect">
            <a:avLst/>
          </a:prstGeom>
        </p:spPr>
        <p:txBody>
          <a:bodyPr vert="horz" wrap="square" lIns="0" tIns="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5649834"/>
      </p:ext>
    </p:extLst>
  </p:cSld>
  <p:clrMap bg1="dk1" tx1="lt1" bg2="dk2" tx2="lt2" accent1="accent1" accent2="accent2" accent3="accent3" accent4="accent4" accent5="accent5" accent6="accent6" hlink="hlink" folHlink="folHlink"/>
  <p:sldLayoutIdLst>
    <p:sldLayoutId id="2147484704" r:id="rId1"/>
    <p:sldLayoutId id="2147484310" r:id="rId2"/>
    <p:sldLayoutId id="2147484307" r:id="rId3"/>
    <p:sldLayoutId id="2147484738" r:id="rId4"/>
    <p:sldLayoutId id="2147484739" r:id="rId5"/>
    <p:sldLayoutId id="2147484740" r:id="rId6"/>
    <p:sldLayoutId id="2147484741" r:id="rId7"/>
  </p:sldLayoutIdLst>
  <p:transition>
    <p:fade/>
  </p:transition>
  <p:txStyles>
    <p:titleStyle>
      <a:lvl1pPr algn="l" defTabSz="914192" rtl="0" eaLnBrk="1" latinLnBrk="0" hangingPunct="1">
        <a:lnSpc>
          <a:spcPct val="100000"/>
        </a:lnSpc>
        <a:spcBef>
          <a:spcPts val="588"/>
        </a:spcBef>
        <a:spcAft>
          <a:spcPts val="588"/>
        </a:spcAft>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173">
          <p15:clr>
            <a:srgbClr val="C35EA4"/>
          </p15:clr>
        </p15:guide>
        <p15:guide id="17" pos="7661">
          <p15:clr>
            <a:srgbClr val="C35EA4"/>
          </p15:clr>
        </p15:guide>
        <p15:guide id="25" orient="horz" pos="187">
          <p15:clr>
            <a:srgbClr val="C35EA4"/>
          </p15:clr>
        </p15:guide>
        <p15:guide id="26" orient="horz" pos="4219">
          <p15:clr>
            <a:srgbClr val="C35EA4"/>
          </p15:clr>
        </p15:guide>
        <p15:guide id="27" pos="3917">
          <p15:clr>
            <a:srgbClr val="C35EA4"/>
          </p15:clr>
        </p15:guide>
        <p15:guide id="28" orient="horz" pos="955">
          <p15:clr>
            <a:srgbClr val="C35EA4"/>
          </p15:clr>
        </p15:guide>
        <p15:guide id="30" orient="horz" pos="283">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3" y="289514"/>
            <a:ext cx="11655840" cy="899665"/>
          </a:xfrm>
          <a:prstGeom prst="rect">
            <a:avLst/>
          </a:prstGeom>
        </p:spPr>
        <p:txBody>
          <a:bodyPr vert="horz" wrap="square" lIns="146260" tIns="91413" rIns="146260" bIns="91413" rtlCol="0" anchor="t">
            <a:noAutofit/>
          </a:bodyPr>
          <a:lstStyle/>
          <a:p>
            <a:r>
              <a:rPr lang="en-US" dirty="0"/>
              <a:t>Click to edit Master title style</a:t>
            </a:r>
          </a:p>
        </p:txBody>
      </p:sp>
      <p:sp>
        <p:nvSpPr>
          <p:cNvPr id="4" name="Text Placeholder 3"/>
          <p:cNvSpPr>
            <a:spLocks noGrp="1"/>
          </p:cNvSpPr>
          <p:nvPr>
            <p:ph type="body" idx="1"/>
          </p:nvPr>
        </p:nvSpPr>
        <p:spPr>
          <a:xfrm>
            <a:off x="269241" y="1189181"/>
            <a:ext cx="11653521" cy="2079990"/>
          </a:xfrm>
          <a:prstGeom prst="rect">
            <a:avLst/>
          </a:prstGeom>
        </p:spPr>
        <p:txBody>
          <a:bodyPr vert="horz" wrap="square" lIns="146260" tIns="91413" rIns="146260" bIns="9141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098" r:id="rId1"/>
    <p:sldLayoutId id="2147484086" r:id="rId2"/>
  </p:sldLayoutIdLst>
  <p:transition>
    <p:fade/>
  </p:transition>
  <p:txStyles>
    <p:titleStyle>
      <a:lvl1pPr algn="l" defTabSz="932468"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00" marR="0" indent="-342800" algn="l" defTabSz="932468"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029" marR="0" indent="-241229" algn="l" defTabSz="932468"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866" marR="0" indent="-228533" algn="l" defTabSz="932468"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97" marR="0" indent="-228533" algn="l" defTabSz="932468"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929" marR="0" indent="-228533" algn="l" defTabSz="932468"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286"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21"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55"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990"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68" rtl="0" eaLnBrk="1" latinLnBrk="0" hangingPunct="1">
        <a:defRPr sz="1800" kern="1200">
          <a:solidFill>
            <a:schemeClr val="tx1"/>
          </a:solidFill>
          <a:latin typeface="+mn-lt"/>
          <a:ea typeface="+mn-ea"/>
          <a:cs typeface="+mn-cs"/>
        </a:defRPr>
      </a:lvl1pPr>
      <a:lvl2pPr marL="466235" algn="l" defTabSz="932468" rtl="0" eaLnBrk="1" latinLnBrk="0" hangingPunct="1">
        <a:defRPr sz="1800" kern="1200">
          <a:solidFill>
            <a:schemeClr val="tx1"/>
          </a:solidFill>
          <a:latin typeface="+mn-lt"/>
          <a:ea typeface="+mn-ea"/>
          <a:cs typeface="+mn-cs"/>
        </a:defRPr>
      </a:lvl2pPr>
      <a:lvl3pPr marL="932468" algn="l" defTabSz="932468" rtl="0" eaLnBrk="1" latinLnBrk="0" hangingPunct="1">
        <a:defRPr sz="1800" kern="1200">
          <a:solidFill>
            <a:schemeClr val="tx1"/>
          </a:solidFill>
          <a:latin typeface="+mn-lt"/>
          <a:ea typeface="+mn-ea"/>
          <a:cs typeface="+mn-cs"/>
        </a:defRPr>
      </a:lvl3pPr>
      <a:lvl4pPr marL="1398702" algn="l" defTabSz="932468" rtl="0" eaLnBrk="1" latinLnBrk="0" hangingPunct="1">
        <a:defRPr sz="1800" kern="1200">
          <a:solidFill>
            <a:schemeClr val="tx1"/>
          </a:solidFill>
          <a:latin typeface="+mn-lt"/>
          <a:ea typeface="+mn-ea"/>
          <a:cs typeface="+mn-cs"/>
        </a:defRPr>
      </a:lvl4pPr>
      <a:lvl5pPr marL="1864936" algn="l" defTabSz="932468" rtl="0" eaLnBrk="1" latinLnBrk="0" hangingPunct="1">
        <a:defRPr sz="1800" kern="1200">
          <a:solidFill>
            <a:schemeClr val="tx1"/>
          </a:solidFill>
          <a:latin typeface="+mn-lt"/>
          <a:ea typeface="+mn-ea"/>
          <a:cs typeface="+mn-cs"/>
        </a:defRPr>
      </a:lvl5pPr>
      <a:lvl6pPr marL="2331170" algn="l" defTabSz="932468" rtl="0" eaLnBrk="1" latinLnBrk="0" hangingPunct="1">
        <a:defRPr sz="1800" kern="1200">
          <a:solidFill>
            <a:schemeClr val="tx1"/>
          </a:solidFill>
          <a:latin typeface="+mn-lt"/>
          <a:ea typeface="+mn-ea"/>
          <a:cs typeface="+mn-cs"/>
        </a:defRPr>
      </a:lvl6pPr>
      <a:lvl7pPr marL="2797404" algn="l" defTabSz="932468" rtl="0" eaLnBrk="1" latinLnBrk="0" hangingPunct="1">
        <a:defRPr sz="1800" kern="1200">
          <a:solidFill>
            <a:schemeClr val="tx1"/>
          </a:solidFill>
          <a:latin typeface="+mn-lt"/>
          <a:ea typeface="+mn-ea"/>
          <a:cs typeface="+mn-cs"/>
        </a:defRPr>
      </a:lvl7pPr>
      <a:lvl8pPr marL="3263638" algn="l" defTabSz="932468" rtl="0" eaLnBrk="1" latinLnBrk="0" hangingPunct="1">
        <a:defRPr sz="1800" kern="1200">
          <a:solidFill>
            <a:schemeClr val="tx1"/>
          </a:solidFill>
          <a:latin typeface="+mn-lt"/>
          <a:ea typeface="+mn-ea"/>
          <a:cs typeface="+mn-cs"/>
        </a:defRPr>
      </a:lvl8pPr>
      <a:lvl9pPr marL="3729872" algn="l" defTabSz="932468"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1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885471776"/>
      </p:ext>
    </p:extLst>
  </p:cSld>
  <p:clrMap bg1="dk1" tx1="lt1" bg2="dk2" tx2="lt2" accent1="accent1" accent2="accent2" accent3="accent3" accent4="accent4" accent5="accent5" accent6="accent6" hlink="hlink" folHlink="folHlink"/>
  <p:sldLayoutIdLst>
    <p:sldLayoutId id="2147484424" r:id="rId1"/>
    <p:sldLayoutId id="2147484419" r:id="rId2"/>
    <p:sldLayoutId id="2147484413" r:id="rId3"/>
    <p:sldLayoutId id="2147484742" r:id="rId4"/>
    <p:sldLayoutId id="2147484743" r:id="rId5"/>
    <p:sldLayoutId id="2147484744" r:id="rId6"/>
    <p:sldLayoutId id="2147484745" r:id="rId7"/>
    <p:sldLayoutId id="2147484746" r:id="rId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3" userDrawn="1">
          <p15:clr>
            <a:srgbClr val="5ACBF0"/>
          </p15:clr>
        </p15:guide>
        <p15:guide id="2" pos="170" userDrawn="1">
          <p15:clr>
            <a:srgbClr val="5ACBF0"/>
          </p15:clr>
        </p15:guide>
        <p15:guide id="3" pos="734" userDrawn="1">
          <p15:clr>
            <a:srgbClr val="5ACBF0"/>
          </p15:clr>
        </p15:guide>
        <p15:guide id="4" pos="1299" userDrawn="1">
          <p15:clr>
            <a:srgbClr val="5ACBF0"/>
          </p15:clr>
        </p15:guide>
        <p15:guide id="5" pos="1864" userDrawn="1">
          <p15:clr>
            <a:srgbClr val="5ACBF0"/>
          </p15:clr>
        </p15:guide>
        <p15:guide id="6" pos="2428" userDrawn="1">
          <p15:clr>
            <a:srgbClr val="5ACBF0"/>
          </p15:clr>
        </p15:guide>
        <p15:guide id="7" pos="2993" userDrawn="1">
          <p15:clr>
            <a:srgbClr val="5ACBF0"/>
          </p15:clr>
        </p15:guide>
        <p15:guide id="8" pos="3558" userDrawn="1">
          <p15:clr>
            <a:srgbClr val="5ACBF0"/>
          </p15:clr>
        </p15:guide>
        <p15:guide id="9" pos="4122" userDrawn="1">
          <p15:clr>
            <a:srgbClr val="5ACBF0"/>
          </p15:clr>
        </p15:guide>
        <p15:guide id="10" pos="4687" userDrawn="1">
          <p15:clr>
            <a:srgbClr val="5ACBF0"/>
          </p15:clr>
        </p15:guide>
        <p15:guide id="11" pos="5252" userDrawn="1">
          <p15:clr>
            <a:srgbClr val="5ACBF0"/>
          </p15:clr>
        </p15:guide>
        <p15:guide id="12" pos="5816" userDrawn="1">
          <p15:clr>
            <a:srgbClr val="5ACBF0"/>
          </p15:clr>
        </p15:guide>
        <p15:guide id="13" pos="6381" userDrawn="1">
          <p15:clr>
            <a:srgbClr val="5ACBF0"/>
          </p15:clr>
        </p15:guide>
        <p15:guide id="14" pos="6946" userDrawn="1">
          <p15:clr>
            <a:srgbClr val="5ACBF0"/>
          </p15:clr>
        </p15:guide>
        <p15:guide id="15" pos="7510" userDrawn="1">
          <p15:clr>
            <a:srgbClr val="5ACBF0"/>
          </p15:clr>
        </p15:guide>
        <p15:guide id="16" pos="282" userDrawn="1">
          <p15:clr>
            <a:srgbClr val="C35EA4"/>
          </p15:clr>
        </p15:guide>
        <p15:guide id="17" pos="7398" userDrawn="1">
          <p15:clr>
            <a:srgbClr val="C35EA4"/>
          </p15:clr>
        </p15:guide>
        <p15:guide id="18" orient="horz" pos="748" userDrawn="1">
          <p15:clr>
            <a:srgbClr val="5ACBF0"/>
          </p15:clr>
        </p15:guide>
        <p15:guide id="19" orient="horz" pos="1313" userDrawn="1">
          <p15:clr>
            <a:srgbClr val="5ACBF0"/>
          </p15:clr>
        </p15:guide>
        <p15:guide id="20" orient="horz" pos="1878" userDrawn="1">
          <p15:clr>
            <a:srgbClr val="5ACBF0"/>
          </p15:clr>
        </p15:guide>
        <p15:guide id="21" orient="horz" pos="2442" userDrawn="1">
          <p15:clr>
            <a:srgbClr val="5ACBF0"/>
          </p15:clr>
        </p15:guide>
        <p15:guide id="22" orient="horz" pos="3007" userDrawn="1">
          <p15:clr>
            <a:srgbClr val="5ACBF0"/>
          </p15:clr>
        </p15:guide>
        <p15:guide id="23" orient="horz" pos="3572" userDrawn="1">
          <p15:clr>
            <a:srgbClr val="5ACBF0"/>
          </p15:clr>
        </p15:guide>
        <p15:guide id="24" orient="horz" pos="4137" userDrawn="1">
          <p15:clr>
            <a:srgbClr val="5ACBF0"/>
          </p15:clr>
        </p15:guide>
        <p15:guide id="25" orient="horz" pos="296" userDrawn="1">
          <p15:clr>
            <a:srgbClr val="C35EA4"/>
          </p15:clr>
        </p15:guide>
        <p15:guide id="26" orient="horz" pos="4024" userDrawn="1">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Cya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rpl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condary colors (use only when necessary)</a:t>
              </a:r>
            </a:p>
          </p:txBody>
        </p:sp>
      </p:grpSp>
    </p:spTree>
    <p:extLst>
      <p:ext uri="{BB962C8B-B14F-4D97-AF65-F5344CB8AC3E}">
        <p14:creationId xmlns:p14="http://schemas.microsoft.com/office/powerpoint/2010/main" val="1523160441"/>
      </p:ext>
    </p:extLst>
  </p:cSld>
  <p:clrMap bg1="lt1" tx1="dk1" bg2="lt2" tx2="dk2" accent1="accent1" accent2="accent2" accent3="accent3" accent4="accent4" accent5="accent5" accent6="accent6" hlink="hlink" folHlink="folHlink"/>
  <p:sldLayoutIdLst>
    <p:sldLayoutId id="2147483664" r:id="rId1"/>
    <p:sldLayoutId id="2147483672" r:id="rId2"/>
    <p:sldLayoutId id="2147483662" r:id="rId3"/>
    <p:sldLayoutId id="2147484747" r:id="rId4"/>
    <p:sldLayoutId id="2147484748" r:id="rId5"/>
    <p:sldLayoutId id="2147484749" r:id="rId6"/>
    <p:sldLayoutId id="2147484750" r:id="rId7"/>
    <p:sldLayoutId id="2147484751" r:id="rId8"/>
    <p:sldLayoutId id="2147484752" r:id="rId9"/>
    <p:sldLayoutId id="2147484753" r:id="rId1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591848346"/>
      </p:ext>
    </p:extLst>
  </p:cSld>
  <p:clrMap bg1="dk1" tx1="lt1" bg2="dk2" tx2="lt2" accent1="accent1" accent2="accent2" accent3="accent3" accent4="accent4" accent5="accent5" accent6="accent6" hlink="hlink" folHlink="folHlink"/>
  <p:sldLayoutIdLst>
    <p:sldLayoutId id="2147483793" r:id="rId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80226886"/>
      </p:ext>
    </p:extLst>
  </p:cSld>
  <p:clrMap bg1="lt1" tx1="dk1" bg2="lt2" tx2="dk2" accent1="accent1" accent2="accent2" accent3="accent3" accent4="accent4" accent5="accent5" accent6="accent6" hlink="hlink" folHlink="folHlink"/>
  <p:sldLayoutIdLst>
    <p:sldLayoutId id="2147484496" r:id="rId1"/>
    <p:sldLayoutId id="2147484489" r:id="rId2"/>
    <p:sldLayoutId id="2147484485"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3" userDrawn="1">
          <p15:clr>
            <a:srgbClr val="5ACBF0"/>
          </p15:clr>
        </p15:guide>
        <p15:guide id="2" pos="170" userDrawn="1">
          <p15:clr>
            <a:srgbClr val="5ACBF0"/>
          </p15:clr>
        </p15:guide>
        <p15:guide id="3" pos="734" userDrawn="1">
          <p15:clr>
            <a:srgbClr val="5ACBF0"/>
          </p15:clr>
        </p15:guide>
        <p15:guide id="4" pos="1299" userDrawn="1">
          <p15:clr>
            <a:srgbClr val="5ACBF0"/>
          </p15:clr>
        </p15:guide>
        <p15:guide id="5" pos="1864" userDrawn="1">
          <p15:clr>
            <a:srgbClr val="5ACBF0"/>
          </p15:clr>
        </p15:guide>
        <p15:guide id="6" pos="2428" userDrawn="1">
          <p15:clr>
            <a:srgbClr val="5ACBF0"/>
          </p15:clr>
        </p15:guide>
        <p15:guide id="7" pos="2993" userDrawn="1">
          <p15:clr>
            <a:srgbClr val="5ACBF0"/>
          </p15:clr>
        </p15:guide>
        <p15:guide id="8" pos="3558" userDrawn="1">
          <p15:clr>
            <a:srgbClr val="5ACBF0"/>
          </p15:clr>
        </p15:guide>
        <p15:guide id="9" pos="4122" userDrawn="1">
          <p15:clr>
            <a:srgbClr val="5ACBF0"/>
          </p15:clr>
        </p15:guide>
        <p15:guide id="10" pos="4687" userDrawn="1">
          <p15:clr>
            <a:srgbClr val="5ACBF0"/>
          </p15:clr>
        </p15:guide>
        <p15:guide id="11" pos="5252" userDrawn="1">
          <p15:clr>
            <a:srgbClr val="5ACBF0"/>
          </p15:clr>
        </p15:guide>
        <p15:guide id="12" pos="5816" userDrawn="1">
          <p15:clr>
            <a:srgbClr val="5ACBF0"/>
          </p15:clr>
        </p15:guide>
        <p15:guide id="13" pos="6381" userDrawn="1">
          <p15:clr>
            <a:srgbClr val="5ACBF0"/>
          </p15:clr>
        </p15:guide>
        <p15:guide id="14" pos="6946" userDrawn="1">
          <p15:clr>
            <a:srgbClr val="5ACBF0"/>
          </p15:clr>
        </p15:guide>
        <p15:guide id="15" pos="7510" userDrawn="1">
          <p15:clr>
            <a:srgbClr val="5ACBF0"/>
          </p15:clr>
        </p15:guide>
        <p15:guide id="16" pos="282" userDrawn="1">
          <p15:clr>
            <a:srgbClr val="C35EA4"/>
          </p15:clr>
        </p15:guide>
        <p15:guide id="17" pos="7398" userDrawn="1">
          <p15:clr>
            <a:srgbClr val="C35EA4"/>
          </p15:clr>
        </p15:guide>
        <p15:guide id="18" orient="horz" pos="748" userDrawn="1">
          <p15:clr>
            <a:srgbClr val="5ACBF0"/>
          </p15:clr>
        </p15:guide>
        <p15:guide id="19" orient="horz" pos="1313" userDrawn="1">
          <p15:clr>
            <a:srgbClr val="5ACBF0"/>
          </p15:clr>
        </p15:guide>
        <p15:guide id="20" orient="horz" pos="1878" userDrawn="1">
          <p15:clr>
            <a:srgbClr val="5ACBF0"/>
          </p15:clr>
        </p15:guide>
        <p15:guide id="21" orient="horz" pos="2442" userDrawn="1">
          <p15:clr>
            <a:srgbClr val="5ACBF0"/>
          </p15:clr>
        </p15:guide>
        <p15:guide id="22" orient="horz" pos="3007" userDrawn="1">
          <p15:clr>
            <a:srgbClr val="5ACBF0"/>
          </p15:clr>
        </p15:guide>
        <p15:guide id="23" orient="horz" pos="3572" userDrawn="1">
          <p15:clr>
            <a:srgbClr val="5ACBF0"/>
          </p15:clr>
        </p15:guide>
        <p15:guide id="24" orient="horz" pos="4137" userDrawn="1">
          <p15:clr>
            <a:srgbClr val="5ACBF0"/>
          </p15:clr>
        </p15:guide>
        <p15:guide id="25" orient="horz" pos="296" userDrawn="1">
          <p15:clr>
            <a:srgbClr val="C35EA4"/>
          </p15:clr>
        </p15:guide>
        <p15:guide id="26" orient="horz" pos="4024" userDrawn="1">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11949495"/>
      </p:ext>
    </p:extLst>
  </p:cSld>
  <p:clrMap bg1="lt1" tx1="dk1" bg2="lt2" tx2="dk2" accent1="accent1" accent2="accent2" accent3="accent3" accent4="accent4" accent5="accent5" accent6="accent6" hlink="hlink" folHlink="folHlink"/>
  <p:sldLayoutIdLst>
    <p:sldLayoutId id="2147484679" r:id="rId1"/>
    <p:sldLayoutId id="2147484670" r:id="rId2"/>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2.xml"/></Relationships>
</file>

<file path=ppt/slides/_rels/slide1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4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6.xml"/></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xml"/><Relationship Id="rId1" Type="http://schemas.openxmlformats.org/officeDocument/2006/relationships/slideLayout" Target="../slideLayouts/slideLayout155.xml"/></Relationships>
</file>

<file path=ppt/slides/_rels/slide13.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5.xml"/><Relationship Id="rId1" Type="http://schemas.openxmlformats.org/officeDocument/2006/relationships/slideLayout" Target="../slideLayouts/slideLayout155.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6.xml"/><Relationship Id="rId1" Type="http://schemas.openxmlformats.org/officeDocument/2006/relationships/slideLayout" Target="../slideLayouts/slideLayout157.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hyperlink" Target="http://www.migratetoazure.net/"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Aka.ms/aspmigrate" TargetMode="External"/><Relationship Id="rId2" Type="http://schemas.openxmlformats.org/officeDocument/2006/relationships/notesSlide" Target="../notesSlides/notesSlide7.xml"/><Relationship Id="rId1" Type="http://schemas.openxmlformats.org/officeDocument/2006/relationships/slideLayout" Target="../slideLayouts/slideLayout157.xml"/><Relationship Id="rId4"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8.xml"/><Relationship Id="rId1" Type="http://schemas.openxmlformats.org/officeDocument/2006/relationships/slideLayout" Target="../slideLayouts/slideLayout157.xml"/><Relationship Id="rId4" Type="http://schemas.openxmlformats.org/officeDocument/2006/relationships/hyperlink" Target="https://azure.microsoft.com/en-us/features/devops-projects/"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azure.microsoft.com/en-us/services/database-migration/" TargetMode="External"/><Relationship Id="rId2" Type="http://schemas.openxmlformats.org/officeDocument/2006/relationships/notesSlide" Target="../notesSlides/notesSlide9.xml"/><Relationship Id="rId1" Type="http://schemas.openxmlformats.org/officeDocument/2006/relationships/slideLayout" Target="../slideLayouts/slideLayout155.xml"/><Relationship Id="rId6" Type="http://schemas.openxmlformats.org/officeDocument/2006/relationships/hyperlink" Target="aka.ms/SQLMigrate" TargetMode="External"/><Relationship Id="rId5" Type="http://schemas.openxmlformats.org/officeDocument/2006/relationships/image" Target="../media/image50.png"/><Relationship Id="rId4" Type="http://schemas.openxmlformats.org/officeDocument/2006/relationships/image" Target="../media/image49.png"/></Relationships>
</file>

<file path=ppt/slides/_rels/slide18.xml.rels><?xml version="1.0" encoding="UTF-8" standalone="yes"?>
<Relationships xmlns="http://schemas.openxmlformats.org/package/2006/relationships"><Relationship Id="rId3" Type="http://schemas.openxmlformats.org/officeDocument/2006/relationships/hyperlink" Target="https://docs.microsoft.com/en-us/azure/app-service/app-service-web-overview" TargetMode="External"/><Relationship Id="rId2" Type="http://schemas.openxmlformats.org/officeDocument/2006/relationships/notesSlide" Target="../notesSlides/notesSlide10.xml"/><Relationship Id="rId1" Type="http://schemas.openxmlformats.org/officeDocument/2006/relationships/slideLayout" Target="../slideLayouts/slideLayout158.xml"/><Relationship Id="rId5" Type="http://schemas.openxmlformats.org/officeDocument/2006/relationships/hyperlink" Target="https://docs.microsoft.com/en-us/azure/sql-database/" TargetMode="External"/><Relationship Id="rId4" Type="http://schemas.openxmlformats.org/officeDocument/2006/relationships/hyperlink" Target="https://www.migratetoazure.net/"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153.xml"/><Relationship Id="rId4" Type="http://schemas.openxmlformats.org/officeDocument/2006/relationships/image" Target="../media/image20.svg"/></Relationships>
</file>

<file path=ppt/slides/_rels/slide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1.xml"/><Relationship Id="rId1" Type="http://schemas.openxmlformats.org/officeDocument/2006/relationships/slideLayout" Target="../slideLayouts/slideLayout160.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2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2.xml"/><Relationship Id="rId1" Type="http://schemas.openxmlformats.org/officeDocument/2006/relationships/slideLayout" Target="../slideLayouts/slideLayout161.xml"/><Relationship Id="rId5" Type="http://schemas.openxmlformats.org/officeDocument/2006/relationships/image" Target="../media/image57.png"/><Relationship Id="rId4" Type="http://schemas.openxmlformats.org/officeDocument/2006/relationships/image" Target="../media/image56.png"/></Relationships>
</file>

<file path=ppt/slides/_rels/slide22.xml.rels><?xml version="1.0" encoding="UTF-8" standalone="yes"?>
<Relationships xmlns="http://schemas.openxmlformats.org/package/2006/relationships"><Relationship Id="rId3" Type="http://schemas.openxmlformats.org/officeDocument/2006/relationships/hyperlink" Target="https://www.visualstudio.com/team-services/" TargetMode="External"/><Relationship Id="rId2" Type="http://schemas.openxmlformats.org/officeDocument/2006/relationships/notesSlide" Target="../notesSlides/notesSlide13.xml"/><Relationship Id="rId1" Type="http://schemas.openxmlformats.org/officeDocument/2006/relationships/slideLayout" Target="../slideLayouts/slideLayout162.xml"/><Relationship Id="rId5" Type="http://schemas.openxmlformats.org/officeDocument/2006/relationships/hyperlink" Target="https://docs.microsoft.com/en-us/vsts/accounts/create-account-msa-or-work-student?view=vsts" TargetMode="External"/><Relationship Id="rId4" Type="http://schemas.openxmlformats.org/officeDocument/2006/relationships/hyperlink" Target="https://docs.microsoft.com/en-us/azure/virtual-machines/windows/tutorial-vsts-iis-cicd" TargetMode="Externa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6.xml"/></Relationships>
</file>

<file path=ppt/slides/_rels/slide2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4.xml"/><Relationship Id="rId1" Type="http://schemas.openxmlformats.org/officeDocument/2006/relationships/slideLayout" Target="../slideLayouts/slideLayout155.xml"/></Relationships>
</file>

<file path=ppt/slides/_rels/slide25.xml.rels><?xml version="1.0" encoding="UTF-8" standalone="yes"?>
<Relationships xmlns="http://schemas.openxmlformats.org/package/2006/relationships"><Relationship Id="rId3" Type="http://schemas.openxmlformats.org/officeDocument/2006/relationships/hyperlink" Target="https://docs.microsoft.com/en-us/azure/application-insights/app-insights-overview" TargetMode="External"/><Relationship Id="rId2" Type="http://schemas.openxmlformats.org/officeDocument/2006/relationships/notesSlide" Target="../notesSlides/notesSlide15.xml"/><Relationship Id="rId1" Type="http://schemas.openxmlformats.org/officeDocument/2006/relationships/slideLayout" Target="../slideLayouts/slideLayout163.xml"/></Relationships>
</file>

<file path=ppt/slides/_rels/slide26.xml.rels><?xml version="1.0" encoding="UTF-8" standalone="yes"?>
<Relationships xmlns="http://schemas.openxmlformats.org/package/2006/relationships"><Relationship Id="rId3" Type="http://schemas.openxmlformats.org/officeDocument/2006/relationships/hyperlink" Target="https://docs.microsoft.com/en-us/azure/app-service/web-sites-backup" TargetMode="External"/><Relationship Id="rId2" Type="http://schemas.openxmlformats.org/officeDocument/2006/relationships/notesSlide" Target="../notesSlides/notesSlide16.xml"/><Relationship Id="rId1" Type="http://schemas.openxmlformats.org/officeDocument/2006/relationships/slideLayout" Target="../slideLayouts/slideLayout164.xml"/><Relationship Id="rId4" Type="http://schemas.openxmlformats.org/officeDocument/2006/relationships/hyperlink" Target="https://docs.microsoft.com/en-us/azure/architecture/best-practices/auto-scaling"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6.xml"/></Relationships>
</file>

<file path=ppt/slides/_rels/slide29.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18.xml"/><Relationship Id="rId1" Type="http://schemas.openxmlformats.org/officeDocument/2006/relationships/slideLayout" Target="../slideLayouts/slideLayout168.xml"/><Relationship Id="rId6" Type="http://schemas.openxmlformats.org/officeDocument/2006/relationships/image" Target="../media/image62.png"/><Relationship Id="rId11" Type="http://schemas.openxmlformats.org/officeDocument/2006/relationships/image" Target="../media/image67.png"/><Relationship Id="rId5" Type="http://schemas.openxmlformats.org/officeDocument/2006/relationships/image" Target="../media/image61.png"/><Relationship Id="rId10" Type="http://schemas.openxmlformats.org/officeDocument/2006/relationships/image" Target="../media/image66.png"/><Relationship Id="rId4" Type="http://schemas.openxmlformats.org/officeDocument/2006/relationships/image" Target="../media/image60.png"/><Relationship Id="rId9" Type="http://schemas.openxmlformats.org/officeDocument/2006/relationships/image" Target="../media/image65.png"/></Relationships>
</file>

<file path=ppt/slides/_rels/slide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5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6.xml"/></Relationships>
</file>

<file path=ppt/slides/_rels/slide33.xml.rels><?xml version="1.0" encoding="UTF-8" standalone="yes"?>
<Relationships xmlns="http://schemas.openxmlformats.org/package/2006/relationships"><Relationship Id="rId3" Type="http://schemas.openxmlformats.org/officeDocument/2006/relationships/image" Target="../media/image68.emf"/><Relationship Id="rId7" Type="http://schemas.openxmlformats.org/officeDocument/2006/relationships/image" Target="../media/image71.emf"/><Relationship Id="rId2" Type="http://schemas.openxmlformats.org/officeDocument/2006/relationships/notesSlide" Target="../notesSlides/notesSlide22.xml"/><Relationship Id="rId1" Type="http://schemas.openxmlformats.org/officeDocument/2006/relationships/slideLayout" Target="../slideLayouts/slideLayout146.xml"/><Relationship Id="rId6" Type="http://schemas.openxmlformats.org/officeDocument/2006/relationships/slide" Target="slide33.xml"/><Relationship Id="rId5" Type="http://schemas.openxmlformats.org/officeDocument/2006/relationships/image" Target="../media/image70.emf"/><Relationship Id="rId4" Type="http://schemas.openxmlformats.org/officeDocument/2006/relationships/image" Target="../media/image69.emf"/></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6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6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6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69.xml"/></Relationships>
</file>

<file path=ppt/slides/_rels/slide38.xml.rels><?xml version="1.0" encoding="UTF-8" standalone="yes"?>
<Relationships xmlns="http://schemas.openxmlformats.org/package/2006/relationships"><Relationship Id="rId3" Type="http://schemas.openxmlformats.org/officeDocument/2006/relationships/image" Target="../media/image72.emf"/><Relationship Id="rId2" Type="http://schemas.openxmlformats.org/officeDocument/2006/relationships/notesSlide" Target="../notesSlides/notesSlide27.xml"/><Relationship Id="rId1" Type="http://schemas.openxmlformats.org/officeDocument/2006/relationships/slideLayout" Target="../slideLayouts/slideLayout169.xml"/></Relationships>
</file>

<file path=ppt/slides/_rels/slide3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8.xml"/><Relationship Id="rId1" Type="http://schemas.openxmlformats.org/officeDocument/2006/relationships/slideLayout" Target="../slideLayouts/slideLayout169.xml"/></Relationships>
</file>

<file path=ppt/slides/_rels/slide4.xml.rels><?xml version="1.0" encoding="UTF-8" standalone="yes"?>
<Relationships xmlns="http://schemas.openxmlformats.org/package/2006/relationships"><Relationship Id="rId3" Type="http://schemas.openxmlformats.org/officeDocument/2006/relationships/hyperlink" Target="https://aka.ms/appmodernization" TargetMode="External"/><Relationship Id="rId2" Type="http://schemas.openxmlformats.org/officeDocument/2006/relationships/notesSlide" Target="../notesSlides/notesSlide2.xml"/><Relationship Id="rId1" Type="http://schemas.openxmlformats.org/officeDocument/2006/relationships/slideLayout" Target="../slideLayouts/slideLayout154.xml"/><Relationship Id="rId4" Type="http://schemas.openxmlformats.org/officeDocument/2006/relationships/image" Target="../media/image22.tiff"/></Relationships>
</file>

<file path=ppt/slides/_rels/slide40.xml.rels><?xml version="1.0" encoding="UTF-8" standalone="yes"?>
<Relationships xmlns="http://schemas.openxmlformats.org/package/2006/relationships"><Relationship Id="rId3" Type="http://schemas.openxmlformats.org/officeDocument/2006/relationships/hyperlink" Target="https://docs.microsoft.com/en-us/azure/sql-database/" TargetMode="External"/><Relationship Id="rId2" Type="http://schemas.openxmlformats.org/officeDocument/2006/relationships/notesSlide" Target="../notesSlides/notesSlide29.xml"/><Relationship Id="rId1" Type="http://schemas.openxmlformats.org/officeDocument/2006/relationships/slideLayout" Target="../slideLayouts/slideLayout165.xml"/><Relationship Id="rId6" Type="http://schemas.openxmlformats.org/officeDocument/2006/relationships/hyperlink" Target="https://docs.microsoft.com/en-us/azure/sql-database/sql-database-what-is-a-dtu" TargetMode="External"/><Relationship Id="rId5" Type="http://schemas.openxmlformats.org/officeDocument/2006/relationships/hyperlink" Target="https://docs.microsoft.com/en-us/azure/sql-database/sql-advanced-threat-protection" TargetMode="External"/><Relationship Id="rId4" Type="http://schemas.openxmlformats.org/officeDocument/2006/relationships/hyperlink" Target="https://docs.microsoft.com/en-us/sql/relational-databases/security/encryption/transparent-data-encryption-azure-sql?view=azuresqldb-current" TargetMode="Externa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56.xml"/></Relationships>
</file>

<file path=ppt/slides/_rels/slide4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1.xml"/><Relationship Id="rId1" Type="http://schemas.openxmlformats.org/officeDocument/2006/relationships/slideLayout" Target="../slideLayouts/slideLayout170.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5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46.xml"/></Relationships>
</file>

<file path=ppt/slides/_rels/slide45.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slideLayout" Target="../slideLayouts/slideLayout146.xml"/><Relationship Id="rId7" Type="http://schemas.openxmlformats.org/officeDocument/2006/relationships/image" Target="../media/image86.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7.emf"/><Relationship Id="rId11" Type="http://schemas.microsoft.com/office/2007/relationships/hdphoto" Target="../media/hdphoto1.wdp"/><Relationship Id="rId5" Type="http://schemas.openxmlformats.org/officeDocument/2006/relationships/oleObject" Target="../embeddings/oleObject2.bin"/><Relationship Id="rId10" Type="http://schemas.openxmlformats.org/officeDocument/2006/relationships/image" Target="../media/image89.png"/><Relationship Id="rId4" Type="http://schemas.openxmlformats.org/officeDocument/2006/relationships/notesSlide" Target="../notesSlides/notesSlide33.xml"/><Relationship Id="rId9" Type="http://schemas.openxmlformats.org/officeDocument/2006/relationships/image" Target="../media/image88.png"/></Relationships>
</file>

<file path=ppt/slides/_rels/slide46.xml.rels><?xml version="1.0" encoding="UTF-8" standalone="yes"?>
<Relationships xmlns="http://schemas.openxmlformats.org/package/2006/relationships"><Relationship Id="rId3" Type="http://schemas.openxmlformats.org/officeDocument/2006/relationships/hyperlink" Target="https://azure.microsoft.com/en-us/services/cdn/" TargetMode="External"/><Relationship Id="rId2" Type="http://schemas.openxmlformats.org/officeDocument/2006/relationships/notesSlide" Target="../notesSlides/notesSlide34.xml"/><Relationship Id="rId1" Type="http://schemas.openxmlformats.org/officeDocument/2006/relationships/slideLayout" Target="../slideLayouts/slideLayout172.xml"/><Relationship Id="rId5" Type="http://schemas.openxmlformats.org/officeDocument/2006/relationships/hyperlink" Target="https://docs.microsoft.com/en-us/azure/cdn/cdn-create-new-endpoint" TargetMode="External"/><Relationship Id="rId4" Type="http://schemas.openxmlformats.org/officeDocument/2006/relationships/hyperlink" Target="https://docs.microsoft.com/en-us/azure/cdn/cdn-overview" TargetMode="External"/></Relationships>
</file>

<file path=ppt/slides/_rels/slide47.xml.rels><?xml version="1.0" encoding="UTF-8" standalone="yes"?>
<Relationships xmlns="http://schemas.openxmlformats.org/package/2006/relationships"><Relationship Id="rId3" Type="http://schemas.openxmlformats.org/officeDocument/2006/relationships/hyperlink" Target="https://azure.microsoft.com/en-us/services/cdn/" TargetMode="External"/><Relationship Id="rId2" Type="http://schemas.openxmlformats.org/officeDocument/2006/relationships/notesSlide" Target="../notesSlides/notesSlide35.xml"/><Relationship Id="rId1" Type="http://schemas.openxmlformats.org/officeDocument/2006/relationships/slideLayout" Target="../slideLayouts/slideLayout173.xml"/><Relationship Id="rId5" Type="http://schemas.openxmlformats.org/officeDocument/2006/relationships/hyperlink" Target="https://docs.microsoft.com/en-us/azure/cdn/cdn-create-new-endpoint" TargetMode="External"/><Relationship Id="rId4" Type="http://schemas.openxmlformats.org/officeDocument/2006/relationships/hyperlink" Target="https://docs.microsoft.com/en-us/azure/cdn/cdn-overview" TargetMode="Externa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56.xml"/></Relationships>
</file>

<file path=ppt/slides/_rels/slide49.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14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5.xml"/></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6.xml"/><Relationship Id="rId1" Type="http://schemas.openxmlformats.org/officeDocument/2006/relationships/slideLayout" Target="../slideLayouts/slideLayout17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1.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75.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46.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38.xml"/><Relationship Id="rId1" Type="http://schemas.openxmlformats.org/officeDocument/2006/relationships/slideLayout" Target="../slideLayouts/slideLayout176.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54.xml.rels><?xml version="1.0" encoding="UTF-8" standalone="yes"?>
<Relationships xmlns="http://schemas.openxmlformats.org/package/2006/relationships"><Relationship Id="rId3" Type="http://schemas.openxmlformats.org/officeDocument/2006/relationships/hyperlink" Target="https://docs.microsoft.com/en-us/azure/redis-cache/cache-dotnet-how-to-use-azure-redis-cache" TargetMode="External"/><Relationship Id="rId2" Type="http://schemas.openxmlformats.org/officeDocument/2006/relationships/notesSlide" Target="../notesSlides/notesSlide39.xml"/><Relationship Id="rId1" Type="http://schemas.openxmlformats.org/officeDocument/2006/relationships/slideLayout" Target="../slideLayouts/slideLayout177.xml"/><Relationship Id="rId4" Type="http://schemas.openxmlformats.org/officeDocument/2006/relationships/hyperlink" Target="https://docs.microsoft.com/en-us/azure/architecture/antipatterns/no-caching/" TargetMode="Externa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5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56.xml"/></Relationships>
</file>

<file path=ppt/slides/_rels/slide5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79.xml"/></Relationships>
</file>

<file path=ppt/slides/_rels/slide59.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41.xml"/><Relationship Id="rId1" Type="http://schemas.openxmlformats.org/officeDocument/2006/relationships/slideLayout" Target="../slideLayouts/slideLayout142.xml"/><Relationship Id="rId5" Type="http://schemas.openxmlformats.org/officeDocument/2006/relationships/image" Target="../media/image113.png"/><Relationship Id="rId4" Type="http://schemas.openxmlformats.org/officeDocument/2006/relationships/image" Target="../media/image112.png"/></Relationships>
</file>

<file path=ppt/slides/_rels/slide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2.xml"/></Relationships>
</file>

<file path=ppt/slides/_rels/slide60.xml.rels><?xml version="1.0" encoding="UTF-8" standalone="yes"?>
<Relationships xmlns="http://schemas.openxmlformats.org/package/2006/relationships"><Relationship Id="rId2" Type="http://schemas.openxmlformats.org/officeDocument/2006/relationships/image" Target="../media/image114.jpg"/><Relationship Id="rId1" Type="http://schemas.openxmlformats.org/officeDocument/2006/relationships/slideLayout" Target="../slideLayouts/slideLayout178.xml"/></Relationships>
</file>

<file path=ppt/slides/_rels/slide61.xml.rels><?xml version="1.0" encoding="UTF-8" standalone="yes"?>
<Relationships xmlns="http://schemas.openxmlformats.org/package/2006/relationships"><Relationship Id="rId3" Type="http://schemas.openxmlformats.org/officeDocument/2006/relationships/hyperlink" Target="https://docs.microsoft.com/en-us/azure/search/" TargetMode="External"/><Relationship Id="rId2" Type="http://schemas.openxmlformats.org/officeDocument/2006/relationships/notesSlide" Target="../notesSlides/notesSlide42.xml"/><Relationship Id="rId1" Type="http://schemas.openxmlformats.org/officeDocument/2006/relationships/slideLayout" Target="../slideLayouts/slideLayout180.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56.xml"/></Relationships>
</file>

<file path=ppt/slides/_rels/slide63.xml.rels><?xml version="1.0" encoding="UTF-8" standalone="yes"?>
<Relationships xmlns="http://schemas.openxmlformats.org/package/2006/relationships"><Relationship Id="rId3" Type="http://schemas.openxmlformats.org/officeDocument/2006/relationships/image" Target="../media/image115.emf"/><Relationship Id="rId2" Type="http://schemas.openxmlformats.org/officeDocument/2006/relationships/notesSlide" Target="../notesSlides/notesSlide43.xml"/><Relationship Id="rId1" Type="http://schemas.openxmlformats.org/officeDocument/2006/relationships/slideLayout" Target="../slideLayouts/slideLayout146.xml"/><Relationship Id="rId5" Type="http://schemas.openxmlformats.org/officeDocument/2006/relationships/image" Target="../media/image117.emf"/><Relationship Id="rId4" Type="http://schemas.openxmlformats.org/officeDocument/2006/relationships/image" Target="../media/image116.emf"/></Relationships>
</file>

<file path=ppt/slides/_rels/slide64.xml.rels><?xml version="1.0" encoding="UTF-8" standalone="yes"?>
<Relationships xmlns="http://schemas.openxmlformats.org/package/2006/relationships"><Relationship Id="rId3" Type="http://schemas.openxmlformats.org/officeDocument/2006/relationships/image" Target="../media/image118.emf"/><Relationship Id="rId2" Type="http://schemas.openxmlformats.org/officeDocument/2006/relationships/notesSlide" Target="../notesSlides/notesSlide44.xml"/><Relationship Id="rId1" Type="http://schemas.openxmlformats.org/officeDocument/2006/relationships/slideLayout" Target="../slideLayouts/slideLayout146.xml"/></Relationships>
</file>

<file path=ppt/slides/_rels/slide65.xml.rels><?xml version="1.0" encoding="UTF-8" standalone="yes"?>
<Relationships xmlns="http://schemas.openxmlformats.org/package/2006/relationships"><Relationship Id="rId3" Type="http://schemas.openxmlformats.org/officeDocument/2006/relationships/image" Target="../media/image119.emf"/><Relationship Id="rId2" Type="http://schemas.openxmlformats.org/officeDocument/2006/relationships/notesSlide" Target="../notesSlides/notesSlide45.xml"/><Relationship Id="rId1" Type="http://schemas.openxmlformats.org/officeDocument/2006/relationships/slideLayout" Target="../slideLayouts/slideLayout146.xml"/><Relationship Id="rId4" Type="http://schemas.openxmlformats.org/officeDocument/2006/relationships/image" Target="../media/image120.emf"/></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66.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73.xml.rels><?xml version="1.0" encoding="UTF-8" standalone="yes"?>
<Relationships xmlns="http://schemas.openxmlformats.org/package/2006/relationships"><Relationship Id="rId2" Type="http://schemas.openxmlformats.org/officeDocument/2006/relationships/image" Target="../media/image121.emf"/><Relationship Id="rId1" Type="http://schemas.openxmlformats.org/officeDocument/2006/relationships/slideLayout" Target="../slideLayouts/slideLayout141.xml"/></Relationships>
</file>

<file path=ppt/slides/_rels/slide74.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46.xml"/><Relationship Id="rId1" Type="http://schemas.openxmlformats.org/officeDocument/2006/relationships/slideLayout" Target="../slideLayouts/slideLayout166.xml"/><Relationship Id="rId5" Type="http://schemas.openxmlformats.org/officeDocument/2006/relationships/image" Target="../media/image124.emf"/><Relationship Id="rId4" Type="http://schemas.openxmlformats.org/officeDocument/2006/relationships/image" Target="../media/image123.png"/></Relationships>
</file>

<file path=ppt/slides/_rels/slide75.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image" Target="../media/image125.png"/><Relationship Id="rId1" Type="http://schemas.openxmlformats.org/officeDocument/2006/relationships/slideLayout" Target="../slideLayouts/slideLayout146.xml"/></Relationships>
</file>

<file path=ppt/slides/_rels/slide76.xml.rels><?xml version="1.0" encoding="UTF-8" standalone="yes"?>
<Relationships xmlns="http://schemas.openxmlformats.org/package/2006/relationships"><Relationship Id="rId8" Type="http://schemas.openxmlformats.org/officeDocument/2006/relationships/image" Target="../media/image131.emf"/><Relationship Id="rId13" Type="http://schemas.openxmlformats.org/officeDocument/2006/relationships/image" Target="../media/image136.png"/><Relationship Id="rId18" Type="http://schemas.openxmlformats.org/officeDocument/2006/relationships/image" Target="../media/image141.png"/><Relationship Id="rId3" Type="http://schemas.openxmlformats.org/officeDocument/2006/relationships/image" Target="../media/image126.png"/><Relationship Id="rId7" Type="http://schemas.openxmlformats.org/officeDocument/2006/relationships/image" Target="../media/image130.emf"/><Relationship Id="rId12" Type="http://schemas.openxmlformats.org/officeDocument/2006/relationships/image" Target="../media/image135.png"/><Relationship Id="rId17" Type="http://schemas.openxmlformats.org/officeDocument/2006/relationships/image" Target="../media/image140.png"/><Relationship Id="rId2" Type="http://schemas.openxmlformats.org/officeDocument/2006/relationships/notesSlide" Target="../notesSlides/notesSlide47.xml"/><Relationship Id="rId16" Type="http://schemas.openxmlformats.org/officeDocument/2006/relationships/image" Target="../media/image139.png"/><Relationship Id="rId20" Type="http://schemas.openxmlformats.org/officeDocument/2006/relationships/image" Target="../media/image143.png"/><Relationship Id="rId1" Type="http://schemas.openxmlformats.org/officeDocument/2006/relationships/slideLayout" Target="../slideLayouts/slideLayout146.xml"/><Relationship Id="rId6" Type="http://schemas.openxmlformats.org/officeDocument/2006/relationships/image" Target="../media/image129.emf"/><Relationship Id="rId11" Type="http://schemas.openxmlformats.org/officeDocument/2006/relationships/image" Target="../media/image134.png"/><Relationship Id="rId5" Type="http://schemas.openxmlformats.org/officeDocument/2006/relationships/image" Target="../media/image128.png"/><Relationship Id="rId15" Type="http://schemas.openxmlformats.org/officeDocument/2006/relationships/image" Target="../media/image138.png"/><Relationship Id="rId10" Type="http://schemas.openxmlformats.org/officeDocument/2006/relationships/image" Target="../media/image133.png"/><Relationship Id="rId19" Type="http://schemas.openxmlformats.org/officeDocument/2006/relationships/image" Target="../media/image142.png"/><Relationship Id="rId4" Type="http://schemas.openxmlformats.org/officeDocument/2006/relationships/image" Target="../media/image127.emf"/><Relationship Id="rId9" Type="http://schemas.openxmlformats.org/officeDocument/2006/relationships/image" Target="../media/image132.png"/><Relationship Id="rId14" Type="http://schemas.openxmlformats.org/officeDocument/2006/relationships/image" Target="../media/image137.png"/></Relationships>
</file>

<file path=ppt/slides/_rels/slide77.xml.rels><?xml version="1.0" encoding="UTF-8" standalone="yes"?>
<Relationships xmlns="http://schemas.openxmlformats.org/package/2006/relationships"><Relationship Id="rId3" Type="http://schemas.openxmlformats.org/officeDocument/2006/relationships/hyperlink" Target="https://tryappservice.azure.com/" TargetMode="External"/><Relationship Id="rId2" Type="http://schemas.openxmlformats.org/officeDocument/2006/relationships/hyperlink" Target="https://functions.azure.com/" TargetMode="External"/><Relationship Id="rId1" Type="http://schemas.openxmlformats.org/officeDocument/2006/relationships/slideLayout" Target="../slideLayouts/slideLayout166.xml"/><Relationship Id="rId4" Type="http://schemas.openxmlformats.org/officeDocument/2006/relationships/image" Target="../media/image144.png"/></Relationships>
</file>

<file path=ppt/slides/_rels/slide78.xml.rels><?xml version="1.0" encoding="UTF-8" standalone="yes"?>
<Relationships xmlns="http://schemas.openxmlformats.org/package/2006/relationships"><Relationship Id="rId3" Type="http://schemas.openxmlformats.org/officeDocument/2006/relationships/hyperlink" Target="https://docs.microsoft.com/en-us/azure/azure-functions/" TargetMode="External"/><Relationship Id="rId2" Type="http://schemas.openxmlformats.org/officeDocument/2006/relationships/notesSlide" Target="../notesSlides/notesSlide48.xml"/><Relationship Id="rId1" Type="http://schemas.openxmlformats.org/officeDocument/2006/relationships/slideLayout" Target="../slideLayouts/slideLayout182.xml"/><Relationship Id="rId4" Type="http://schemas.openxmlformats.org/officeDocument/2006/relationships/hyperlink" Target="https://docs.microsoft.com/en-us/azure/azure-functions/functions-create-first-azure-function" TargetMode="Externa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56.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4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0.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hyperlink" Target="http://www2.deloitte.com/content/dam/Deloitte/us/Documents/financial-services/us-fsi-api-economy.pdf" TargetMode="External"/><Relationship Id="rId7" Type="http://schemas.openxmlformats.org/officeDocument/2006/relationships/image" Target="../media/image148.png"/><Relationship Id="rId2" Type="http://schemas.openxmlformats.org/officeDocument/2006/relationships/notesSlide" Target="../notesSlides/notesSlide49.xml"/><Relationship Id="rId1" Type="http://schemas.openxmlformats.org/officeDocument/2006/relationships/slideLayout" Target="../slideLayouts/slideLayout161.xml"/><Relationship Id="rId6" Type="http://schemas.openxmlformats.org/officeDocument/2006/relationships/image" Target="../media/image147.png"/><Relationship Id="rId11" Type="http://schemas.openxmlformats.org/officeDocument/2006/relationships/image" Target="../media/image152.png"/><Relationship Id="rId5" Type="http://schemas.openxmlformats.org/officeDocument/2006/relationships/image" Target="../media/image146.png"/><Relationship Id="rId10" Type="http://schemas.openxmlformats.org/officeDocument/2006/relationships/image" Target="../media/image151.png"/><Relationship Id="rId4" Type="http://schemas.openxmlformats.org/officeDocument/2006/relationships/image" Target="../media/image145.png"/><Relationship Id="rId9" Type="http://schemas.openxmlformats.org/officeDocument/2006/relationships/image" Target="../media/image150.png"/></Relationships>
</file>

<file path=ppt/slides/_rels/slide81.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50.xml"/><Relationship Id="rId1" Type="http://schemas.openxmlformats.org/officeDocument/2006/relationships/slideLayout" Target="../slideLayouts/slideLayout146.xml"/></Relationships>
</file>

<file path=ppt/slides/_rels/slide82.xml.rels><?xml version="1.0" encoding="UTF-8" standalone="yes"?>
<Relationships xmlns="http://schemas.openxmlformats.org/package/2006/relationships"><Relationship Id="rId8" Type="http://schemas.openxmlformats.org/officeDocument/2006/relationships/image" Target="../media/image159.tiff"/><Relationship Id="rId13" Type="http://schemas.openxmlformats.org/officeDocument/2006/relationships/image" Target="../media/image164.png"/><Relationship Id="rId3" Type="http://schemas.openxmlformats.org/officeDocument/2006/relationships/image" Target="../media/image154.emf"/><Relationship Id="rId7" Type="http://schemas.openxmlformats.org/officeDocument/2006/relationships/image" Target="../media/image158.png"/><Relationship Id="rId12" Type="http://schemas.openxmlformats.org/officeDocument/2006/relationships/image" Target="../media/image163.emf"/><Relationship Id="rId2" Type="http://schemas.openxmlformats.org/officeDocument/2006/relationships/notesSlide" Target="../notesSlides/notesSlide51.xml"/><Relationship Id="rId1" Type="http://schemas.openxmlformats.org/officeDocument/2006/relationships/slideLayout" Target="../slideLayouts/slideLayout147.xml"/><Relationship Id="rId6" Type="http://schemas.openxmlformats.org/officeDocument/2006/relationships/image" Target="../media/image157.png"/><Relationship Id="rId11" Type="http://schemas.openxmlformats.org/officeDocument/2006/relationships/image" Target="../media/image162.emf"/><Relationship Id="rId5" Type="http://schemas.openxmlformats.org/officeDocument/2006/relationships/image" Target="../media/image156.emf"/><Relationship Id="rId10" Type="http://schemas.openxmlformats.org/officeDocument/2006/relationships/image" Target="../media/image161.tiff"/><Relationship Id="rId4" Type="http://schemas.openxmlformats.org/officeDocument/2006/relationships/image" Target="../media/image155.emf"/><Relationship Id="rId9" Type="http://schemas.openxmlformats.org/officeDocument/2006/relationships/image" Target="../media/image160.png"/><Relationship Id="rId14" Type="http://schemas.openxmlformats.org/officeDocument/2006/relationships/image" Target="../media/image153.png"/></Relationships>
</file>

<file path=ppt/slides/_rels/slide83.xml.rels><?xml version="1.0" encoding="UTF-8" standalone="yes"?>
<Relationships xmlns="http://schemas.openxmlformats.org/package/2006/relationships"><Relationship Id="rId2" Type="http://schemas.openxmlformats.org/officeDocument/2006/relationships/image" Target="../media/image165.jpg"/><Relationship Id="rId1" Type="http://schemas.openxmlformats.org/officeDocument/2006/relationships/slideLayout" Target="../slideLayouts/slideLayout161.xml"/></Relationships>
</file>

<file path=ppt/slides/_rels/slide84.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52.xml"/><Relationship Id="rId1" Type="http://schemas.openxmlformats.org/officeDocument/2006/relationships/slideLayout" Target="../slideLayouts/slideLayout146.xml"/><Relationship Id="rId6" Type="http://schemas.openxmlformats.org/officeDocument/2006/relationships/image" Target="../media/image168.png"/><Relationship Id="rId5" Type="http://schemas.openxmlformats.org/officeDocument/2006/relationships/image" Target="../media/image167.png"/><Relationship Id="rId4" Type="http://schemas.openxmlformats.org/officeDocument/2006/relationships/image" Target="../media/image166.png"/></Relationships>
</file>

<file path=ppt/slides/_rels/slide85.xml.rels><?xml version="1.0" encoding="UTF-8" standalone="yes"?>
<Relationships xmlns="http://schemas.openxmlformats.org/package/2006/relationships"><Relationship Id="rId3" Type="http://schemas.openxmlformats.org/officeDocument/2006/relationships/hyperlink" Target="https://docs.microsoft.com/en-us/azure/api-management/" TargetMode="External"/><Relationship Id="rId2" Type="http://schemas.openxmlformats.org/officeDocument/2006/relationships/notesSlide" Target="../notesSlides/notesSlide53.xml"/><Relationship Id="rId1" Type="http://schemas.openxmlformats.org/officeDocument/2006/relationships/slideLayout" Target="../slideLayouts/slideLayout18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67.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4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386171-E87D-46AB-8718-4CE2A88748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C8CA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ounded Rectangle 26">
            <a:extLst>
              <a:ext uri="{FF2B5EF4-FFF2-40B4-BE49-F238E27FC236}">
                <a16:creationId xmlns:a16="http://schemas.microsoft.com/office/drawing/2014/main" id="{207CB456-8849-413C-8210-B663779A32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6745" y="640080"/>
            <a:ext cx="10920415" cy="5577818"/>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E513936D-D1EB-4E42-A97F-942BA1F3DFA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68024" y="960109"/>
            <a:ext cx="10277856" cy="49377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568CC8F-C875-41DD-8BB1-CB0A97664EF5}"/>
              </a:ext>
            </a:extLst>
          </p:cNvPr>
          <p:cNvSpPr>
            <a:spLocks noGrp="1"/>
          </p:cNvSpPr>
          <p:nvPr>
            <p:ph type="title"/>
          </p:nvPr>
        </p:nvSpPr>
        <p:spPr>
          <a:xfrm>
            <a:off x="1524000" y="1376362"/>
            <a:ext cx="9144000" cy="2603274"/>
          </a:xfrm>
        </p:spPr>
        <p:txBody>
          <a:bodyPr vert="horz" lIns="91440" tIns="45720" rIns="91440" bIns="45720" rtlCol="0" anchor="b">
            <a:normAutofit/>
          </a:bodyPr>
          <a:lstStyle/>
          <a:p>
            <a:pPr algn="ctr"/>
            <a:r>
              <a:rPr lang="en-US" sz="5400" kern="1200">
                <a:solidFill>
                  <a:schemeClr val="tx1"/>
                </a:solidFill>
                <a:latin typeface="+mj-lt"/>
                <a:ea typeface="+mj-ea"/>
                <a:cs typeface="+mj-cs"/>
              </a:rPr>
              <a:t>Application Migration and Modernization Hackathon</a:t>
            </a:r>
          </a:p>
        </p:txBody>
      </p:sp>
      <p:sp>
        <p:nvSpPr>
          <p:cNvPr id="3" name="Text Placeholder 2">
            <a:extLst>
              <a:ext uri="{FF2B5EF4-FFF2-40B4-BE49-F238E27FC236}">
                <a16:creationId xmlns:a16="http://schemas.microsoft.com/office/drawing/2014/main" id="{CC589A3B-F459-4235-9943-299493CB93B6}"/>
              </a:ext>
            </a:extLst>
          </p:cNvPr>
          <p:cNvSpPr>
            <a:spLocks noGrp="1"/>
          </p:cNvSpPr>
          <p:nvPr>
            <p:ph type="body" sz="quarter" idx="12"/>
          </p:nvPr>
        </p:nvSpPr>
        <p:spPr>
          <a:xfrm>
            <a:off x="1524000" y="4118088"/>
            <a:ext cx="9144000" cy="1393711"/>
          </a:xfrm>
        </p:spPr>
        <p:txBody>
          <a:bodyPr vert="horz" lIns="91440" tIns="45720" rIns="91440" bIns="45720" rtlCol="0">
            <a:normAutofit/>
          </a:bodyPr>
          <a:lstStyle/>
          <a:p>
            <a:pPr algn="ctr">
              <a:spcBef>
                <a:spcPts val="1000"/>
              </a:spcBef>
            </a:pPr>
            <a:br>
              <a:rPr lang="en-US" sz="2400" kern="1200">
                <a:solidFill>
                  <a:schemeClr val="tx1"/>
                </a:solidFill>
                <a:latin typeface="+mn-lt"/>
                <a:ea typeface="+mn-ea"/>
                <a:cs typeface="+mn-cs"/>
              </a:rPr>
            </a:br>
            <a:br>
              <a:rPr lang="en-US" sz="2400" kern="1200">
                <a:solidFill>
                  <a:schemeClr val="tx1"/>
                </a:solidFill>
                <a:latin typeface="+mn-lt"/>
                <a:ea typeface="+mn-ea"/>
                <a:cs typeface="+mn-cs"/>
              </a:rPr>
            </a:br>
            <a:endParaRPr lang="en-US" sz="2400" kern="1200">
              <a:solidFill>
                <a:schemeClr val="tx1"/>
              </a:solidFill>
              <a:latin typeface="+mn-lt"/>
              <a:ea typeface="+mn-ea"/>
              <a:cs typeface="+mn-cs"/>
            </a:endParaRPr>
          </a:p>
        </p:txBody>
      </p:sp>
    </p:spTree>
    <p:extLst>
      <p:ext uri="{BB962C8B-B14F-4D97-AF65-F5344CB8AC3E}">
        <p14:creationId xmlns:p14="http://schemas.microsoft.com/office/powerpoint/2010/main" val="42739218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351DFE5-F63D-4BE0-BDA9-E3EB88F01A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5601" y="0"/>
            <a:ext cx="11480494" cy="2753936"/>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3AA16612-ACD2-4A16-8F2B-4514FD6BF28F}"/>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B981163-75F5-0344-8AEC-D9B996FBED99}"/>
              </a:ext>
            </a:extLst>
          </p:cNvPr>
          <p:cNvSpPr>
            <a:spLocks noGrp="1"/>
          </p:cNvSpPr>
          <p:nvPr>
            <p:ph type="title"/>
          </p:nvPr>
        </p:nvSpPr>
        <p:spPr>
          <a:xfrm>
            <a:off x="1179226" y="826680"/>
            <a:ext cx="9833548" cy="1325563"/>
          </a:xfrm>
        </p:spPr>
        <p:txBody>
          <a:bodyPr>
            <a:normAutofit/>
          </a:bodyPr>
          <a:lstStyle/>
          <a:p>
            <a:pPr algn="ctr"/>
            <a:r>
              <a:rPr lang="en-US" sz="4000">
                <a:solidFill>
                  <a:srgbClr val="FFFFFF"/>
                </a:solidFill>
              </a:rPr>
              <a:t>Hack Ground Rules</a:t>
            </a:r>
          </a:p>
        </p:txBody>
      </p:sp>
      <p:sp>
        <p:nvSpPr>
          <p:cNvPr id="3" name="Content Placeholder 2">
            <a:extLst>
              <a:ext uri="{FF2B5EF4-FFF2-40B4-BE49-F238E27FC236}">
                <a16:creationId xmlns:a16="http://schemas.microsoft.com/office/drawing/2014/main" id="{EFB1E9BD-CBC8-2D48-9F4D-38A362EC71FF}"/>
              </a:ext>
            </a:extLst>
          </p:cNvPr>
          <p:cNvSpPr>
            <a:spLocks noGrp="1"/>
          </p:cNvSpPr>
          <p:nvPr>
            <p:ph idx="1"/>
          </p:nvPr>
        </p:nvSpPr>
        <p:spPr>
          <a:xfrm>
            <a:off x="1179226" y="3092970"/>
            <a:ext cx="9833548" cy="2693976"/>
          </a:xfrm>
        </p:spPr>
        <p:txBody>
          <a:bodyPr>
            <a:normAutofit/>
          </a:bodyPr>
          <a:lstStyle/>
          <a:p>
            <a:r>
              <a:rPr lang="en-US" sz="2000">
                <a:solidFill>
                  <a:srgbClr val="000000"/>
                </a:solidFill>
              </a:rPr>
              <a:t>Work together in teams (4-6 people)</a:t>
            </a:r>
          </a:p>
          <a:p>
            <a:r>
              <a:rPr lang="en-US" sz="2000">
                <a:solidFill>
                  <a:srgbClr val="000000"/>
                </a:solidFill>
              </a:rPr>
              <a:t>Finish each challenge before moving on</a:t>
            </a:r>
          </a:p>
          <a:p>
            <a:r>
              <a:rPr lang="en-US" sz="2000">
                <a:solidFill>
                  <a:srgbClr val="000000"/>
                </a:solidFill>
              </a:rPr>
              <a:t>There are multiple options to solving each problem</a:t>
            </a:r>
          </a:p>
          <a:p>
            <a:r>
              <a:rPr lang="en-US" sz="2000">
                <a:solidFill>
                  <a:srgbClr val="000000"/>
                </a:solidFill>
              </a:rPr>
              <a:t>There are more challenges than time available </a:t>
            </a:r>
          </a:p>
          <a:p>
            <a:endParaRPr lang="en-US" sz="2000">
              <a:solidFill>
                <a:srgbClr val="000000"/>
              </a:solidFill>
            </a:endParaRPr>
          </a:p>
          <a:p>
            <a:pPr marL="0" indent="0">
              <a:buNone/>
            </a:pPr>
            <a:r>
              <a:rPr lang="en-US" sz="2000">
                <a:solidFill>
                  <a:srgbClr val="000000"/>
                </a:solidFill>
              </a:rPr>
              <a:t>Ask questions, Ask the Proctors ( we won’t give out answers but hints…)</a:t>
            </a:r>
          </a:p>
          <a:p>
            <a:endParaRPr lang="en-US" sz="2000">
              <a:solidFill>
                <a:srgbClr val="000000"/>
              </a:solidFill>
            </a:endParaRPr>
          </a:p>
        </p:txBody>
      </p:sp>
    </p:spTree>
    <p:extLst>
      <p:ext uri="{BB962C8B-B14F-4D97-AF65-F5344CB8AC3E}">
        <p14:creationId xmlns:p14="http://schemas.microsoft.com/office/powerpoint/2010/main" val="12366913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D2C4BFA1-2075-4901-9E24-E41D1FDD51F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55481" y="498348"/>
            <a:ext cx="9902663" cy="5861304"/>
            <a:chOff x="1155481" y="498348"/>
            <a:chExt cx="9902663" cy="5861304"/>
          </a:xfrm>
        </p:grpSpPr>
        <p:sp>
          <p:nvSpPr>
            <p:cNvPr id="10" name="Oval 5">
              <a:extLst>
                <a:ext uri="{FF2B5EF4-FFF2-40B4-BE49-F238E27FC236}">
                  <a16:creationId xmlns:a16="http://schemas.microsoft.com/office/drawing/2014/main" id="{985A7375-E3AF-4F5C-85AE-17E8832952CA}"/>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1155481" y="498348"/>
              <a:ext cx="5861304" cy="5861304"/>
            </a:xfrm>
            <a:prstGeom prst="ellipse">
              <a:avLst/>
            </a:prstGeom>
            <a:solidFill>
              <a:schemeClr val="accent1">
                <a:alpha val="55000"/>
              </a:schemeClr>
            </a:solidFill>
            <a:ln>
              <a:noFill/>
            </a:ln>
          </p:spPr>
        </p:sp>
        <p:sp>
          <p:nvSpPr>
            <p:cNvPr id="11" name="Oval 10">
              <a:extLst>
                <a:ext uri="{FF2B5EF4-FFF2-40B4-BE49-F238E27FC236}">
                  <a16:creationId xmlns:a16="http://schemas.microsoft.com/office/drawing/2014/main" id="{F0307F65-8304-4FA8-A841-D4D7625411BE}"/>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5196840" y="498348"/>
              <a:ext cx="5861304" cy="5861304"/>
            </a:xfrm>
            <a:prstGeom prst="ellipse">
              <a:avLst/>
            </a:prstGeom>
            <a:solidFill>
              <a:schemeClr val="accent1">
                <a:alpha val="55000"/>
              </a:schemeClr>
            </a:solidFill>
            <a:ln>
              <a:noFill/>
            </a:ln>
          </p:spPr>
        </p:sp>
        <p:sp>
          <p:nvSpPr>
            <p:cNvPr id="12" name="Oval 5">
              <a:extLst>
                <a:ext uri="{FF2B5EF4-FFF2-40B4-BE49-F238E27FC236}">
                  <a16:creationId xmlns:a16="http://schemas.microsoft.com/office/drawing/2014/main" id="{C8B8394C-136F-4E05-A002-D93A5E79CD50}"/>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3165348" y="498348"/>
              <a:ext cx="5861304" cy="5861304"/>
            </a:xfrm>
            <a:prstGeom prst="ellipse">
              <a:avLst/>
            </a:prstGeom>
            <a:solidFill>
              <a:schemeClr val="accent1">
                <a:alpha val="70000"/>
              </a:schemeClr>
            </a:solidFill>
            <a:ln>
              <a:noFill/>
            </a:ln>
          </p:spPr>
        </p:sp>
      </p:grpSp>
      <p:sp>
        <p:nvSpPr>
          <p:cNvPr id="14" name="Rectangle 13">
            <a:extLst>
              <a:ext uri="{FF2B5EF4-FFF2-40B4-BE49-F238E27FC236}">
                <a16:creationId xmlns:a16="http://schemas.microsoft.com/office/drawing/2014/main" id="{053FB2EE-284F-4C87-AB3D-BBF87A9FAB9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514600"/>
            <a:ext cx="12192000" cy="182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Title 3">
            <a:extLst>
              <a:ext uri="{FF2B5EF4-FFF2-40B4-BE49-F238E27FC236}">
                <a16:creationId xmlns:a16="http://schemas.microsoft.com/office/drawing/2014/main" id="{CAF9F76C-E2FC-5E44-95A9-7D1630AE4B9E}"/>
              </a:ext>
            </a:extLst>
          </p:cNvPr>
          <p:cNvSpPr>
            <a:spLocks noGrp="1"/>
          </p:cNvSpPr>
          <p:nvPr>
            <p:ph type="title"/>
          </p:nvPr>
        </p:nvSpPr>
        <p:spPr>
          <a:xfrm>
            <a:off x="1524000" y="2776538"/>
            <a:ext cx="9144000" cy="1381188"/>
          </a:xfrm>
        </p:spPr>
        <p:txBody>
          <a:bodyPr vert="horz" lIns="91440" tIns="45720" rIns="91440" bIns="45720" rtlCol="0" anchor="ctr">
            <a:normAutofit/>
          </a:bodyPr>
          <a:lstStyle/>
          <a:p>
            <a:pPr algn="ctr"/>
            <a:r>
              <a:rPr lang="en-US" sz="4000" kern="1200">
                <a:solidFill>
                  <a:schemeClr val="bg2"/>
                </a:solidFill>
                <a:latin typeface="+mj-lt"/>
                <a:ea typeface="+mj-ea"/>
                <a:cs typeface="+mj-cs"/>
              </a:rPr>
              <a:t>Application Services in the Cloud</a:t>
            </a:r>
          </a:p>
        </p:txBody>
      </p:sp>
    </p:spTree>
    <p:extLst>
      <p:ext uri="{BB962C8B-B14F-4D97-AF65-F5344CB8AC3E}">
        <p14:creationId xmlns:p14="http://schemas.microsoft.com/office/powerpoint/2010/main" val="9624920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51" name="Picture 50">
            <a:extLst>
              <a:ext uri="{FF2B5EF4-FFF2-40B4-BE49-F238E27FC236}">
                <a16:creationId xmlns:a16="http://schemas.microsoft.com/office/drawing/2014/main" id="{A361355D-B3E8-463A-9948-464AA71C8FD9}"/>
              </a:ext>
            </a:extLst>
          </p:cNvPr>
          <p:cNvPicPr>
            <a:picLocks noChangeAspect="1"/>
          </p:cNvPicPr>
          <p:nvPr/>
        </p:nvPicPr>
        <p:blipFill>
          <a:blip r:embed="rId3"/>
          <a:stretch>
            <a:fillRect/>
          </a:stretch>
        </p:blipFill>
        <p:spPr>
          <a:xfrm>
            <a:off x="460984" y="303644"/>
            <a:ext cx="895990" cy="895990"/>
          </a:xfrm>
          <a:prstGeom prst="rect">
            <a:avLst/>
          </a:prstGeom>
        </p:spPr>
      </p:pic>
      <p:sp>
        <p:nvSpPr>
          <p:cNvPr id="6" name="Title 5">
            <a:extLst>
              <a:ext uri="{FF2B5EF4-FFF2-40B4-BE49-F238E27FC236}">
                <a16:creationId xmlns:a16="http://schemas.microsoft.com/office/drawing/2014/main" id="{D03D00EE-AC66-4E3B-9C00-2E364A7A5164}"/>
              </a:ext>
            </a:extLst>
          </p:cNvPr>
          <p:cNvSpPr>
            <a:spLocks noGrp="1"/>
          </p:cNvSpPr>
          <p:nvPr>
            <p:ph type="title"/>
          </p:nvPr>
        </p:nvSpPr>
        <p:spPr/>
        <p:txBody>
          <a:bodyPr>
            <a:normAutofit fontScale="90000"/>
          </a:bodyPr>
          <a:lstStyle/>
          <a:p>
            <a:r>
              <a:rPr lang="en-US"/>
              <a:t>	  Azure App Service</a:t>
            </a:r>
          </a:p>
        </p:txBody>
      </p:sp>
      <p:sp>
        <p:nvSpPr>
          <p:cNvPr id="195" name="TextBox 194">
            <a:extLst>
              <a:ext uri="{FF2B5EF4-FFF2-40B4-BE49-F238E27FC236}">
                <a16:creationId xmlns:a16="http://schemas.microsoft.com/office/drawing/2014/main" id="{0843A91A-DCC1-420F-8D97-C25A655C7BB0}"/>
              </a:ext>
            </a:extLst>
          </p:cNvPr>
          <p:cNvSpPr txBox="1"/>
          <p:nvPr/>
        </p:nvSpPr>
        <p:spPr>
          <a:xfrm>
            <a:off x="270067" y="1623070"/>
            <a:ext cx="3854082" cy="4764022"/>
          </a:xfrm>
          <a:prstGeom prst="rect">
            <a:avLst/>
          </a:prstGeom>
          <a:solidFill>
            <a:srgbClr val="737373">
              <a:lumMod val="75000"/>
            </a:srgbClr>
          </a:solidFill>
        </p:spPr>
        <p:txBody>
          <a:bodyPr wrap="square" lIns="175736" tIns="140589" rIns="175736" bIns="140589" rtlCol="0">
            <a:noAutofit/>
          </a:bodyPr>
          <a:lstStyle/>
          <a:p>
            <a:pPr marL="0" marR="0" lvl="0" indent="0" algn="ctr" defTabSz="877994" eaLnBrk="1" fontAlgn="auto" latinLnBrk="0" hangingPunct="1">
              <a:lnSpc>
                <a:spcPct val="90000"/>
              </a:lnSpc>
              <a:spcBef>
                <a:spcPts val="0"/>
              </a:spcBef>
              <a:spcAft>
                <a:spcPts val="0"/>
              </a:spcAft>
              <a:buClrTx/>
              <a:buSzTx/>
              <a:buFontTx/>
              <a:buNone/>
              <a:tabLst>
                <a:tab pos="860698" algn="l"/>
              </a:tabLst>
              <a:defRPr/>
            </a:pPr>
            <a:r>
              <a:rPr kumimoji="0" lang="en-US" sz="2353" b="0" i="0" u="none" strike="noStrike" kern="0" cap="none" spc="0" normalizeH="0" baseline="0" noProof="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rPr>
              <a:t>Enterprise-grade apps</a:t>
            </a:r>
          </a:p>
        </p:txBody>
      </p:sp>
      <p:sp>
        <p:nvSpPr>
          <p:cNvPr id="196" name="TextBox 195">
            <a:extLst>
              <a:ext uri="{FF2B5EF4-FFF2-40B4-BE49-F238E27FC236}">
                <a16:creationId xmlns:a16="http://schemas.microsoft.com/office/drawing/2014/main" id="{F3DEE5BE-A73B-4D9E-9B4F-73A9E9109508}"/>
              </a:ext>
            </a:extLst>
          </p:cNvPr>
          <p:cNvSpPr txBox="1"/>
          <p:nvPr/>
        </p:nvSpPr>
        <p:spPr>
          <a:xfrm>
            <a:off x="4168960" y="1623072"/>
            <a:ext cx="3854082" cy="4764022"/>
          </a:xfrm>
          <a:prstGeom prst="rect">
            <a:avLst/>
          </a:prstGeom>
          <a:solidFill>
            <a:srgbClr val="737373">
              <a:lumMod val="75000"/>
            </a:srgbClr>
          </a:solidFill>
        </p:spPr>
        <p:txBody>
          <a:bodyPr wrap="square" lIns="175736" tIns="140589" rIns="175736" bIns="140589" rtlCol="0">
            <a:noAutofit/>
          </a:bodyPr>
          <a:lstStyle>
            <a:defPPr>
              <a:defRPr lang="en-US"/>
            </a:defPPr>
            <a:lvl1pPr algn="ctr" defTabSz="877994">
              <a:lnSpc>
                <a:spcPct val="90000"/>
              </a:lnSpc>
              <a:tabLst>
                <a:tab pos="860698" algn="l"/>
              </a:tabLst>
              <a:defRPr sz="2353" kern="0">
                <a:gradFill>
                  <a:gsLst>
                    <a:gs pos="0">
                      <a:srgbClr val="FFFFFF"/>
                    </a:gs>
                    <a:gs pos="100000">
                      <a:srgbClr val="FFFFFF"/>
                    </a:gs>
                  </a:gsLst>
                  <a:lin ang="5400000" scaled="1"/>
                </a:gradFill>
                <a:latin typeface="Segoe UI Semilight" charset="0"/>
                <a:ea typeface="Segoe UI Semilight" charset="0"/>
                <a:cs typeface="Segoe UI Semilight" charset="0"/>
              </a:defRPr>
            </a:lvl1pPr>
          </a:lstStyle>
          <a:p>
            <a:pPr marL="0" marR="0" lvl="0" indent="0" algn="ctr" defTabSz="877994" eaLnBrk="1" fontAlgn="auto" latinLnBrk="0" hangingPunct="1">
              <a:lnSpc>
                <a:spcPct val="90000"/>
              </a:lnSpc>
              <a:spcBef>
                <a:spcPts val="0"/>
              </a:spcBef>
              <a:spcAft>
                <a:spcPts val="0"/>
              </a:spcAft>
              <a:buClrTx/>
              <a:buSzTx/>
              <a:buFontTx/>
              <a:buNone/>
              <a:tabLst>
                <a:tab pos="860698" algn="l"/>
              </a:tabLst>
              <a:defRPr/>
            </a:pPr>
            <a:r>
              <a:rPr kumimoji="0" lang="en-US" sz="2353" b="0" i="0" u="none" strike="noStrike" kern="0" cap="none" spc="0" normalizeH="0" baseline="0" noProof="0">
                <a:ln>
                  <a:noFill/>
                </a:ln>
                <a:gradFill>
                  <a:gsLst>
                    <a:gs pos="0">
                      <a:srgbClr val="FFFFFF"/>
                    </a:gs>
                    <a:gs pos="100000">
                      <a:srgbClr val="FFFFFF"/>
                    </a:gs>
                  </a:gsLst>
                  <a:lin ang="5400000" scaled="1"/>
                </a:gradFill>
                <a:effectLst/>
                <a:uLnTx/>
                <a:uFillTx/>
                <a:latin typeface="Segoe UI Semilight" charset="0"/>
                <a:cs typeface="Segoe UI Semilight" charset="0"/>
              </a:rPr>
              <a:t>Fully managed platform</a:t>
            </a:r>
          </a:p>
        </p:txBody>
      </p:sp>
      <p:sp>
        <p:nvSpPr>
          <p:cNvPr id="197" name="TextBox 196">
            <a:extLst>
              <a:ext uri="{FF2B5EF4-FFF2-40B4-BE49-F238E27FC236}">
                <a16:creationId xmlns:a16="http://schemas.microsoft.com/office/drawing/2014/main" id="{AFEC5E8F-A984-4535-8DCC-41E148542EC6}"/>
              </a:ext>
            </a:extLst>
          </p:cNvPr>
          <p:cNvSpPr txBox="1"/>
          <p:nvPr/>
        </p:nvSpPr>
        <p:spPr>
          <a:xfrm>
            <a:off x="8044487" y="1627624"/>
            <a:ext cx="3854082" cy="4764022"/>
          </a:xfrm>
          <a:prstGeom prst="rect">
            <a:avLst/>
          </a:prstGeom>
          <a:solidFill>
            <a:srgbClr val="737373">
              <a:lumMod val="75000"/>
            </a:srgbClr>
          </a:solidFill>
        </p:spPr>
        <p:txBody>
          <a:bodyPr wrap="square" lIns="175736" tIns="140589" rIns="175736" bIns="140589" rtlCol="0">
            <a:noAutofit/>
          </a:bodyPr>
          <a:lstStyle/>
          <a:p>
            <a:pPr marL="0" marR="0" lvl="0" indent="0" algn="ctr" defTabSz="877994" eaLnBrk="1" fontAlgn="auto" latinLnBrk="0" hangingPunct="1">
              <a:lnSpc>
                <a:spcPct val="90000"/>
              </a:lnSpc>
              <a:spcBef>
                <a:spcPts val="0"/>
              </a:spcBef>
              <a:spcAft>
                <a:spcPts val="0"/>
              </a:spcAft>
              <a:buClrTx/>
              <a:buSzTx/>
              <a:buFontTx/>
              <a:buNone/>
              <a:tabLst>
                <a:tab pos="860698" algn="l"/>
              </a:tabLst>
              <a:defRPr/>
            </a:pPr>
            <a:r>
              <a:rPr kumimoji="0" lang="en-US" sz="2353" b="0" i="0" u="none" strike="noStrike" kern="0" cap="none" spc="0" normalizeH="0" baseline="0" noProof="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rPr>
              <a:t>High productivity development</a:t>
            </a:r>
          </a:p>
        </p:txBody>
      </p:sp>
      <p:grpSp>
        <p:nvGrpSpPr>
          <p:cNvPr id="198" name="Group 197">
            <a:extLst>
              <a:ext uri="{FF2B5EF4-FFF2-40B4-BE49-F238E27FC236}">
                <a16:creationId xmlns:a16="http://schemas.microsoft.com/office/drawing/2014/main" id="{EEBA8769-174D-49E5-83BA-9F023C44359F}"/>
              </a:ext>
            </a:extLst>
          </p:cNvPr>
          <p:cNvGrpSpPr/>
          <p:nvPr/>
        </p:nvGrpSpPr>
        <p:grpSpPr>
          <a:xfrm>
            <a:off x="505703" y="4767475"/>
            <a:ext cx="1453261" cy="913544"/>
            <a:chOff x="515036" y="4735511"/>
            <a:chExt cx="1482612" cy="931994"/>
          </a:xfrm>
        </p:grpSpPr>
        <p:sp>
          <p:nvSpPr>
            <p:cNvPr id="199" name="Freeform 118">
              <a:extLst>
                <a:ext uri="{FF2B5EF4-FFF2-40B4-BE49-F238E27FC236}">
                  <a16:creationId xmlns:a16="http://schemas.microsoft.com/office/drawing/2014/main" id="{86237075-53F9-4984-A7D9-D1199D0F4768}"/>
                </a:ext>
              </a:extLst>
            </p:cNvPr>
            <p:cNvSpPr>
              <a:spLocks noChangeAspect="1" noEditPoints="1"/>
            </p:cNvSpPr>
            <p:nvPr/>
          </p:nvSpPr>
          <p:spPr bwMode="auto">
            <a:xfrm>
              <a:off x="895581" y="4735511"/>
              <a:ext cx="721520" cy="450057"/>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FFFFFF"/>
            </a:solidFill>
            <a:ln>
              <a:noFill/>
            </a:ln>
          </p:spPr>
          <p:txBody>
            <a:bodyPr vert="horz" wrap="square" lIns="87867" tIns="43934" rIns="87867" bIns="43934"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00" name="TextBox 199">
              <a:extLst>
                <a:ext uri="{FF2B5EF4-FFF2-40B4-BE49-F238E27FC236}">
                  <a16:creationId xmlns:a16="http://schemas.microsoft.com/office/drawing/2014/main" id="{AFA82717-77BB-4247-BDF2-7B3CFC53FF97}"/>
                </a:ext>
              </a:extLst>
            </p:cNvPr>
            <p:cNvSpPr txBox="1"/>
            <p:nvPr/>
          </p:nvSpPr>
          <p:spPr>
            <a:xfrm>
              <a:off x="515036" y="5379331"/>
              <a:ext cx="1482612" cy="288174"/>
            </a:xfrm>
            <a:prstGeom prst="rect">
              <a:avLst/>
            </a:prstGeom>
            <a:noFill/>
          </p:spPr>
          <p:txBody>
            <a:bodyPr wrap="none" lIns="87867" tIns="43934" rIns="87867" bIns="43934"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marL="0" marR="0" lvl="0" indent="0" algn="ctr" defTabSz="895493" eaLnBrk="1" fontAlgn="auto" latinLnBrk="0" hangingPunct="1">
                <a:lnSpc>
                  <a:spcPct val="90000"/>
                </a:lnSpc>
                <a:spcBef>
                  <a:spcPts val="0"/>
                </a:spcBef>
                <a:spcAft>
                  <a:spcPts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1"/>
                  </a:gradFill>
                  <a:effectLst/>
                  <a:uLnTx/>
                  <a:uFillTx/>
                </a:rPr>
                <a:t>AAD integrated </a:t>
              </a:r>
            </a:p>
          </p:txBody>
        </p:sp>
      </p:grpSp>
      <p:grpSp>
        <p:nvGrpSpPr>
          <p:cNvPr id="201" name="Group 200">
            <a:extLst>
              <a:ext uri="{FF2B5EF4-FFF2-40B4-BE49-F238E27FC236}">
                <a16:creationId xmlns:a16="http://schemas.microsoft.com/office/drawing/2014/main" id="{3D79DC9D-36E9-4D9F-900E-BA4719D18836}"/>
              </a:ext>
            </a:extLst>
          </p:cNvPr>
          <p:cNvGrpSpPr/>
          <p:nvPr/>
        </p:nvGrpSpPr>
        <p:grpSpPr>
          <a:xfrm>
            <a:off x="2271766" y="4695116"/>
            <a:ext cx="1769008" cy="985902"/>
            <a:chOff x="2316767" y="4661692"/>
            <a:chExt cx="1804736" cy="1005813"/>
          </a:xfrm>
        </p:grpSpPr>
        <p:sp>
          <p:nvSpPr>
            <p:cNvPr id="202" name="Freeform 144">
              <a:extLst>
                <a:ext uri="{FF2B5EF4-FFF2-40B4-BE49-F238E27FC236}">
                  <a16:creationId xmlns:a16="http://schemas.microsoft.com/office/drawing/2014/main" id="{DF7EC6F2-4B12-448A-AE48-0086D11D12E2}"/>
                </a:ext>
              </a:extLst>
            </p:cNvPr>
            <p:cNvSpPr>
              <a:spLocks noChangeAspect="1" noEditPoints="1"/>
            </p:cNvSpPr>
            <p:nvPr/>
          </p:nvSpPr>
          <p:spPr bwMode="auto">
            <a:xfrm>
              <a:off x="2945291" y="4661692"/>
              <a:ext cx="547688" cy="597695"/>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FFFFFF"/>
            </a:solidFill>
            <a:ln>
              <a:noFill/>
            </a:ln>
          </p:spPr>
          <p:txBody>
            <a:bodyPr vert="horz" wrap="square" lIns="87867" tIns="43934" rIns="87867" bIns="43934"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03" name="TextBox 202">
              <a:extLst>
                <a:ext uri="{FF2B5EF4-FFF2-40B4-BE49-F238E27FC236}">
                  <a16:creationId xmlns:a16="http://schemas.microsoft.com/office/drawing/2014/main" id="{E44C20A6-29D6-437D-B43D-990E54266B6B}"/>
                </a:ext>
              </a:extLst>
            </p:cNvPr>
            <p:cNvSpPr txBox="1"/>
            <p:nvPr/>
          </p:nvSpPr>
          <p:spPr>
            <a:xfrm>
              <a:off x="2316767" y="5379331"/>
              <a:ext cx="1804736" cy="288174"/>
            </a:xfrm>
            <a:prstGeom prst="rect">
              <a:avLst/>
            </a:prstGeom>
            <a:noFill/>
          </p:spPr>
          <p:txBody>
            <a:bodyPr wrap="none" lIns="87867" tIns="43934" rIns="87867" bIns="43934"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marL="0" marR="0" lvl="0" indent="0" algn="ctr" defTabSz="895493" eaLnBrk="1" fontAlgn="auto" latinLnBrk="0" hangingPunct="1">
                <a:lnSpc>
                  <a:spcPct val="90000"/>
                </a:lnSpc>
                <a:spcBef>
                  <a:spcPts val="0"/>
                </a:spcBef>
                <a:spcAft>
                  <a:spcPts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1"/>
                  </a:gradFill>
                  <a:effectLst/>
                  <a:uLnTx/>
                  <a:uFillTx/>
                </a:rPr>
                <a:t>Secure + compliant </a:t>
              </a:r>
            </a:p>
          </p:txBody>
        </p:sp>
      </p:grpSp>
      <p:grpSp>
        <p:nvGrpSpPr>
          <p:cNvPr id="204" name="Group 203">
            <a:extLst>
              <a:ext uri="{FF2B5EF4-FFF2-40B4-BE49-F238E27FC236}">
                <a16:creationId xmlns:a16="http://schemas.microsoft.com/office/drawing/2014/main" id="{FADD79F7-4E84-4B86-808F-F405DC601B5C}"/>
              </a:ext>
            </a:extLst>
          </p:cNvPr>
          <p:cNvGrpSpPr/>
          <p:nvPr/>
        </p:nvGrpSpPr>
        <p:grpSpPr>
          <a:xfrm>
            <a:off x="4369190" y="4689089"/>
            <a:ext cx="1523784" cy="1185671"/>
            <a:chOff x="4456552" y="4655544"/>
            <a:chExt cx="1554559" cy="1209618"/>
          </a:xfrm>
        </p:grpSpPr>
        <p:sp>
          <p:nvSpPr>
            <p:cNvPr id="205" name="Freeform 290">
              <a:extLst>
                <a:ext uri="{FF2B5EF4-FFF2-40B4-BE49-F238E27FC236}">
                  <a16:creationId xmlns:a16="http://schemas.microsoft.com/office/drawing/2014/main" id="{204459C9-8C22-49E6-859C-360EB6A1A27C}"/>
                </a:ext>
              </a:extLst>
            </p:cNvPr>
            <p:cNvSpPr>
              <a:spLocks noChangeAspect="1" noEditPoints="1"/>
            </p:cNvSpPr>
            <p:nvPr/>
          </p:nvSpPr>
          <p:spPr bwMode="auto">
            <a:xfrm>
              <a:off x="4919759" y="4655544"/>
              <a:ext cx="628146" cy="609990"/>
            </a:xfrm>
            <a:custGeom>
              <a:avLst/>
              <a:gdLst>
                <a:gd name="T0" fmla="*/ 71 w 146"/>
                <a:gd name="T1" fmla="*/ 39 h 142"/>
                <a:gd name="T2" fmla="*/ 71 w 146"/>
                <a:gd name="T3" fmla="*/ 47 h 142"/>
                <a:gd name="T4" fmla="*/ 67 w 146"/>
                <a:gd name="T5" fmla="*/ 47 h 142"/>
                <a:gd name="T6" fmla="*/ 53 w 146"/>
                <a:gd name="T7" fmla="*/ 61 h 142"/>
                <a:gd name="T8" fmla="*/ 67 w 146"/>
                <a:gd name="T9" fmla="*/ 75 h 142"/>
                <a:gd name="T10" fmla="*/ 71 w 146"/>
                <a:gd name="T11" fmla="*/ 75 h 142"/>
                <a:gd name="T12" fmla="*/ 71 w 146"/>
                <a:gd name="T13" fmla="*/ 88 h 142"/>
                <a:gd name="T14" fmla="*/ 57 w 146"/>
                <a:gd name="T15" fmla="*/ 88 h 142"/>
                <a:gd name="T16" fmla="*/ 57 w 146"/>
                <a:gd name="T17" fmla="*/ 96 h 142"/>
                <a:gd name="T18" fmla="*/ 71 w 146"/>
                <a:gd name="T19" fmla="*/ 96 h 142"/>
                <a:gd name="T20" fmla="*/ 71 w 146"/>
                <a:gd name="T21" fmla="*/ 104 h 142"/>
                <a:gd name="T22" fmla="*/ 79 w 146"/>
                <a:gd name="T23" fmla="*/ 104 h 142"/>
                <a:gd name="T24" fmla="*/ 79 w 146"/>
                <a:gd name="T25" fmla="*/ 96 h 142"/>
                <a:gd name="T26" fmla="*/ 83 w 146"/>
                <a:gd name="T27" fmla="*/ 96 h 142"/>
                <a:gd name="T28" fmla="*/ 97 w 146"/>
                <a:gd name="T29" fmla="*/ 82 h 142"/>
                <a:gd name="T30" fmla="*/ 83 w 146"/>
                <a:gd name="T31" fmla="*/ 67 h 142"/>
                <a:gd name="T32" fmla="*/ 79 w 146"/>
                <a:gd name="T33" fmla="*/ 67 h 142"/>
                <a:gd name="T34" fmla="*/ 79 w 146"/>
                <a:gd name="T35" fmla="*/ 55 h 142"/>
                <a:gd name="T36" fmla="*/ 93 w 146"/>
                <a:gd name="T37" fmla="*/ 55 h 142"/>
                <a:gd name="T38" fmla="*/ 93 w 146"/>
                <a:gd name="T39" fmla="*/ 47 h 142"/>
                <a:gd name="T40" fmla="*/ 79 w 146"/>
                <a:gd name="T41" fmla="*/ 47 h 142"/>
                <a:gd name="T42" fmla="*/ 79 w 146"/>
                <a:gd name="T43" fmla="*/ 39 h 142"/>
                <a:gd name="T44" fmla="*/ 71 w 146"/>
                <a:gd name="T45" fmla="*/ 39 h 142"/>
                <a:gd name="T46" fmla="*/ 71 w 146"/>
                <a:gd name="T47" fmla="*/ 67 h 142"/>
                <a:gd name="T48" fmla="*/ 67 w 146"/>
                <a:gd name="T49" fmla="*/ 67 h 142"/>
                <a:gd name="T50" fmla="*/ 61 w 146"/>
                <a:gd name="T51" fmla="*/ 61 h 142"/>
                <a:gd name="T52" fmla="*/ 67 w 146"/>
                <a:gd name="T53" fmla="*/ 55 h 142"/>
                <a:gd name="T54" fmla="*/ 71 w 146"/>
                <a:gd name="T55" fmla="*/ 55 h 142"/>
                <a:gd name="T56" fmla="*/ 71 w 146"/>
                <a:gd name="T57" fmla="*/ 67 h 142"/>
                <a:gd name="T58" fmla="*/ 83 w 146"/>
                <a:gd name="T59" fmla="*/ 75 h 142"/>
                <a:gd name="T60" fmla="*/ 89 w 146"/>
                <a:gd name="T61" fmla="*/ 82 h 142"/>
                <a:gd name="T62" fmla="*/ 83 w 146"/>
                <a:gd name="T63" fmla="*/ 88 h 142"/>
                <a:gd name="T64" fmla="*/ 79 w 146"/>
                <a:gd name="T65" fmla="*/ 88 h 142"/>
                <a:gd name="T66" fmla="*/ 79 w 146"/>
                <a:gd name="T67" fmla="*/ 75 h 142"/>
                <a:gd name="T68" fmla="*/ 83 w 146"/>
                <a:gd name="T69" fmla="*/ 75 h 142"/>
                <a:gd name="T70" fmla="*/ 2 w 146"/>
                <a:gd name="T71" fmla="*/ 99 h 142"/>
                <a:gd name="T72" fmla="*/ 11 w 146"/>
                <a:gd name="T73" fmla="*/ 102 h 142"/>
                <a:gd name="T74" fmla="*/ 4 w 146"/>
                <a:gd name="T75" fmla="*/ 71 h 142"/>
                <a:gd name="T76" fmla="*/ 75 w 146"/>
                <a:gd name="T77" fmla="*/ 0 h 142"/>
                <a:gd name="T78" fmla="*/ 146 w 146"/>
                <a:gd name="T79" fmla="*/ 71 h 142"/>
                <a:gd name="T80" fmla="*/ 75 w 146"/>
                <a:gd name="T81" fmla="*/ 142 h 142"/>
                <a:gd name="T82" fmla="*/ 34 w 146"/>
                <a:gd name="T83" fmla="*/ 130 h 142"/>
                <a:gd name="T84" fmla="*/ 39 w 146"/>
                <a:gd name="T85" fmla="*/ 123 h 142"/>
                <a:gd name="T86" fmla="*/ 75 w 146"/>
                <a:gd name="T87" fmla="*/ 134 h 142"/>
                <a:gd name="T88" fmla="*/ 138 w 146"/>
                <a:gd name="T89" fmla="*/ 71 h 142"/>
                <a:gd name="T90" fmla="*/ 75 w 146"/>
                <a:gd name="T91" fmla="*/ 8 h 142"/>
                <a:gd name="T92" fmla="*/ 12 w 146"/>
                <a:gd name="T93" fmla="*/ 71 h 142"/>
                <a:gd name="T94" fmla="*/ 18 w 146"/>
                <a:gd name="T95" fmla="*/ 98 h 142"/>
                <a:gd name="T96" fmla="*/ 21 w 146"/>
                <a:gd name="T97" fmla="*/ 90 h 142"/>
                <a:gd name="T98" fmla="*/ 28 w 146"/>
                <a:gd name="T99" fmla="*/ 92 h 142"/>
                <a:gd name="T100" fmla="*/ 21 w 146"/>
                <a:gd name="T101" fmla="*/ 114 h 142"/>
                <a:gd name="T102" fmla="*/ 0 w 146"/>
                <a:gd name="T103" fmla="*/ 107 h 142"/>
                <a:gd name="T104" fmla="*/ 2 w 146"/>
                <a:gd name="T105" fmla="*/ 9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42">
                  <a:moveTo>
                    <a:pt x="71" y="39"/>
                  </a:moveTo>
                  <a:cubicBezTo>
                    <a:pt x="71" y="47"/>
                    <a:pt x="71" y="47"/>
                    <a:pt x="71" y="47"/>
                  </a:cubicBezTo>
                  <a:cubicBezTo>
                    <a:pt x="67" y="47"/>
                    <a:pt x="67" y="47"/>
                    <a:pt x="67" y="47"/>
                  </a:cubicBezTo>
                  <a:cubicBezTo>
                    <a:pt x="60" y="47"/>
                    <a:pt x="53" y="53"/>
                    <a:pt x="53" y="61"/>
                  </a:cubicBezTo>
                  <a:cubicBezTo>
                    <a:pt x="53" y="69"/>
                    <a:pt x="60" y="75"/>
                    <a:pt x="67" y="75"/>
                  </a:cubicBezTo>
                  <a:cubicBezTo>
                    <a:pt x="71" y="75"/>
                    <a:pt x="71" y="75"/>
                    <a:pt x="71" y="75"/>
                  </a:cubicBezTo>
                  <a:cubicBezTo>
                    <a:pt x="71" y="88"/>
                    <a:pt x="71" y="88"/>
                    <a:pt x="71" y="88"/>
                  </a:cubicBezTo>
                  <a:cubicBezTo>
                    <a:pt x="57" y="88"/>
                    <a:pt x="57" y="88"/>
                    <a:pt x="57" y="88"/>
                  </a:cubicBezTo>
                  <a:cubicBezTo>
                    <a:pt x="57" y="96"/>
                    <a:pt x="57" y="96"/>
                    <a:pt x="57" y="96"/>
                  </a:cubicBezTo>
                  <a:cubicBezTo>
                    <a:pt x="71" y="96"/>
                    <a:pt x="71" y="96"/>
                    <a:pt x="71" y="96"/>
                  </a:cubicBezTo>
                  <a:cubicBezTo>
                    <a:pt x="71" y="104"/>
                    <a:pt x="71" y="104"/>
                    <a:pt x="71" y="104"/>
                  </a:cubicBezTo>
                  <a:cubicBezTo>
                    <a:pt x="79" y="104"/>
                    <a:pt x="79" y="104"/>
                    <a:pt x="79" y="104"/>
                  </a:cubicBezTo>
                  <a:cubicBezTo>
                    <a:pt x="79" y="96"/>
                    <a:pt x="79" y="96"/>
                    <a:pt x="79" y="96"/>
                  </a:cubicBezTo>
                  <a:cubicBezTo>
                    <a:pt x="83" y="96"/>
                    <a:pt x="83" y="96"/>
                    <a:pt x="83" y="96"/>
                  </a:cubicBezTo>
                  <a:cubicBezTo>
                    <a:pt x="90" y="96"/>
                    <a:pt x="97" y="90"/>
                    <a:pt x="97" y="82"/>
                  </a:cubicBezTo>
                  <a:cubicBezTo>
                    <a:pt x="97" y="74"/>
                    <a:pt x="90" y="67"/>
                    <a:pt x="83" y="67"/>
                  </a:cubicBezTo>
                  <a:cubicBezTo>
                    <a:pt x="79" y="67"/>
                    <a:pt x="79" y="67"/>
                    <a:pt x="79" y="67"/>
                  </a:cubicBezTo>
                  <a:cubicBezTo>
                    <a:pt x="79" y="55"/>
                    <a:pt x="79" y="55"/>
                    <a:pt x="79" y="55"/>
                  </a:cubicBezTo>
                  <a:cubicBezTo>
                    <a:pt x="93" y="55"/>
                    <a:pt x="93" y="55"/>
                    <a:pt x="93" y="55"/>
                  </a:cubicBezTo>
                  <a:cubicBezTo>
                    <a:pt x="93" y="47"/>
                    <a:pt x="93" y="47"/>
                    <a:pt x="93" y="47"/>
                  </a:cubicBezTo>
                  <a:cubicBezTo>
                    <a:pt x="79" y="47"/>
                    <a:pt x="79" y="47"/>
                    <a:pt x="79" y="47"/>
                  </a:cubicBezTo>
                  <a:cubicBezTo>
                    <a:pt x="79" y="39"/>
                    <a:pt x="79" y="39"/>
                    <a:pt x="79" y="39"/>
                  </a:cubicBezTo>
                  <a:lnTo>
                    <a:pt x="71" y="39"/>
                  </a:lnTo>
                  <a:close/>
                  <a:moveTo>
                    <a:pt x="71" y="67"/>
                  </a:moveTo>
                  <a:cubicBezTo>
                    <a:pt x="67" y="67"/>
                    <a:pt x="67" y="67"/>
                    <a:pt x="67" y="67"/>
                  </a:cubicBezTo>
                  <a:cubicBezTo>
                    <a:pt x="64" y="67"/>
                    <a:pt x="61" y="65"/>
                    <a:pt x="61" y="61"/>
                  </a:cubicBezTo>
                  <a:cubicBezTo>
                    <a:pt x="61" y="58"/>
                    <a:pt x="64" y="55"/>
                    <a:pt x="67" y="55"/>
                  </a:cubicBezTo>
                  <a:cubicBezTo>
                    <a:pt x="71" y="55"/>
                    <a:pt x="71" y="55"/>
                    <a:pt x="71" y="55"/>
                  </a:cubicBezTo>
                  <a:lnTo>
                    <a:pt x="71" y="67"/>
                  </a:lnTo>
                  <a:close/>
                  <a:moveTo>
                    <a:pt x="83" y="75"/>
                  </a:moveTo>
                  <a:cubicBezTo>
                    <a:pt x="86" y="75"/>
                    <a:pt x="89" y="78"/>
                    <a:pt x="89" y="82"/>
                  </a:cubicBezTo>
                  <a:cubicBezTo>
                    <a:pt x="89" y="85"/>
                    <a:pt x="86" y="88"/>
                    <a:pt x="83" y="88"/>
                  </a:cubicBezTo>
                  <a:cubicBezTo>
                    <a:pt x="79" y="88"/>
                    <a:pt x="79" y="88"/>
                    <a:pt x="79" y="88"/>
                  </a:cubicBezTo>
                  <a:cubicBezTo>
                    <a:pt x="79" y="75"/>
                    <a:pt x="79" y="75"/>
                    <a:pt x="79" y="75"/>
                  </a:cubicBezTo>
                  <a:lnTo>
                    <a:pt x="83" y="75"/>
                  </a:lnTo>
                  <a:close/>
                  <a:moveTo>
                    <a:pt x="2" y="99"/>
                  </a:moveTo>
                  <a:cubicBezTo>
                    <a:pt x="11" y="102"/>
                    <a:pt x="11" y="102"/>
                    <a:pt x="11" y="102"/>
                  </a:cubicBezTo>
                  <a:cubicBezTo>
                    <a:pt x="6" y="92"/>
                    <a:pt x="4" y="82"/>
                    <a:pt x="4" y="71"/>
                  </a:cubicBezTo>
                  <a:cubicBezTo>
                    <a:pt x="4" y="32"/>
                    <a:pt x="36" y="0"/>
                    <a:pt x="75" y="0"/>
                  </a:cubicBezTo>
                  <a:cubicBezTo>
                    <a:pt x="114" y="0"/>
                    <a:pt x="146" y="32"/>
                    <a:pt x="146" y="71"/>
                  </a:cubicBezTo>
                  <a:cubicBezTo>
                    <a:pt x="146" y="110"/>
                    <a:pt x="114" y="142"/>
                    <a:pt x="75" y="142"/>
                  </a:cubicBezTo>
                  <a:cubicBezTo>
                    <a:pt x="60" y="142"/>
                    <a:pt x="46" y="138"/>
                    <a:pt x="34" y="130"/>
                  </a:cubicBezTo>
                  <a:cubicBezTo>
                    <a:pt x="39" y="123"/>
                    <a:pt x="39" y="123"/>
                    <a:pt x="39" y="123"/>
                  </a:cubicBezTo>
                  <a:cubicBezTo>
                    <a:pt x="50" y="130"/>
                    <a:pt x="62" y="134"/>
                    <a:pt x="75" y="134"/>
                  </a:cubicBezTo>
                  <a:cubicBezTo>
                    <a:pt x="110" y="134"/>
                    <a:pt x="138" y="106"/>
                    <a:pt x="138" y="71"/>
                  </a:cubicBezTo>
                  <a:cubicBezTo>
                    <a:pt x="138" y="37"/>
                    <a:pt x="110" y="8"/>
                    <a:pt x="75" y="8"/>
                  </a:cubicBezTo>
                  <a:cubicBezTo>
                    <a:pt x="40" y="8"/>
                    <a:pt x="12" y="37"/>
                    <a:pt x="12" y="71"/>
                  </a:cubicBezTo>
                  <a:cubicBezTo>
                    <a:pt x="12" y="81"/>
                    <a:pt x="14" y="90"/>
                    <a:pt x="18" y="98"/>
                  </a:cubicBezTo>
                  <a:cubicBezTo>
                    <a:pt x="21" y="90"/>
                    <a:pt x="21" y="90"/>
                    <a:pt x="21" y="90"/>
                  </a:cubicBezTo>
                  <a:cubicBezTo>
                    <a:pt x="28" y="92"/>
                    <a:pt x="28" y="92"/>
                    <a:pt x="28" y="92"/>
                  </a:cubicBezTo>
                  <a:cubicBezTo>
                    <a:pt x="21" y="114"/>
                    <a:pt x="21" y="114"/>
                    <a:pt x="21" y="114"/>
                  </a:cubicBezTo>
                  <a:cubicBezTo>
                    <a:pt x="0" y="107"/>
                    <a:pt x="0" y="107"/>
                    <a:pt x="0" y="107"/>
                  </a:cubicBezTo>
                  <a:lnTo>
                    <a:pt x="2" y="99"/>
                  </a:lnTo>
                  <a:close/>
                </a:path>
              </a:pathLst>
            </a:custGeom>
            <a:solidFill>
              <a:srgbClr val="FFFFFF"/>
            </a:solidFill>
            <a:ln>
              <a:noFill/>
            </a:ln>
          </p:spPr>
          <p:txBody>
            <a:bodyPr vert="horz" wrap="square" lIns="87867" tIns="43934" rIns="87867" bIns="43934"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06" name="TextBox 205">
              <a:extLst>
                <a:ext uri="{FF2B5EF4-FFF2-40B4-BE49-F238E27FC236}">
                  <a16:creationId xmlns:a16="http://schemas.microsoft.com/office/drawing/2014/main" id="{38B7489B-B5D1-41BC-908C-4F8CBFC2008C}"/>
                </a:ext>
              </a:extLst>
            </p:cNvPr>
            <p:cNvSpPr txBox="1"/>
            <p:nvPr/>
          </p:nvSpPr>
          <p:spPr>
            <a:xfrm>
              <a:off x="4456552" y="5379331"/>
              <a:ext cx="1554559" cy="485831"/>
            </a:xfrm>
            <a:prstGeom prst="rect">
              <a:avLst/>
            </a:prstGeom>
            <a:noFill/>
          </p:spPr>
          <p:txBody>
            <a:bodyPr wrap="none" lIns="87867" tIns="43934" rIns="87867" bIns="43934"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marL="0" marR="0" lvl="0" indent="0" algn="ctr" defTabSz="895493" eaLnBrk="1" fontAlgn="auto" latinLnBrk="0" hangingPunct="1">
                <a:lnSpc>
                  <a:spcPct val="90000"/>
                </a:lnSpc>
                <a:spcBef>
                  <a:spcPts val="0"/>
                </a:spcBef>
                <a:spcAft>
                  <a:spcPts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1"/>
                  </a:gradFill>
                  <a:effectLst/>
                  <a:uLnTx/>
                  <a:uFillTx/>
                </a:rPr>
                <a:t>Reduced</a:t>
              </a:r>
              <a:br>
                <a:rPr kumimoji="0" lang="en-US" sz="1371" b="0" i="0" u="none" strike="noStrike" kern="0" cap="none" spc="0" normalizeH="0" baseline="0" noProof="0">
                  <a:ln>
                    <a:noFill/>
                  </a:ln>
                  <a:gradFill>
                    <a:gsLst>
                      <a:gs pos="0">
                        <a:srgbClr val="FFFFFF"/>
                      </a:gs>
                      <a:gs pos="100000">
                        <a:srgbClr val="FFFFFF"/>
                      </a:gs>
                    </a:gsLst>
                    <a:lin ang="5400000" scaled="1"/>
                  </a:gradFill>
                  <a:effectLst/>
                  <a:uLnTx/>
                  <a:uFillTx/>
                </a:rPr>
              </a:br>
              <a:r>
                <a:rPr kumimoji="0" lang="en-US" sz="1371" b="0" i="0" u="none" strike="noStrike" kern="0" cap="none" spc="0" normalizeH="0" baseline="0" noProof="0">
                  <a:ln>
                    <a:noFill/>
                  </a:ln>
                  <a:gradFill>
                    <a:gsLst>
                      <a:gs pos="0">
                        <a:srgbClr val="FFFFFF"/>
                      </a:gs>
                      <a:gs pos="100000">
                        <a:srgbClr val="FFFFFF"/>
                      </a:gs>
                    </a:gsLst>
                    <a:lin ang="5400000" scaled="1"/>
                  </a:gradFill>
                  <a:effectLst/>
                  <a:uLnTx/>
                  <a:uFillTx/>
                </a:rPr>
                <a:t>operations costs </a:t>
              </a:r>
            </a:p>
          </p:txBody>
        </p:sp>
      </p:grpSp>
      <p:grpSp>
        <p:nvGrpSpPr>
          <p:cNvPr id="207" name="Group 206">
            <a:extLst>
              <a:ext uri="{FF2B5EF4-FFF2-40B4-BE49-F238E27FC236}">
                <a16:creationId xmlns:a16="http://schemas.microsoft.com/office/drawing/2014/main" id="{9C56C388-C0FA-46E6-8A57-7687A7CC1D06}"/>
              </a:ext>
            </a:extLst>
          </p:cNvPr>
          <p:cNvGrpSpPr/>
          <p:nvPr/>
        </p:nvGrpSpPr>
        <p:grpSpPr>
          <a:xfrm>
            <a:off x="6507111" y="4629762"/>
            <a:ext cx="1099048" cy="1244999"/>
            <a:chOff x="6637652" y="4595017"/>
            <a:chExt cx="1121245" cy="1270144"/>
          </a:xfrm>
        </p:grpSpPr>
        <p:sp>
          <p:nvSpPr>
            <p:cNvPr id="208" name="Freeform 149">
              <a:extLst>
                <a:ext uri="{FF2B5EF4-FFF2-40B4-BE49-F238E27FC236}">
                  <a16:creationId xmlns:a16="http://schemas.microsoft.com/office/drawing/2014/main" id="{FBE045ED-9072-49DD-BA62-2ABBC992753D}"/>
                </a:ext>
              </a:extLst>
            </p:cNvPr>
            <p:cNvSpPr>
              <a:spLocks noChangeAspect="1" noEditPoints="1"/>
            </p:cNvSpPr>
            <p:nvPr/>
          </p:nvSpPr>
          <p:spPr bwMode="auto">
            <a:xfrm>
              <a:off x="6895855" y="4595017"/>
              <a:ext cx="604838" cy="731045"/>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FFFFFF"/>
            </a:solidFill>
            <a:ln>
              <a:noFill/>
            </a:ln>
          </p:spPr>
          <p:txBody>
            <a:bodyPr vert="horz" wrap="square" lIns="87867" tIns="43934" rIns="87867" bIns="43934"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09" name="TextBox 208">
              <a:extLst>
                <a:ext uri="{FF2B5EF4-FFF2-40B4-BE49-F238E27FC236}">
                  <a16:creationId xmlns:a16="http://schemas.microsoft.com/office/drawing/2014/main" id="{1D6AD4E8-675C-403F-AE74-69C899E18045}"/>
                </a:ext>
              </a:extLst>
            </p:cNvPr>
            <p:cNvSpPr txBox="1"/>
            <p:nvPr/>
          </p:nvSpPr>
          <p:spPr>
            <a:xfrm>
              <a:off x="6637652" y="5379331"/>
              <a:ext cx="1121245" cy="485830"/>
            </a:xfrm>
            <a:prstGeom prst="rect">
              <a:avLst/>
            </a:prstGeom>
            <a:noFill/>
          </p:spPr>
          <p:txBody>
            <a:bodyPr wrap="none" lIns="87867" tIns="43934" rIns="87867" bIns="43934"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marL="0" marR="0" lvl="0" indent="0" algn="ctr" defTabSz="895493" eaLnBrk="1" fontAlgn="auto" latinLnBrk="0" hangingPunct="1">
                <a:lnSpc>
                  <a:spcPct val="90000"/>
                </a:lnSpc>
                <a:spcBef>
                  <a:spcPts val="0"/>
                </a:spcBef>
                <a:spcAft>
                  <a:spcPts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1"/>
                  </a:gradFill>
                  <a:effectLst/>
                  <a:uLnTx/>
                  <a:uFillTx/>
                </a:rPr>
                <a:t>Backup and</a:t>
              </a:r>
              <a:br>
                <a:rPr kumimoji="0" lang="en-US" sz="1371" b="0" i="0" u="none" strike="noStrike" kern="0" cap="none" spc="0" normalizeH="0" baseline="0" noProof="0">
                  <a:ln>
                    <a:noFill/>
                  </a:ln>
                  <a:gradFill>
                    <a:gsLst>
                      <a:gs pos="0">
                        <a:srgbClr val="FFFFFF"/>
                      </a:gs>
                      <a:gs pos="100000">
                        <a:srgbClr val="FFFFFF"/>
                      </a:gs>
                    </a:gsLst>
                    <a:lin ang="5400000" scaled="1"/>
                  </a:gradFill>
                  <a:effectLst/>
                  <a:uLnTx/>
                  <a:uFillTx/>
                </a:rPr>
              </a:br>
              <a:r>
                <a:rPr kumimoji="0" lang="en-US" sz="1371" b="0" i="0" u="none" strike="noStrike" kern="0" cap="none" spc="0" normalizeH="0" baseline="0" noProof="0">
                  <a:ln>
                    <a:noFill/>
                  </a:ln>
                  <a:gradFill>
                    <a:gsLst>
                      <a:gs pos="0">
                        <a:srgbClr val="FFFFFF"/>
                      </a:gs>
                      <a:gs pos="100000">
                        <a:srgbClr val="FFFFFF"/>
                      </a:gs>
                    </a:gsLst>
                    <a:lin ang="5400000" scaled="1"/>
                  </a:gradFill>
                  <a:effectLst/>
                  <a:uLnTx/>
                  <a:uFillTx/>
                </a:rPr>
                <a:t>recovery </a:t>
              </a:r>
            </a:p>
          </p:txBody>
        </p:sp>
      </p:grpSp>
      <p:grpSp>
        <p:nvGrpSpPr>
          <p:cNvPr id="210" name="Group 209">
            <a:extLst>
              <a:ext uri="{FF2B5EF4-FFF2-40B4-BE49-F238E27FC236}">
                <a16:creationId xmlns:a16="http://schemas.microsoft.com/office/drawing/2014/main" id="{A328F021-1F97-4432-A9AF-CB577D5807C3}"/>
              </a:ext>
            </a:extLst>
          </p:cNvPr>
          <p:cNvGrpSpPr/>
          <p:nvPr/>
        </p:nvGrpSpPr>
        <p:grpSpPr>
          <a:xfrm>
            <a:off x="8552264" y="4723128"/>
            <a:ext cx="1052568" cy="1151634"/>
            <a:chOff x="8675985" y="4690267"/>
            <a:chExt cx="1073827" cy="1174894"/>
          </a:xfrm>
        </p:grpSpPr>
        <p:sp>
          <p:nvSpPr>
            <p:cNvPr id="211" name="Freeform 150">
              <a:extLst>
                <a:ext uri="{FF2B5EF4-FFF2-40B4-BE49-F238E27FC236}">
                  <a16:creationId xmlns:a16="http://schemas.microsoft.com/office/drawing/2014/main" id="{C04FF7CC-F98A-4464-8836-4B44093D91DF}"/>
                </a:ext>
              </a:extLst>
            </p:cNvPr>
            <p:cNvSpPr>
              <a:spLocks noChangeAspect="1" noEditPoints="1"/>
            </p:cNvSpPr>
            <p:nvPr/>
          </p:nvSpPr>
          <p:spPr bwMode="auto">
            <a:xfrm>
              <a:off x="8897382" y="4690267"/>
              <a:ext cx="631032" cy="540545"/>
            </a:xfrm>
            <a:custGeom>
              <a:avLst/>
              <a:gdLst>
                <a:gd name="T0" fmla="*/ 227 w 265"/>
                <a:gd name="T1" fmla="*/ 57 h 227"/>
                <a:gd name="T2" fmla="*/ 208 w 265"/>
                <a:gd name="T3" fmla="*/ 57 h 227"/>
                <a:gd name="T4" fmla="*/ 208 w 265"/>
                <a:gd name="T5" fmla="*/ 38 h 227"/>
                <a:gd name="T6" fmla="*/ 227 w 265"/>
                <a:gd name="T7" fmla="*/ 38 h 227"/>
                <a:gd name="T8" fmla="*/ 227 w 265"/>
                <a:gd name="T9" fmla="*/ 57 h 227"/>
                <a:gd name="T10" fmla="*/ 94 w 265"/>
                <a:gd name="T11" fmla="*/ 189 h 227"/>
                <a:gd name="T12" fmla="*/ 0 w 265"/>
                <a:gd name="T13" fmla="*/ 189 h 227"/>
                <a:gd name="T14" fmla="*/ 0 w 265"/>
                <a:gd name="T15" fmla="*/ 57 h 227"/>
                <a:gd name="T16" fmla="*/ 123 w 265"/>
                <a:gd name="T17" fmla="*/ 57 h 227"/>
                <a:gd name="T18" fmla="*/ 123 w 265"/>
                <a:gd name="T19" fmla="*/ 0 h 227"/>
                <a:gd name="T20" fmla="*/ 265 w 265"/>
                <a:gd name="T21" fmla="*/ 0 h 227"/>
                <a:gd name="T22" fmla="*/ 265 w 265"/>
                <a:gd name="T23" fmla="*/ 227 h 227"/>
                <a:gd name="T24" fmla="*/ 56 w 265"/>
                <a:gd name="T25" fmla="*/ 227 h 227"/>
                <a:gd name="T26" fmla="*/ 56 w 265"/>
                <a:gd name="T27" fmla="*/ 208 h 227"/>
                <a:gd name="T28" fmla="*/ 94 w 265"/>
                <a:gd name="T29" fmla="*/ 208 h 227"/>
                <a:gd name="T30" fmla="*/ 94 w 265"/>
                <a:gd name="T31" fmla="*/ 189 h 227"/>
                <a:gd name="T32" fmla="*/ 246 w 265"/>
                <a:gd name="T33" fmla="*/ 151 h 227"/>
                <a:gd name="T34" fmla="*/ 198 w 265"/>
                <a:gd name="T35" fmla="*/ 151 h 227"/>
                <a:gd name="T36" fmla="*/ 198 w 265"/>
                <a:gd name="T37" fmla="*/ 189 h 227"/>
                <a:gd name="T38" fmla="*/ 113 w 265"/>
                <a:gd name="T39" fmla="*/ 189 h 227"/>
                <a:gd name="T40" fmla="*/ 113 w 265"/>
                <a:gd name="T41" fmla="*/ 208 h 227"/>
                <a:gd name="T42" fmla="*/ 246 w 265"/>
                <a:gd name="T43" fmla="*/ 208 h 227"/>
                <a:gd name="T44" fmla="*/ 246 w 265"/>
                <a:gd name="T45" fmla="*/ 151 h 227"/>
                <a:gd name="T46" fmla="*/ 246 w 265"/>
                <a:gd name="T47" fmla="*/ 94 h 227"/>
                <a:gd name="T48" fmla="*/ 198 w 265"/>
                <a:gd name="T49" fmla="*/ 94 h 227"/>
                <a:gd name="T50" fmla="*/ 198 w 265"/>
                <a:gd name="T51" fmla="*/ 132 h 227"/>
                <a:gd name="T52" fmla="*/ 246 w 265"/>
                <a:gd name="T53" fmla="*/ 132 h 227"/>
                <a:gd name="T54" fmla="*/ 246 w 265"/>
                <a:gd name="T55" fmla="*/ 94 h 227"/>
                <a:gd name="T56" fmla="*/ 142 w 265"/>
                <a:gd name="T57" fmla="*/ 57 h 227"/>
                <a:gd name="T58" fmla="*/ 198 w 265"/>
                <a:gd name="T59" fmla="*/ 57 h 227"/>
                <a:gd name="T60" fmla="*/ 198 w 265"/>
                <a:gd name="T61" fmla="*/ 75 h 227"/>
                <a:gd name="T62" fmla="*/ 246 w 265"/>
                <a:gd name="T63" fmla="*/ 75 h 227"/>
                <a:gd name="T64" fmla="*/ 246 w 265"/>
                <a:gd name="T65" fmla="*/ 19 h 227"/>
                <a:gd name="T66" fmla="*/ 142 w 265"/>
                <a:gd name="T67" fmla="*/ 19 h 227"/>
                <a:gd name="T68" fmla="*/ 142 w 265"/>
                <a:gd name="T69" fmla="*/ 57 h 227"/>
                <a:gd name="T70" fmla="*/ 179 w 265"/>
                <a:gd name="T71" fmla="*/ 170 h 227"/>
                <a:gd name="T72" fmla="*/ 179 w 265"/>
                <a:gd name="T73" fmla="*/ 75 h 227"/>
                <a:gd name="T74" fmla="*/ 19 w 265"/>
                <a:gd name="T75" fmla="*/ 75 h 227"/>
                <a:gd name="T76" fmla="*/ 19 w 265"/>
                <a:gd name="T77" fmla="*/ 170 h 227"/>
                <a:gd name="T78" fmla="*/ 179 w 265"/>
                <a:gd name="T79" fmla="*/ 17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5" h="227">
                  <a:moveTo>
                    <a:pt x="227" y="57"/>
                  </a:moveTo>
                  <a:lnTo>
                    <a:pt x="208" y="57"/>
                  </a:lnTo>
                  <a:lnTo>
                    <a:pt x="208" y="38"/>
                  </a:lnTo>
                  <a:lnTo>
                    <a:pt x="227" y="38"/>
                  </a:lnTo>
                  <a:lnTo>
                    <a:pt x="227" y="57"/>
                  </a:lnTo>
                  <a:close/>
                  <a:moveTo>
                    <a:pt x="94" y="189"/>
                  </a:moveTo>
                  <a:lnTo>
                    <a:pt x="0" y="189"/>
                  </a:lnTo>
                  <a:lnTo>
                    <a:pt x="0" y="57"/>
                  </a:lnTo>
                  <a:lnTo>
                    <a:pt x="123" y="57"/>
                  </a:lnTo>
                  <a:lnTo>
                    <a:pt x="123" y="0"/>
                  </a:lnTo>
                  <a:lnTo>
                    <a:pt x="265" y="0"/>
                  </a:lnTo>
                  <a:lnTo>
                    <a:pt x="265" y="227"/>
                  </a:lnTo>
                  <a:lnTo>
                    <a:pt x="56" y="227"/>
                  </a:lnTo>
                  <a:lnTo>
                    <a:pt x="56" y="208"/>
                  </a:lnTo>
                  <a:lnTo>
                    <a:pt x="94" y="208"/>
                  </a:lnTo>
                  <a:lnTo>
                    <a:pt x="94" y="189"/>
                  </a:lnTo>
                  <a:close/>
                  <a:moveTo>
                    <a:pt x="246" y="151"/>
                  </a:moveTo>
                  <a:lnTo>
                    <a:pt x="198" y="151"/>
                  </a:lnTo>
                  <a:lnTo>
                    <a:pt x="198" y="189"/>
                  </a:lnTo>
                  <a:lnTo>
                    <a:pt x="113" y="189"/>
                  </a:lnTo>
                  <a:lnTo>
                    <a:pt x="113" y="208"/>
                  </a:lnTo>
                  <a:lnTo>
                    <a:pt x="246" y="208"/>
                  </a:lnTo>
                  <a:lnTo>
                    <a:pt x="246" y="151"/>
                  </a:lnTo>
                  <a:close/>
                  <a:moveTo>
                    <a:pt x="246" y="94"/>
                  </a:moveTo>
                  <a:lnTo>
                    <a:pt x="198" y="94"/>
                  </a:lnTo>
                  <a:lnTo>
                    <a:pt x="198" y="132"/>
                  </a:lnTo>
                  <a:lnTo>
                    <a:pt x="246" y="132"/>
                  </a:lnTo>
                  <a:lnTo>
                    <a:pt x="246" y="94"/>
                  </a:lnTo>
                  <a:close/>
                  <a:moveTo>
                    <a:pt x="142" y="57"/>
                  </a:moveTo>
                  <a:lnTo>
                    <a:pt x="198" y="57"/>
                  </a:lnTo>
                  <a:lnTo>
                    <a:pt x="198" y="75"/>
                  </a:lnTo>
                  <a:lnTo>
                    <a:pt x="246" y="75"/>
                  </a:lnTo>
                  <a:lnTo>
                    <a:pt x="246" y="19"/>
                  </a:lnTo>
                  <a:lnTo>
                    <a:pt x="142" y="19"/>
                  </a:lnTo>
                  <a:lnTo>
                    <a:pt x="142" y="57"/>
                  </a:lnTo>
                  <a:close/>
                  <a:moveTo>
                    <a:pt x="179" y="170"/>
                  </a:moveTo>
                  <a:lnTo>
                    <a:pt x="179" y="75"/>
                  </a:lnTo>
                  <a:lnTo>
                    <a:pt x="19" y="75"/>
                  </a:lnTo>
                  <a:lnTo>
                    <a:pt x="19" y="170"/>
                  </a:lnTo>
                  <a:lnTo>
                    <a:pt x="179" y="170"/>
                  </a:lnTo>
                  <a:close/>
                </a:path>
              </a:pathLst>
            </a:custGeom>
            <a:solidFill>
              <a:srgbClr val="FFFFFF"/>
            </a:solidFill>
            <a:ln>
              <a:noFill/>
            </a:ln>
          </p:spPr>
          <p:txBody>
            <a:bodyPr vert="horz" wrap="square" lIns="87867" tIns="43934" rIns="87867" bIns="43934"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12" name="TextBox 211">
              <a:extLst>
                <a:ext uri="{FF2B5EF4-FFF2-40B4-BE49-F238E27FC236}">
                  <a16:creationId xmlns:a16="http://schemas.microsoft.com/office/drawing/2014/main" id="{4756923A-BF95-47CB-A397-893AACB0E88F}"/>
                </a:ext>
              </a:extLst>
            </p:cNvPr>
            <p:cNvSpPr txBox="1"/>
            <p:nvPr/>
          </p:nvSpPr>
          <p:spPr>
            <a:xfrm>
              <a:off x="8675985" y="5379331"/>
              <a:ext cx="1073827" cy="485830"/>
            </a:xfrm>
            <a:prstGeom prst="rect">
              <a:avLst/>
            </a:prstGeom>
            <a:noFill/>
          </p:spPr>
          <p:txBody>
            <a:bodyPr wrap="none" lIns="87867" tIns="43934" rIns="87867" bIns="43934"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marL="0" marR="0" lvl="0" indent="0" algn="ctr" defTabSz="895493" eaLnBrk="1" fontAlgn="auto" latinLnBrk="0" hangingPunct="1">
                <a:lnSpc>
                  <a:spcPct val="90000"/>
                </a:lnSpc>
                <a:spcBef>
                  <a:spcPts val="0"/>
                </a:spcBef>
                <a:spcAft>
                  <a:spcPts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1"/>
                  </a:gradFill>
                  <a:effectLst/>
                  <a:uLnTx/>
                  <a:uFillTx/>
                </a:rPr>
                <a:t>Testing in</a:t>
              </a:r>
              <a:br>
                <a:rPr kumimoji="0" lang="en-US" sz="1371" b="0" i="0" u="none" strike="noStrike" kern="0" cap="none" spc="0" normalizeH="0" baseline="0" noProof="0">
                  <a:ln>
                    <a:noFill/>
                  </a:ln>
                  <a:gradFill>
                    <a:gsLst>
                      <a:gs pos="0">
                        <a:srgbClr val="FFFFFF"/>
                      </a:gs>
                      <a:gs pos="100000">
                        <a:srgbClr val="FFFFFF"/>
                      </a:gs>
                    </a:gsLst>
                    <a:lin ang="5400000" scaled="1"/>
                  </a:gradFill>
                  <a:effectLst/>
                  <a:uLnTx/>
                  <a:uFillTx/>
                </a:rPr>
              </a:br>
              <a:r>
                <a:rPr kumimoji="0" lang="en-US" sz="1371" b="0" i="0" u="none" strike="noStrike" kern="0" cap="none" spc="0" normalizeH="0" baseline="0" noProof="0">
                  <a:ln>
                    <a:noFill/>
                  </a:ln>
                  <a:gradFill>
                    <a:gsLst>
                      <a:gs pos="0">
                        <a:srgbClr val="FFFFFF"/>
                      </a:gs>
                      <a:gs pos="100000">
                        <a:srgbClr val="FFFFFF"/>
                      </a:gs>
                    </a:gsLst>
                    <a:lin ang="5400000" scaled="1"/>
                  </a:gradFill>
                  <a:effectLst/>
                  <a:uLnTx/>
                  <a:uFillTx/>
                </a:rPr>
                <a:t>production</a:t>
              </a:r>
            </a:p>
          </p:txBody>
        </p:sp>
      </p:grpSp>
      <p:grpSp>
        <p:nvGrpSpPr>
          <p:cNvPr id="213" name="Group 212">
            <a:extLst>
              <a:ext uri="{FF2B5EF4-FFF2-40B4-BE49-F238E27FC236}">
                <a16:creationId xmlns:a16="http://schemas.microsoft.com/office/drawing/2014/main" id="{1991B598-24C5-4C46-915D-1FBA34F497DD}"/>
              </a:ext>
            </a:extLst>
          </p:cNvPr>
          <p:cNvGrpSpPr/>
          <p:nvPr/>
        </p:nvGrpSpPr>
        <p:grpSpPr>
          <a:xfrm>
            <a:off x="10384203" y="4683445"/>
            <a:ext cx="1148734" cy="1191314"/>
            <a:chOff x="10593050" y="4649786"/>
            <a:chExt cx="1171934" cy="1215375"/>
          </a:xfrm>
        </p:grpSpPr>
        <p:sp>
          <p:nvSpPr>
            <p:cNvPr id="214" name="Freeform 21">
              <a:extLst>
                <a:ext uri="{FF2B5EF4-FFF2-40B4-BE49-F238E27FC236}">
                  <a16:creationId xmlns:a16="http://schemas.microsoft.com/office/drawing/2014/main" id="{CF2A2ECC-EA0D-4B7C-9D86-3BF94EF39B36}"/>
                </a:ext>
              </a:extLst>
            </p:cNvPr>
            <p:cNvSpPr>
              <a:spLocks noChangeAspect="1" noEditPoints="1"/>
            </p:cNvSpPr>
            <p:nvPr/>
          </p:nvSpPr>
          <p:spPr bwMode="auto">
            <a:xfrm>
              <a:off x="10807542" y="4649786"/>
              <a:ext cx="742950" cy="621507"/>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rgbClr val="FFFFFF"/>
            </a:solidFill>
            <a:ln>
              <a:noFill/>
            </a:ln>
          </p:spPr>
          <p:txBody>
            <a:bodyPr vert="horz" wrap="square" lIns="87867" tIns="43934" rIns="87867" bIns="43934"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15" name="TextBox 214">
              <a:extLst>
                <a:ext uri="{FF2B5EF4-FFF2-40B4-BE49-F238E27FC236}">
                  <a16:creationId xmlns:a16="http://schemas.microsoft.com/office/drawing/2014/main" id="{647242CA-C994-4CA2-8B90-D5D1E6FF1335}"/>
                </a:ext>
              </a:extLst>
            </p:cNvPr>
            <p:cNvSpPr txBox="1"/>
            <p:nvPr/>
          </p:nvSpPr>
          <p:spPr>
            <a:xfrm>
              <a:off x="10593050" y="5379330"/>
              <a:ext cx="1171934" cy="485831"/>
            </a:xfrm>
            <a:prstGeom prst="rect">
              <a:avLst/>
            </a:prstGeom>
            <a:noFill/>
          </p:spPr>
          <p:txBody>
            <a:bodyPr wrap="none" lIns="87867" tIns="43934" rIns="87867" bIns="43934"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marL="0" marR="0" lvl="0" indent="0" algn="ctr" defTabSz="895493" eaLnBrk="1" fontAlgn="auto" latinLnBrk="0" hangingPunct="1">
                <a:lnSpc>
                  <a:spcPct val="90000"/>
                </a:lnSpc>
                <a:spcBef>
                  <a:spcPts val="0"/>
                </a:spcBef>
                <a:spcAft>
                  <a:spcPts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1"/>
                  </a:gradFill>
                  <a:effectLst/>
                  <a:uLnTx/>
                  <a:uFillTx/>
                </a:rPr>
                <a:t>App gallery</a:t>
              </a:r>
              <a:br>
                <a:rPr kumimoji="0" lang="en-US" sz="1371" b="0" i="0" u="none" strike="noStrike" kern="0" cap="none" spc="0" normalizeH="0" baseline="0" noProof="0">
                  <a:ln>
                    <a:noFill/>
                  </a:ln>
                  <a:gradFill>
                    <a:gsLst>
                      <a:gs pos="0">
                        <a:srgbClr val="FFFFFF"/>
                      </a:gs>
                      <a:gs pos="100000">
                        <a:srgbClr val="FFFFFF"/>
                      </a:gs>
                    </a:gsLst>
                    <a:lin ang="5400000" scaled="1"/>
                  </a:gradFill>
                  <a:effectLst/>
                  <a:uLnTx/>
                  <a:uFillTx/>
                </a:rPr>
              </a:br>
              <a:r>
                <a:rPr kumimoji="0" lang="en-US" sz="1371" b="0" i="0" u="none" strike="noStrike" kern="0" cap="none" spc="0" normalizeH="0" baseline="0" noProof="0">
                  <a:ln>
                    <a:noFill/>
                  </a:ln>
                  <a:gradFill>
                    <a:gsLst>
                      <a:gs pos="0">
                        <a:srgbClr val="FFFFFF"/>
                      </a:gs>
                      <a:gs pos="100000">
                        <a:srgbClr val="FFFFFF"/>
                      </a:gs>
                    </a:gsLst>
                    <a:lin ang="5400000" scaled="1"/>
                  </a:gradFill>
                  <a:effectLst/>
                  <a:uLnTx/>
                  <a:uFillTx/>
                </a:rPr>
                <a:t>marketplace</a:t>
              </a:r>
            </a:p>
          </p:txBody>
        </p:sp>
      </p:grpSp>
      <p:grpSp>
        <p:nvGrpSpPr>
          <p:cNvPr id="216" name="Group 215">
            <a:extLst>
              <a:ext uri="{FF2B5EF4-FFF2-40B4-BE49-F238E27FC236}">
                <a16:creationId xmlns:a16="http://schemas.microsoft.com/office/drawing/2014/main" id="{95CE8469-ABAB-4F2E-A455-D168CD91A178}"/>
              </a:ext>
            </a:extLst>
          </p:cNvPr>
          <p:cNvGrpSpPr/>
          <p:nvPr/>
        </p:nvGrpSpPr>
        <p:grpSpPr>
          <a:xfrm>
            <a:off x="511226" y="2742766"/>
            <a:ext cx="1442220" cy="1279416"/>
            <a:chOff x="520667" y="2669912"/>
            <a:chExt cx="1471348" cy="1305256"/>
          </a:xfrm>
        </p:grpSpPr>
        <p:sp>
          <p:nvSpPr>
            <p:cNvPr id="217" name="Freeform 90">
              <a:extLst>
                <a:ext uri="{FF2B5EF4-FFF2-40B4-BE49-F238E27FC236}">
                  <a16:creationId xmlns:a16="http://schemas.microsoft.com/office/drawing/2014/main" id="{3B5CA4F4-849C-4C4D-A166-3A1B410F0F7B}"/>
                </a:ext>
              </a:extLst>
            </p:cNvPr>
            <p:cNvSpPr>
              <a:spLocks noChangeAspect="1" noEditPoints="1"/>
            </p:cNvSpPr>
            <p:nvPr/>
          </p:nvSpPr>
          <p:spPr bwMode="auto">
            <a:xfrm>
              <a:off x="895581" y="2669912"/>
              <a:ext cx="721520" cy="72152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FFFFFF"/>
            </a:solidFill>
            <a:ln>
              <a:noFill/>
            </a:ln>
          </p:spPr>
          <p:txBody>
            <a:bodyPr vert="horz" wrap="square" lIns="87867" tIns="43934" rIns="87867" bIns="43934"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18" name="TextBox 217">
              <a:extLst>
                <a:ext uri="{FF2B5EF4-FFF2-40B4-BE49-F238E27FC236}">
                  <a16:creationId xmlns:a16="http://schemas.microsoft.com/office/drawing/2014/main" id="{1218C67E-FE94-4D83-83FE-B3733BBF2FB6}"/>
                </a:ext>
              </a:extLst>
            </p:cNvPr>
            <p:cNvSpPr txBox="1"/>
            <p:nvPr/>
          </p:nvSpPr>
          <p:spPr>
            <a:xfrm>
              <a:off x="520667" y="3497262"/>
              <a:ext cx="1471348" cy="477906"/>
            </a:xfrm>
            <a:prstGeom prst="rect">
              <a:avLst/>
            </a:prstGeom>
            <a:noFill/>
          </p:spPr>
          <p:txBody>
            <a:bodyPr wrap="none" lIns="87867" tIns="43934" rIns="87867" bIns="43934" rtlCol="0">
              <a:spAutoFit/>
            </a:bodyPr>
            <a:lstStyle/>
            <a:p>
              <a:pPr marL="0" marR="0" lvl="0" indent="0" algn="ctr" defTabSz="877852" eaLnBrk="1" fontAlgn="auto" latinLnBrk="0" hangingPunct="1">
                <a:lnSpc>
                  <a:spcPct val="90000"/>
                </a:lnSpc>
                <a:spcBef>
                  <a:spcPts val="0"/>
                </a:spcBef>
                <a:spcAft>
                  <a:spcPts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1"/>
                  </a:gradFill>
                  <a:effectLst/>
                  <a:uLnTx/>
                  <a:uFillTx/>
                </a:rPr>
                <a:t>Global data</a:t>
              </a:r>
              <a:br>
                <a:rPr kumimoji="0" lang="en-US" sz="1371" b="0" i="0" u="none" strike="noStrike" kern="0" cap="none" spc="0" normalizeH="0" baseline="0" noProof="0">
                  <a:ln>
                    <a:noFill/>
                  </a:ln>
                  <a:gradFill>
                    <a:gsLst>
                      <a:gs pos="0">
                        <a:srgbClr val="FFFFFF"/>
                      </a:gs>
                      <a:gs pos="100000">
                        <a:srgbClr val="FFFFFF"/>
                      </a:gs>
                    </a:gsLst>
                    <a:lin ang="5400000" scaled="1"/>
                  </a:gradFill>
                  <a:effectLst/>
                  <a:uLnTx/>
                  <a:uFillTx/>
                </a:rPr>
              </a:br>
              <a:r>
                <a:rPr kumimoji="0" lang="en-US" sz="1371" b="0" i="0" u="none" strike="noStrike" kern="0" cap="none" spc="0" normalizeH="0" baseline="0" noProof="0">
                  <a:ln>
                    <a:noFill/>
                  </a:ln>
                  <a:gradFill>
                    <a:gsLst>
                      <a:gs pos="0">
                        <a:srgbClr val="FFFFFF"/>
                      </a:gs>
                      <a:gs pos="100000">
                        <a:srgbClr val="FFFFFF"/>
                      </a:gs>
                    </a:gsLst>
                    <a:lin ang="5400000" scaled="1"/>
                  </a:gradFill>
                  <a:effectLst/>
                  <a:uLnTx/>
                  <a:uFillTx/>
                </a:rPr>
                <a:t>center footprint </a:t>
              </a:r>
            </a:p>
          </p:txBody>
        </p:sp>
      </p:grpSp>
      <p:grpSp>
        <p:nvGrpSpPr>
          <p:cNvPr id="219" name="Group 218">
            <a:extLst>
              <a:ext uri="{FF2B5EF4-FFF2-40B4-BE49-F238E27FC236}">
                <a16:creationId xmlns:a16="http://schemas.microsoft.com/office/drawing/2014/main" id="{1A3F511F-3D59-4502-B2B0-DBE82B6924C3}"/>
              </a:ext>
            </a:extLst>
          </p:cNvPr>
          <p:cNvGrpSpPr/>
          <p:nvPr/>
        </p:nvGrpSpPr>
        <p:grpSpPr>
          <a:xfrm>
            <a:off x="2443544" y="2827496"/>
            <a:ext cx="1425456" cy="1006808"/>
            <a:chOff x="2492013" y="2756352"/>
            <a:chExt cx="1454245" cy="1027142"/>
          </a:xfrm>
        </p:grpSpPr>
        <p:sp>
          <p:nvSpPr>
            <p:cNvPr id="220" name="Freeform 9">
              <a:extLst>
                <a:ext uri="{FF2B5EF4-FFF2-40B4-BE49-F238E27FC236}">
                  <a16:creationId xmlns:a16="http://schemas.microsoft.com/office/drawing/2014/main" id="{FA7649B4-1AFE-4242-823D-58F2976A35B2}"/>
                </a:ext>
              </a:extLst>
            </p:cNvPr>
            <p:cNvSpPr>
              <a:spLocks noChangeAspect="1" noEditPoints="1"/>
            </p:cNvSpPr>
            <p:nvPr/>
          </p:nvSpPr>
          <p:spPr bwMode="auto">
            <a:xfrm>
              <a:off x="2826574" y="2756352"/>
              <a:ext cx="785123" cy="548640"/>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38 w 128"/>
                <a:gd name="T45" fmla="*/ 80 h 88"/>
                <a:gd name="T46" fmla="*/ 33 w 128"/>
                <a:gd name="T47" fmla="*/ 74 h 88"/>
                <a:gd name="T48" fmla="*/ 38 w 128"/>
                <a:gd name="T49" fmla="*/ 69 h 88"/>
                <a:gd name="T50" fmla="*/ 43 w 128"/>
                <a:gd name="T51" fmla="*/ 75 h 88"/>
                <a:gd name="T52" fmla="*/ 38 w 128"/>
                <a:gd name="T53" fmla="*/ 80 h 88"/>
                <a:gd name="T54" fmla="*/ 49 w 128"/>
                <a:gd name="T55" fmla="*/ 70 h 88"/>
                <a:gd name="T56" fmla="*/ 44 w 128"/>
                <a:gd name="T57" fmla="*/ 64 h 88"/>
                <a:gd name="T58" fmla="*/ 50 w 128"/>
                <a:gd name="T59" fmla="*/ 59 h 88"/>
                <a:gd name="T60" fmla="*/ 55 w 128"/>
                <a:gd name="T61" fmla="*/ 65 h 88"/>
                <a:gd name="T62" fmla="*/ 49 w 128"/>
                <a:gd name="T63" fmla="*/ 70 h 88"/>
                <a:gd name="T64" fmla="*/ 61 w 128"/>
                <a:gd name="T65" fmla="*/ 60 h 88"/>
                <a:gd name="T66" fmla="*/ 55 w 128"/>
                <a:gd name="T67" fmla="*/ 54 h 88"/>
                <a:gd name="T68" fmla="*/ 61 w 128"/>
                <a:gd name="T69" fmla="*/ 49 h 88"/>
                <a:gd name="T70" fmla="*/ 66 w 128"/>
                <a:gd name="T71" fmla="*/ 55 h 88"/>
                <a:gd name="T72" fmla="*/ 61 w 128"/>
                <a:gd name="T73" fmla="*/ 60 h 88"/>
                <a:gd name="T74" fmla="*/ 72 w 128"/>
                <a:gd name="T75" fmla="*/ 50 h 88"/>
                <a:gd name="T76" fmla="*/ 67 w 128"/>
                <a:gd name="T77" fmla="*/ 44 h 88"/>
                <a:gd name="T78" fmla="*/ 73 w 128"/>
                <a:gd name="T79" fmla="*/ 39 h 88"/>
                <a:gd name="T80" fmla="*/ 78 w 128"/>
                <a:gd name="T81" fmla="*/ 45 h 88"/>
                <a:gd name="T82" fmla="*/ 72 w 128"/>
                <a:gd name="T83" fmla="*/ 50 h 88"/>
                <a:gd name="T84" fmla="*/ 83 w 128"/>
                <a:gd name="T85" fmla="*/ 40 h 88"/>
                <a:gd name="T86" fmla="*/ 78 w 128"/>
                <a:gd name="T87" fmla="*/ 34 h 88"/>
                <a:gd name="T88" fmla="*/ 84 w 128"/>
                <a:gd name="T89" fmla="*/ 29 h 88"/>
                <a:gd name="T90" fmla="*/ 89 w 128"/>
                <a:gd name="T91" fmla="*/ 35 h 88"/>
                <a:gd name="T92" fmla="*/ 83 w 128"/>
                <a:gd name="T9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moveTo>
                    <a:pt x="38" y="80"/>
                  </a:moveTo>
                  <a:cubicBezTo>
                    <a:pt x="33" y="74"/>
                    <a:pt x="33" y="74"/>
                    <a:pt x="33" y="74"/>
                  </a:cubicBezTo>
                  <a:cubicBezTo>
                    <a:pt x="38" y="69"/>
                    <a:pt x="38" y="69"/>
                    <a:pt x="38" y="69"/>
                  </a:cubicBezTo>
                  <a:cubicBezTo>
                    <a:pt x="43" y="75"/>
                    <a:pt x="43" y="75"/>
                    <a:pt x="43" y="75"/>
                  </a:cubicBezTo>
                  <a:lnTo>
                    <a:pt x="38" y="80"/>
                  </a:lnTo>
                  <a:close/>
                  <a:moveTo>
                    <a:pt x="49" y="70"/>
                  </a:moveTo>
                  <a:cubicBezTo>
                    <a:pt x="44" y="64"/>
                    <a:pt x="44" y="64"/>
                    <a:pt x="44" y="64"/>
                  </a:cubicBezTo>
                  <a:cubicBezTo>
                    <a:pt x="50" y="59"/>
                    <a:pt x="50" y="59"/>
                    <a:pt x="50" y="59"/>
                  </a:cubicBezTo>
                  <a:cubicBezTo>
                    <a:pt x="55" y="65"/>
                    <a:pt x="55" y="65"/>
                    <a:pt x="55" y="65"/>
                  </a:cubicBezTo>
                  <a:lnTo>
                    <a:pt x="49" y="70"/>
                  </a:lnTo>
                  <a:close/>
                  <a:moveTo>
                    <a:pt x="61" y="60"/>
                  </a:moveTo>
                  <a:cubicBezTo>
                    <a:pt x="55" y="54"/>
                    <a:pt x="55" y="54"/>
                    <a:pt x="55" y="54"/>
                  </a:cubicBezTo>
                  <a:cubicBezTo>
                    <a:pt x="61" y="49"/>
                    <a:pt x="61" y="49"/>
                    <a:pt x="61" y="49"/>
                  </a:cubicBezTo>
                  <a:cubicBezTo>
                    <a:pt x="66" y="55"/>
                    <a:pt x="66" y="55"/>
                    <a:pt x="66" y="55"/>
                  </a:cubicBezTo>
                  <a:lnTo>
                    <a:pt x="61" y="60"/>
                  </a:lnTo>
                  <a:close/>
                  <a:moveTo>
                    <a:pt x="72" y="50"/>
                  </a:moveTo>
                  <a:cubicBezTo>
                    <a:pt x="67" y="44"/>
                    <a:pt x="67" y="44"/>
                    <a:pt x="67" y="44"/>
                  </a:cubicBezTo>
                  <a:cubicBezTo>
                    <a:pt x="73" y="39"/>
                    <a:pt x="73" y="39"/>
                    <a:pt x="73" y="39"/>
                  </a:cubicBezTo>
                  <a:cubicBezTo>
                    <a:pt x="78" y="45"/>
                    <a:pt x="78" y="45"/>
                    <a:pt x="78" y="45"/>
                  </a:cubicBezTo>
                  <a:lnTo>
                    <a:pt x="72" y="50"/>
                  </a:lnTo>
                  <a:close/>
                  <a:moveTo>
                    <a:pt x="83" y="40"/>
                  </a:moveTo>
                  <a:cubicBezTo>
                    <a:pt x="78" y="34"/>
                    <a:pt x="78" y="34"/>
                    <a:pt x="78" y="34"/>
                  </a:cubicBezTo>
                  <a:cubicBezTo>
                    <a:pt x="84" y="29"/>
                    <a:pt x="84" y="29"/>
                    <a:pt x="84" y="29"/>
                  </a:cubicBezTo>
                  <a:cubicBezTo>
                    <a:pt x="89" y="35"/>
                    <a:pt x="89" y="35"/>
                    <a:pt x="89" y="35"/>
                  </a:cubicBezTo>
                  <a:lnTo>
                    <a:pt x="83" y="40"/>
                  </a:lnTo>
                  <a:close/>
                </a:path>
              </a:pathLst>
            </a:custGeom>
            <a:solidFill>
              <a:srgbClr val="FFFFFF"/>
            </a:solidFill>
            <a:ln>
              <a:noFill/>
            </a:ln>
          </p:spPr>
          <p:txBody>
            <a:bodyPr vert="horz" wrap="square" lIns="87867" tIns="43934" rIns="87867" bIns="43934"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21" name="TextBox 220">
              <a:extLst>
                <a:ext uri="{FF2B5EF4-FFF2-40B4-BE49-F238E27FC236}">
                  <a16:creationId xmlns:a16="http://schemas.microsoft.com/office/drawing/2014/main" id="{D8EB25A5-AF75-4CB6-A45F-C0DB8A5E6043}"/>
                </a:ext>
              </a:extLst>
            </p:cNvPr>
            <p:cNvSpPr txBox="1"/>
            <p:nvPr/>
          </p:nvSpPr>
          <p:spPr>
            <a:xfrm>
              <a:off x="2492013" y="3497262"/>
              <a:ext cx="1454245" cy="286232"/>
            </a:xfrm>
            <a:prstGeom prst="rect">
              <a:avLst/>
            </a:prstGeom>
            <a:noFill/>
          </p:spPr>
          <p:txBody>
            <a:bodyPr wrap="none" lIns="87867" tIns="43934" rIns="87867" bIns="43934" rtlCol="0">
              <a:spAutoFit/>
            </a:bodyPr>
            <a:lstStyle/>
            <a:p>
              <a:pPr marL="0" marR="0" lvl="0" indent="0" algn="ctr" defTabSz="877852" eaLnBrk="1" fontAlgn="auto" latinLnBrk="0" hangingPunct="1">
                <a:lnSpc>
                  <a:spcPct val="90000"/>
                </a:lnSpc>
                <a:spcBef>
                  <a:spcPts val="0"/>
                </a:spcBef>
                <a:spcAft>
                  <a:spcPts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1"/>
                  </a:gradFill>
                  <a:effectLst/>
                  <a:uLnTx/>
                  <a:uFillTx/>
                </a:rPr>
                <a:t>Hybrid support </a:t>
              </a:r>
            </a:p>
          </p:txBody>
        </p:sp>
      </p:grpSp>
      <p:grpSp>
        <p:nvGrpSpPr>
          <p:cNvPr id="222" name="Group 221">
            <a:extLst>
              <a:ext uri="{FF2B5EF4-FFF2-40B4-BE49-F238E27FC236}">
                <a16:creationId xmlns:a16="http://schemas.microsoft.com/office/drawing/2014/main" id="{54FC267C-8BD9-46EE-AEA3-E6724CE2B9B6}"/>
              </a:ext>
            </a:extLst>
          </p:cNvPr>
          <p:cNvGrpSpPr/>
          <p:nvPr/>
        </p:nvGrpSpPr>
        <p:grpSpPr>
          <a:xfrm>
            <a:off x="4262609" y="2831466"/>
            <a:ext cx="1736952" cy="1198487"/>
            <a:chOff x="4347816" y="2760400"/>
            <a:chExt cx="1772033" cy="1222693"/>
          </a:xfrm>
        </p:grpSpPr>
        <p:sp>
          <p:nvSpPr>
            <p:cNvPr id="223" name="Freeform 82">
              <a:extLst>
                <a:ext uri="{FF2B5EF4-FFF2-40B4-BE49-F238E27FC236}">
                  <a16:creationId xmlns:a16="http://schemas.microsoft.com/office/drawing/2014/main" id="{DAFA7680-4E27-4D7B-BD20-02D33D4E9603}"/>
                </a:ext>
              </a:extLst>
            </p:cNvPr>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87867" tIns="43934" rIns="87867" bIns="43934"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24" name="TextBox 223">
              <a:extLst>
                <a:ext uri="{FF2B5EF4-FFF2-40B4-BE49-F238E27FC236}">
                  <a16:creationId xmlns:a16="http://schemas.microsoft.com/office/drawing/2014/main" id="{D2D3434C-CA53-456C-9690-603ABEF007D1}"/>
                </a:ext>
              </a:extLst>
            </p:cNvPr>
            <p:cNvSpPr txBox="1"/>
            <p:nvPr/>
          </p:nvSpPr>
          <p:spPr>
            <a:xfrm>
              <a:off x="4347816" y="3497262"/>
              <a:ext cx="1772033" cy="485831"/>
            </a:xfrm>
            <a:prstGeom prst="rect">
              <a:avLst/>
            </a:prstGeom>
            <a:noFill/>
          </p:spPr>
          <p:txBody>
            <a:bodyPr wrap="none" lIns="87867" tIns="43934" rIns="87867" bIns="43934" rtlCol="0">
              <a:spAutoFit/>
            </a:bodyPr>
            <a:lstStyle/>
            <a:p>
              <a:pPr marL="0" marR="0" lvl="0" indent="0" algn="ctr" defTabSz="877852" eaLnBrk="1" fontAlgn="auto" latinLnBrk="0" hangingPunct="1">
                <a:lnSpc>
                  <a:spcPct val="90000"/>
                </a:lnSpc>
                <a:spcBef>
                  <a:spcPts val="0"/>
                </a:spcBef>
                <a:spcAft>
                  <a:spcPts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1"/>
                  </a:gradFill>
                  <a:effectLst/>
                  <a:uLnTx/>
                  <a:uFillTx/>
                </a:rPr>
                <a:t>Built-in auto scale</a:t>
              </a:r>
              <a:br>
                <a:rPr kumimoji="0" lang="en-US" sz="1371" b="0" i="0" u="none" strike="noStrike" kern="0" cap="none" spc="0" normalizeH="0" baseline="0" noProof="0">
                  <a:ln>
                    <a:noFill/>
                  </a:ln>
                  <a:gradFill>
                    <a:gsLst>
                      <a:gs pos="0">
                        <a:srgbClr val="FFFFFF"/>
                      </a:gs>
                      <a:gs pos="100000">
                        <a:srgbClr val="FFFFFF"/>
                      </a:gs>
                    </a:gsLst>
                    <a:lin ang="5400000" scaled="1"/>
                  </a:gradFill>
                  <a:effectLst/>
                  <a:uLnTx/>
                  <a:uFillTx/>
                </a:rPr>
              </a:br>
              <a:r>
                <a:rPr kumimoji="0" lang="en-US" sz="1371" b="0" i="0" u="none" strike="noStrike" kern="0" cap="none" spc="0" normalizeH="0" baseline="0" noProof="0">
                  <a:ln>
                    <a:noFill/>
                  </a:ln>
                  <a:gradFill>
                    <a:gsLst>
                      <a:gs pos="0">
                        <a:srgbClr val="FFFFFF"/>
                      </a:gs>
                      <a:gs pos="100000">
                        <a:srgbClr val="FFFFFF"/>
                      </a:gs>
                    </a:gsLst>
                    <a:lin ang="5400000" scaled="1"/>
                  </a:gradFill>
                  <a:effectLst/>
                  <a:uLnTx/>
                  <a:uFillTx/>
                </a:rPr>
                <a:t>and load balancing </a:t>
              </a:r>
            </a:p>
          </p:txBody>
        </p:sp>
      </p:grpSp>
      <p:grpSp>
        <p:nvGrpSpPr>
          <p:cNvPr id="225" name="Group 224">
            <a:extLst>
              <a:ext uri="{FF2B5EF4-FFF2-40B4-BE49-F238E27FC236}">
                <a16:creationId xmlns:a16="http://schemas.microsoft.com/office/drawing/2014/main" id="{08530836-8E66-4CD3-B3A8-869D11F7CEF9}"/>
              </a:ext>
            </a:extLst>
          </p:cNvPr>
          <p:cNvGrpSpPr/>
          <p:nvPr/>
        </p:nvGrpSpPr>
        <p:grpSpPr>
          <a:xfrm>
            <a:off x="8138534" y="2750936"/>
            <a:ext cx="1991794" cy="1279012"/>
            <a:chOff x="8253898" y="2678247"/>
            <a:chExt cx="2032022" cy="1304845"/>
          </a:xfrm>
        </p:grpSpPr>
        <p:sp>
          <p:nvSpPr>
            <p:cNvPr id="226" name="Freeform 13">
              <a:extLst>
                <a:ext uri="{FF2B5EF4-FFF2-40B4-BE49-F238E27FC236}">
                  <a16:creationId xmlns:a16="http://schemas.microsoft.com/office/drawing/2014/main" id="{7584B8AC-B4D0-4E1B-BA8C-FDE5103D393E}"/>
                </a:ext>
              </a:extLst>
            </p:cNvPr>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87867" tIns="43934" rIns="87867" bIns="43934"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227" name="TextBox 226">
              <a:extLst>
                <a:ext uri="{FF2B5EF4-FFF2-40B4-BE49-F238E27FC236}">
                  <a16:creationId xmlns:a16="http://schemas.microsoft.com/office/drawing/2014/main" id="{7AFF6EAA-76A0-47C8-B85A-215914EC8405}"/>
                </a:ext>
              </a:extLst>
            </p:cNvPr>
            <p:cNvSpPr txBox="1"/>
            <p:nvPr/>
          </p:nvSpPr>
          <p:spPr>
            <a:xfrm>
              <a:off x="8253898" y="3497262"/>
              <a:ext cx="2032022" cy="485830"/>
            </a:xfrm>
            <a:prstGeom prst="rect">
              <a:avLst/>
            </a:prstGeom>
            <a:noFill/>
          </p:spPr>
          <p:txBody>
            <a:bodyPr wrap="none" lIns="87867" tIns="43934" rIns="87867" bIns="43934" rtlCol="0">
              <a:spAutoFit/>
            </a:bodyPr>
            <a:lstStyle/>
            <a:p>
              <a:pPr marL="0" marR="0" lvl="0" indent="0" algn="ctr" defTabSz="877852" eaLnBrk="1" fontAlgn="auto" latinLnBrk="0" hangingPunct="1">
                <a:lnSpc>
                  <a:spcPct val="90000"/>
                </a:lnSpc>
                <a:spcBef>
                  <a:spcPts val="0"/>
                </a:spcBef>
                <a:spcAft>
                  <a:spcPts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1"/>
                  </a:gradFill>
                  <a:effectLst/>
                  <a:uLnTx/>
                  <a:uFillTx/>
                </a:rPr>
                <a:t>.NET, Java, PHP, Node, </a:t>
              </a:r>
            </a:p>
            <a:p>
              <a:pPr marL="0" marR="0" lvl="0" indent="0" algn="ctr" defTabSz="877852" eaLnBrk="1" fontAlgn="auto" latinLnBrk="0" hangingPunct="1">
                <a:lnSpc>
                  <a:spcPct val="90000"/>
                </a:lnSpc>
                <a:spcBef>
                  <a:spcPts val="0"/>
                </a:spcBef>
                <a:spcAft>
                  <a:spcPts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1"/>
                  </a:gradFill>
                  <a:effectLst/>
                  <a:uLnTx/>
                  <a:uFillTx/>
                </a:rPr>
                <a:t>Ruby, and Python </a:t>
              </a:r>
            </a:p>
          </p:txBody>
        </p:sp>
      </p:grpSp>
      <p:grpSp>
        <p:nvGrpSpPr>
          <p:cNvPr id="228" name="Group 227">
            <a:extLst>
              <a:ext uri="{FF2B5EF4-FFF2-40B4-BE49-F238E27FC236}">
                <a16:creationId xmlns:a16="http://schemas.microsoft.com/office/drawing/2014/main" id="{A484AC2B-1FF8-4DD1-ACB4-0E2548E29255}"/>
              </a:ext>
            </a:extLst>
          </p:cNvPr>
          <p:cNvGrpSpPr/>
          <p:nvPr/>
        </p:nvGrpSpPr>
        <p:grpSpPr>
          <a:xfrm>
            <a:off x="10393824" y="2763775"/>
            <a:ext cx="1129500" cy="1266176"/>
            <a:chOff x="13749942" y="2818600"/>
            <a:chExt cx="1152312" cy="1291748"/>
          </a:xfrm>
        </p:grpSpPr>
        <p:grpSp>
          <p:nvGrpSpPr>
            <p:cNvPr id="229" name="Group 228">
              <a:extLst>
                <a:ext uri="{FF2B5EF4-FFF2-40B4-BE49-F238E27FC236}">
                  <a16:creationId xmlns:a16="http://schemas.microsoft.com/office/drawing/2014/main" id="{9D1FBB3A-C954-4639-9273-33B17A19C099}"/>
                </a:ext>
              </a:extLst>
            </p:cNvPr>
            <p:cNvGrpSpPr>
              <a:grpSpLocks noChangeAspect="1"/>
            </p:cNvGrpSpPr>
            <p:nvPr/>
          </p:nvGrpSpPr>
          <p:grpSpPr>
            <a:xfrm>
              <a:off x="14045358" y="2818600"/>
              <a:ext cx="561480" cy="676656"/>
              <a:chOff x="5480050" y="2681288"/>
              <a:chExt cx="1238250" cy="1492251"/>
            </a:xfrm>
            <a:solidFill>
              <a:srgbClr val="FFFFFF"/>
            </a:solidFill>
          </p:grpSpPr>
          <p:sp>
            <p:nvSpPr>
              <p:cNvPr id="231" name="Freeform 35">
                <a:extLst>
                  <a:ext uri="{FF2B5EF4-FFF2-40B4-BE49-F238E27FC236}">
                    <a16:creationId xmlns:a16="http://schemas.microsoft.com/office/drawing/2014/main" id="{9CC77105-BDF5-4A3A-BB9D-21D9E3B715D8}"/>
                  </a:ext>
                </a:extLst>
              </p:cNvPr>
              <p:cNvSpPr>
                <a:spLocks noEditPoints="1"/>
              </p:cNvSpPr>
              <p:nvPr/>
            </p:nvSpPr>
            <p:spPr bwMode="auto">
              <a:xfrm>
                <a:off x="5480050" y="2873376"/>
                <a:ext cx="1238250" cy="1300163"/>
              </a:xfrm>
              <a:custGeom>
                <a:avLst/>
                <a:gdLst>
                  <a:gd name="T0" fmla="*/ 270 w 330"/>
                  <a:gd name="T1" fmla="*/ 0 h 347"/>
                  <a:gd name="T2" fmla="*/ 270 w 330"/>
                  <a:gd name="T3" fmla="*/ 21 h 347"/>
                  <a:gd name="T4" fmla="*/ 278 w 330"/>
                  <a:gd name="T5" fmla="*/ 41 h 347"/>
                  <a:gd name="T6" fmla="*/ 249 w 330"/>
                  <a:gd name="T7" fmla="*/ 70 h 347"/>
                  <a:gd name="T8" fmla="*/ 221 w 330"/>
                  <a:gd name="T9" fmla="*/ 41 h 347"/>
                  <a:gd name="T10" fmla="*/ 229 w 330"/>
                  <a:gd name="T11" fmla="*/ 21 h 347"/>
                  <a:gd name="T12" fmla="*/ 229 w 330"/>
                  <a:gd name="T13" fmla="*/ 0 h 347"/>
                  <a:gd name="T14" fmla="*/ 101 w 330"/>
                  <a:gd name="T15" fmla="*/ 0 h 347"/>
                  <a:gd name="T16" fmla="*/ 101 w 330"/>
                  <a:gd name="T17" fmla="*/ 21 h 347"/>
                  <a:gd name="T18" fmla="*/ 109 w 330"/>
                  <a:gd name="T19" fmla="*/ 41 h 347"/>
                  <a:gd name="T20" fmla="*/ 81 w 330"/>
                  <a:gd name="T21" fmla="*/ 70 h 347"/>
                  <a:gd name="T22" fmla="*/ 52 w 330"/>
                  <a:gd name="T23" fmla="*/ 41 h 347"/>
                  <a:gd name="T24" fmla="*/ 60 w 330"/>
                  <a:gd name="T25" fmla="*/ 21 h 347"/>
                  <a:gd name="T26" fmla="*/ 60 w 330"/>
                  <a:gd name="T27" fmla="*/ 0 h 347"/>
                  <a:gd name="T28" fmla="*/ 0 w 330"/>
                  <a:gd name="T29" fmla="*/ 0 h 347"/>
                  <a:gd name="T30" fmla="*/ 0 w 330"/>
                  <a:gd name="T31" fmla="*/ 347 h 347"/>
                  <a:gd name="T32" fmla="*/ 330 w 330"/>
                  <a:gd name="T33" fmla="*/ 347 h 347"/>
                  <a:gd name="T34" fmla="*/ 330 w 330"/>
                  <a:gd name="T35" fmla="*/ 0 h 347"/>
                  <a:gd name="T36" fmla="*/ 270 w 330"/>
                  <a:gd name="T37" fmla="*/ 0 h 347"/>
                  <a:gd name="T38" fmla="*/ 304 w 330"/>
                  <a:gd name="T39" fmla="*/ 319 h 347"/>
                  <a:gd name="T40" fmla="*/ 26 w 330"/>
                  <a:gd name="T41" fmla="*/ 319 h 347"/>
                  <a:gd name="T42" fmla="*/ 26 w 330"/>
                  <a:gd name="T43" fmla="*/ 85 h 347"/>
                  <a:gd name="T44" fmla="*/ 304 w 330"/>
                  <a:gd name="T45" fmla="*/ 85 h 347"/>
                  <a:gd name="T46" fmla="*/ 304 w 330"/>
                  <a:gd name="T47" fmla="*/ 31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0" h="347">
                    <a:moveTo>
                      <a:pt x="270" y="0"/>
                    </a:moveTo>
                    <a:cubicBezTo>
                      <a:pt x="270" y="21"/>
                      <a:pt x="270" y="21"/>
                      <a:pt x="270" y="21"/>
                    </a:cubicBezTo>
                    <a:cubicBezTo>
                      <a:pt x="275" y="27"/>
                      <a:pt x="278" y="34"/>
                      <a:pt x="278" y="41"/>
                    </a:cubicBezTo>
                    <a:cubicBezTo>
                      <a:pt x="278" y="57"/>
                      <a:pt x="265" y="70"/>
                      <a:pt x="249" y="70"/>
                    </a:cubicBezTo>
                    <a:cubicBezTo>
                      <a:pt x="233" y="70"/>
                      <a:pt x="221" y="57"/>
                      <a:pt x="221" y="41"/>
                    </a:cubicBezTo>
                    <a:cubicBezTo>
                      <a:pt x="221" y="34"/>
                      <a:pt x="224" y="27"/>
                      <a:pt x="229" y="21"/>
                    </a:cubicBezTo>
                    <a:cubicBezTo>
                      <a:pt x="229" y="0"/>
                      <a:pt x="229" y="0"/>
                      <a:pt x="229" y="0"/>
                    </a:cubicBezTo>
                    <a:cubicBezTo>
                      <a:pt x="101" y="0"/>
                      <a:pt x="101" y="0"/>
                      <a:pt x="101" y="0"/>
                    </a:cubicBezTo>
                    <a:cubicBezTo>
                      <a:pt x="101" y="21"/>
                      <a:pt x="101" y="21"/>
                      <a:pt x="101" y="21"/>
                    </a:cubicBezTo>
                    <a:cubicBezTo>
                      <a:pt x="106" y="27"/>
                      <a:pt x="109" y="34"/>
                      <a:pt x="109" y="41"/>
                    </a:cubicBezTo>
                    <a:cubicBezTo>
                      <a:pt x="109" y="57"/>
                      <a:pt x="97" y="70"/>
                      <a:pt x="81" y="70"/>
                    </a:cubicBezTo>
                    <a:cubicBezTo>
                      <a:pt x="65" y="70"/>
                      <a:pt x="52" y="57"/>
                      <a:pt x="52" y="41"/>
                    </a:cubicBezTo>
                    <a:cubicBezTo>
                      <a:pt x="52" y="34"/>
                      <a:pt x="55" y="27"/>
                      <a:pt x="60" y="21"/>
                    </a:cubicBezTo>
                    <a:cubicBezTo>
                      <a:pt x="60" y="0"/>
                      <a:pt x="60" y="0"/>
                      <a:pt x="60" y="0"/>
                    </a:cubicBezTo>
                    <a:cubicBezTo>
                      <a:pt x="0" y="0"/>
                      <a:pt x="0" y="0"/>
                      <a:pt x="0" y="0"/>
                    </a:cubicBezTo>
                    <a:cubicBezTo>
                      <a:pt x="0" y="347"/>
                      <a:pt x="0" y="347"/>
                      <a:pt x="0" y="347"/>
                    </a:cubicBezTo>
                    <a:cubicBezTo>
                      <a:pt x="330" y="347"/>
                      <a:pt x="330" y="347"/>
                      <a:pt x="330" y="347"/>
                    </a:cubicBezTo>
                    <a:cubicBezTo>
                      <a:pt x="330" y="0"/>
                      <a:pt x="330" y="0"/>
                      <a:pt x="330" y="0"/>
                    </a:cubicBezTo>
                    <a:lnTo>
                      <a:pt x="270" y="0"/>
                    </a:lnTo>
                    <a:close/>
                    <a:moveTo>
                      <a:pt x="304" y="319"/>
                    </a:moveTo>
                    <a:cubicBezTo>
                      <a:pt x="26" y="319"/>
                      <a:pt x="26" y="319"/>
                      <a:pt x="26" y="319"/>
                    </a:cubicBezTo>
                    <a:cubicBezTo>
                      <a:pt x="26" y="85"/>
                      <a:pt x="26" y="85"/>
                      <a:pt x="26" y="85"/>
                    </a:cubicBezTo>
                    <a:cubicBezTo>
                      <a:pt x="304" y="85"/>
                      <a:pt x="304" y="85"/>
                      <a:pt x="304" y="85"/>
                    </a:cubicBezTo>
                    <a:lnTo>
                      <a:pt x="304"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232" name="Rectangle 231">
                <a:extLst>
                  <a:ext uri="{FF2B5EF4-FFF2-40B4-BE49-F238E27FC236}">
                    <a16:creationId xmlns:a16="http://schemas.microsoft.com/office/drawing/2014/main" id="{81AED20A-0060-4992-AAA2-619BC51C9882}"/>
                  </a:ext>
                </a:extLst>
              </p:cNvPr>
              <p:cNvSpPr>
                <a:spLocks noChangeArrowheads="1"/>
              </p:cNvSpPr>
              <p:nvPr/>
            </p:nvSpPr>
            <p:spPr bwMode="auto">
              <a:xfrm>
                <a:off x="6407150"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233" name="Rectangle 232">
                <a:extLst>
                  <a:ext uri="{FF2B5EF4-FFF2-40B4-BE49-F238E27FC236}">
                    <a16:creationId xmlns:a16="http://schemas.microsoft.com/office/drawing/2014/main" id="{EA0CD681-CE37-41AD-919F-8BCA74CCB757}"/>
                  </a:ext>
                </a:extLst>
              </p:cNvPr>
              <p:cNvSpPr>
                <a:spLocks noChangeArrowheads="1"/>
              </p:cNvSpPr>
              <p:nvPr/>
            </p:nvSpPr>
            <p:spPr bwMode="auto">
              <a:xfrm>
                <a:off x="6223000"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234" name="Rectangle 233">
                <a:extLst>
                  <a:ext uri="{FF2B5EF4-FFF2-40B4-BE49-F238E27FC236}">
                    <a16:creationId xmlns:a16="http://schemas.microsoft.com/office/drawing/2014/main" id="{5597ADFE-854A-465E-9FE3-4F926BFD9FB5}"/>
                  </a:ext>
                </a:extLst>
              </p:cNvPr>
              <p:cNvSpPr>
                <a:spLocks noChangeArrowheads="1"/>
              </p:cNvSpPr>
              <p:nvPr/>
            </p:nvSpPr>
            <p:spPr bwMode="auto">
              <a:xfrm>
                <a:off x="6043613"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235" name="Rectangle 234">
                <a:extLst>
                  <a:ext uri="{FF2B5EF4-FFF2-40B4-BE49-F238E27FC236}">
                    <a16:creationId xmlns:a16="http://schemas.microsoft.com/office/drawing/2014/main" id="{73E23EF9-679A-4F37-8A1B-829DEC2125F4}"/>
                  </a:ext>
                </a:extLst>
              </p:cNvPr>
              <p:cNvSpPr>
                <a:spLocks noChangeArrowheads="1"/>
              </p:cNvSpPr>
              <p:nvPr/>
            </p:nvSpPr>
            <p:spPr bwMode="auto">
              <a:xfrm>
                <a:off x="6407150"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236" name="Rectangle 235">
                <a:extLst>
                  <a:ext uri="{FF2B5EF4-FFF2-40B4-BE49-F238E27FC236}">
                    <a16:creationId xmlns:a16="http://schemas.microsoft.com/office/drawing/2014/main" id="{016C76D7-A801-4418-9136-81E4602AAF0A}"/>
                  </a:ext>
                </a:extLst>
              </p:cNvPr>
              <p:cNvSpPr>
                <a:spLocks noChangeArrowheads="1"/>
              </p:cNvSpPr>
              <p:nvPr/>
            </p:nvSpPr>
            <p:spPr bwMode="auto">
              <a:xfrm>
                <a:off x="6223000"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237" name="Rectangle 236">
                <a:extLst>
                  <a:ext uri="{FF2B5EF4-FFF2-40B4-BE49-F238E27FC236}">
                    <a16:creationId xmlns:a16="http://schemas.microsoft.com/office/drawing/2014/main" id="{4B4DEACA-01E1-4A33-B84C-9F0BC928396E}"/>
                  </a:ext>
                </a:extLst>
              </p:cNvPr>
              <p:cNvSpPr>
                <a:spLocks noChangeArrowheads="1"/>
              </p:cNvSpPr>
              <p:nvPr/>
            </p:nvSpPr>
            <p:spPr bwMode="auto">
              <a:xfrm>
                <a:off x="6043613"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238" name="Rectangle 237">
                <a:extLst>
                  <a:ext uri="{FF2B5EF4-FFF2-40B4-BE49-F238E27FC236}">
                    <a16:creationId xmlns:a16="http://schemas.microsoft.com/office/drawing/2014/main" id="{61D79B98-8256-4B73-BB93-B2FB09EDDCDB}"/>
                  </a:ext>
                </a:extLst>
              </p:cNvPr>
              <p:cNvSpPr>
                <a:spLocks noChangeArrowheads="1"/>
              </p:cNvSpPr>
              <p:nvPr/>
            </p:nvSpPr>
            <p:spPr bwMode="auto">
              <a:xfrm>
                <a:off x="5862638"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239" name="Rectangle 238">
                <a:extLst>
                  <a:ext uri="{FF2B5EF4-FFF2-40B4-BE49-F238E27FC236}">
                    <a16:creationId xmlns:a16="http://schemas.microsoft.com/office/drawing/2014/main" id="{5C0FC326-59D9-42DA-94C6-3573475D5CBC}"/>
                  </a:ext>
                </a:extLst>
              </p:cNvPr>
              <p:cNvSpPr>
                <a:spLocks noChangeArrowheads="1"/>
              </p:cNvSpPr>
              <p:nvPr/>
            </p:nvSpPr>
            <p:spPr bwMode="auto">
              <a:xfrm>
                <a:off x="5680075"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240" name="Rectangle 239">
                <a:extLst>
                  <a:ext uri="{FF2B5EF4-FFF2-40B4-BE49-F238E27FC236}">
                    <a16:creationId xmlns:a16="http://schemas.microsoft.com/office/drawing/2014/main" id="{15B991EA-A0E2-43DD-BB3B-A524406E9D9F}"/>
                  </a:ext>
                </a:extLst>
              </p:cNvPr>
              <p:cNvSpPr>
                <a:spLocks noChangeArrowheads="1"/>
              </p:cNvSpPr>
              <p:nvPr/>
            </p:nvSpPr>
            <p:spPr bwMode="auto">
              <a:xfrm>
                <a:off x="6407150"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241" name="Rectangle 240">
                <a:extLst>
                  <a:ext uri="{FF2B5EF4-FFF2-40B4-BE49-F238E27FC236}">
                    <a16:creationId xmlns:a16="http://schemas.microsoft.com/office/drawing/2014/main" id="{9605BC75-568E-4483-B86B-036C2E3E74B8}"/>
                  </a:ext>
                </a:extLst>
              </p:cNvPr>
              <p:cNvSpPr>
                <a:spLocks noChangeArrowheads="1"/>
              </p:cNvSpPr>
              <p:nvPr/>
            </p:nvSpPr>
            <p:spPr bwMode="auto">
              <a:xfrm>
                <a:off x="6223000"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242" name="Rectangle 241">
                <a:extLst>
                  <a:ext uri="{FF2B5EF4-FFF2-40B4-BE49-F238E27FC236}">
                    <a16:creationId xmlns:a16="http://schemas.microsoft.com/office/drawing/2014/main" id="{66237207-93AC-4073-A727-0672BF64ED94}"/>
                  </a:ext>
                </a:extLst>
              </p:cNvPr>
              <p:cNvSpPr>
                <a:spLocks noChangeArrowheads="1"/>
              </p:cNvSpPr>
              <p:nvPr/>
            </p:nvSpPr>
            <p:spPr bwMode="auto">
              <a:xfrm>
                <a:off x="6043613"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243" name="Rectangle 242">
                <a:extLst>
                  <a:ext uri="{FF2B5EF4-FFF2-40B4-BE49-F238E27FC236}">
                    <a16:creationId xmlns:a16="http://schemas.microsoft.com/office/drawing/2014/main" id="{0AF76CF5-C1D9-4049-AF6A-38421660FA8E}"/>
                  </a:ext>
                </a:extLst>
              </p:cNvPr>
              <p:cNvSpPr>
                <a:spLocks noChangeArrowheads="1"/>
              </p:cNvSpPr>
              <p:nvPr/>
            </p:nvSpPr>
            <p:spPr bwMode="auto">
              <a:xfrm>
                <a:off x="5862638"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244" name="Rectangle 243">
                <a:extLst>
                  <a:ext uri="{FF2B5EF4-FFF2-40B4-BE49-F238E27FC236}">
                    <a16:creationId xmlns:a16="http://schemas.microsoft.com/office/drawing/2014/main" id="{AFC3DFBC-F0C2-4925-8462-904EA530CED1}"/>
                  </a:ext>
                </a:extLst>
              </p:cNvPr>
              <p:cNvSpPr>
                <a:spLocks noChangeArrowheads="1"/>
              </p:cNvSpPr>
              <p:nvPr/>
            </p:nvSpPr>
            <p:spPr bwMode="auto">
              <a:xfrm>
                <a:off x="5680075"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245" name="Rectangle 31">
                <a:extLst>
                  <a:ext uri="{FF2B5EF4-FFF2-40B4-BE49-F238E27FC236}">
                    <a16:creationId xmlns:a16="http://schemas.microsoft.com/office/drawing/2014/main" id="{61CD8236-66F7-49E4-AA02-07D561ADDC29}"/>
                  </a:ext>
                </a:extLst>
              </p:cNvPr>
              <p:cNvSpPr>
                <a:spLocks noChangeArrowheads="1"/>
              </p:cNvSpPr>
              <p:nvPr/>
            </p:nvSpPr>
            <p:spPr bwMode="auto">
              <a:xfrm>
                <a:off x="6223000"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246" name="Rectangle 32">
                <a:extLst>
                  <a:ext uri="{FF2B5EF4-FFF2-40B4-BE49-F238E27FC236}">
                    <a16:creationId xmlns:a16="http://schemas.microsoft.com/office/drawing/2014/main" id="{CA7F068E-FC6B-4738-A59A-6DD9953A7AC8}"/>
                  </a:ext>
                </a:extLst>
              </p:cNvPr>
              <p:cNvSpPr>
                <a:spLocks noChangeArrowheads="1"/>
              </p:cNvSpPr>
              <p:nvPr/>
            </p:nvSpPr>
            <p:spPr bwMode="auto">
              <a:xfrm>
                <a:off x="6043613"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247" name="Rectangle 33">
                <a:extLst>
                  <a:ext uri="{FF2B5EF4-FFF2-40B4-BE49-F238E27FC236}">
                    <a16:creationId xmlns:a16="http://schemas.microsoft.com/office/drawing/2014/main" id="{020D30F2-ED34-498C-B736-50AAF2C95F92}"/>
                  </a:ext>
                </a:extLst>
              </p:cNvPr>
              <p:cNvSpPr>
                <a:spLocks noChangeArrowheads="1"/>
              </p:cNvSpPr>
              <p:nvPr/>
            </p:nvSpPr>
            <p:spPr bwMode="auto">
              <a:xfrm>
                <a:off x="5862638"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248" name="Rectangle 34">
                <a:extLst>
                  <a:ext uri="{FF2B5EF4-FFF2-40B4-BE49-F238E27FC236}">
                    <a16:creationId xmlns:a16="http://schemas.microsoft.com/office/drawing/2014/main" id="{E7EC7887-33E2-44B2-AE38-41CAD19F07B6}"/>
                  </a:ext>
                </a:extLst>
              </p:cNvPr>
              <p:cNvSpPr>
                <a:spLocks noChangeArrowheads="1"/>
              </p:cNvSpPr>
              <p:nvPr/>
            </p:nvSpPr>
            <p:spPr bwMode="auto">
              <a:xfrm>
                <a:off x="5680075"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249" name="Freeform 35">
                <a:extLst>
                  <a:ext uri="{FF2B5EF4-FFF2-40B4-BE49-F238E27FC236}">
                    <a16:creationId xmlns:a16="http://schemas.microsoft.com/office/drawing/2014/main" id="{0D98E149-D340-40EC-BD23-45E4CD9E6648}"/>
                  </a:ext>
                </a:extLst>
              </p:cNvPr>
              <p:cNvSpPr>
                <a:spLocks/>
              </p:cNvSpPr>
              <p:nvPr/>
            </p:nvSpPr>
            <p:spPr bwMode="auto">
              <a:xfrm>
                <a:off x="6381750" y="2681288"/>
                <a:ext cx="74613" cy="390525"/>
              </a:xfrm>
              <a:custGeom>
                <a:avLst/>
                <a:gdLst>
                  <a:gd name="T0" fmla="*/ 10 w 20"/>
                  <a:gd name="T1" fmla="*/ 104 h 104"/>
                  <a:gd name="T2" fmla="*/ 20 w 20"/>
                  <a:gd name="T3" fmla="*/ 94 h 104"/>
                  <a:gd name="T4" fmla="*/ 20 w 20"/>
                  <a:gd name="T5" fmla="*/ 10 h 104"/>
                  <a:gd name="T6" fmla="*/ 10 w 20"/>
                  <a:gd name="T7" fmla="*/ 0 h 104"/>
                  <a:gd name="T8" fmla="*/ 0 w 20"/>
                  <a:gd name="T9" fmla="*/ 10 h 104"/>
                  <a:gd name="T10" fmla="*/ 0 w 20"/>
                  <a:gd name="T11" fmla="*/ 94 h 104"/>
                  <a:gd name="T12" fmla="*/ 10 w 20"/>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20" h="104">
                    <a:moveTo>
                      <a:pt x="10" y="104"/>
                    </a:moveTo>
                    <a:cubicBezTo>
                      <a:pt x="15" y="104"/>
                      <a:pt x="20" y="100"/>
                      <a:pt x="20" y="94"/>
                    </a:cubicBezTo>
                    <a:cubicBezTo>
                      <a:pt x="20" y="10"/>
                      <a:pt x="20" y="10"/>
                      <a:pt x="20" y="10"/>
                    </a:cubicBezTo>
                    <a:cubicBezTo>
                      <a:pt x="20" y="5"/>
                      <a:pt x="15" y="0"/>
                      <a:pt x="10" y="0"/>
                    </a:cubicBezTo>
                    <a:cubicBezTo>
                      <a:pt x="5" y="0"/>
                      <a:pt x="0" y="5"/>
                      <a:pt x="0" y="10"/>
                    </a:cubicBezTo>
                    <a:cubicBezTo>
                      <a:pt x="0" y="94"/>
                      <a:pt x="0" y="94"/>
                      <a:pt x="0" y="94"/>
                    </a:cubicBezTo>
                    <a:cubicBezTo>
                      <a:pt x="0" y="100"/>
                      <a:pt x="5" y="104"/>
                      <a:pt x="1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250" name="Freeform 36">
                <a:extLst>
                  <a:ext uri="{FF2B5EF4-FFF2-40B4-BE49-F238E27FC236}">
                    <a16:creationId xmlns:a16="http://schemas.microsoft.com/office/drawing/2014/main" id="{38DB61DE-DB0F-4C20-AC7F-A8356994369B}"/>
                  </a:ext>
                </a:extLst>
              </p:cNvPr>
              <p:cNvSpPr>
                <a:spLocks/>
              </p:cNvSpPr>
              <p:nvPr/>
            </p:nvSpPr>
            <p:spPr bwMode="auto">
              <a:xfrm>
                <a:off x="5746750" y="2681288"/>
                <a:ext cx="71438" cy="390525"/>
              </a:xfrm>
              <a:custGeom>
                <a:avLst/>
                <a:gdLst>
                  <a:gd name="T0" fmla="*/ 10 w 19"/>
                  <a:gd name="T1" fmla="*/ 104 h 104"/>
                  <a:gd name="T2" fmla="*/ 19 w 19"/>
                  <a:gd name="T3" fmla="*/ 94 h 104"/>
                  <a:gd name="T4" fmla="*/ 19 w 19"/>
                  <a:gd name="T5" fmla="*/ 10 h 104"/>
                  <a:gd name="T6" fmla="*/ 10 w 19"/>
                  <a:gd name="T7" fmla="*/ 0 h 104"/>
                  <a:gd name="T8" fmla="*/ 0 w 19"/>
                  <a:gd name="T9" fmla="*/ 10 h 104"/>
                  <a:gd name="T10" fmla="*/ 0 w 19"/>
                  <a:gd name="T11" fmla="*/ 94 h 104"/>
                  <a:gd name="T12" fmla="*/ 10 w 19"/>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9" h="104">
                    <a:moveTo>
                      <a:pt x="10" y="104"/>
                    </a:moveTo>
                    <a:cubicBezTo>
                      <a:pt x="15" y="104"/>
                      <a:pt x="19" y="100"/>
                      <a:pt x="19" y="94"/>
                    </a:cubicBezTo>
                    <a:cubicBezTo>
                      <a:pt x="19" y="10"/>
                      <a:pt x="19" y="10"/>
                      <a:pt x="19" y="10"/>
                    </a:cubicBezTo>
                    <a:cubicBezTo>
                      <a:pt x="19" y="5"/>
                      <a:pt x="15" y="0"/>
                      <a:pt x="10" y="0"/>
                    </a:cubicBezTo>
                    <a:cubicBezTo>
                      <a:pt x="4" y="0"/>
                      <a:pt x="0" y="5"/>
                      <a:pt x="0" y="10"/>
                    </a:cubicBezTo>
                    <a:cubicBezTo>
                      <a:pt x="0" y="94"/>
                      <a:pt x="0" y="94"/>
                      <a:pt x="0" y="94"/>
                    </a:cubicBezTo>
                    <a:cubicBezTo>
                      <a:pt x="0" y="100"/>
                      <a:pt x="4" y="104"/>
                      <a:pt x="1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grpSp>
        <p:sp>
          <p:nvSpPr>
            <p:cNvPr id="230" name="TextBox 229">
              <a:extLst>
                <a:ext uri="{FF2B5EF4-FFF2-40B4-BE49-F238E27FC236}">
                  <a16:creationId xmlns:a16="http://schemas.microsoft.com/office/drawing/2014/main" id="{CC02DCF0-0FD3-4DB8-B2B9-07CEFB6DB829}"/>
                </a:ext>
              </a:extLst>
            </p:cNvPr>
            <p:cNvSpPr txBox="1"/>
            <p:nvPr/>
          </p:nvSpPr>
          <p:spPr>
            <a:xfrm>
              <a:off x="13749942" y="3624518"/>
              <a:ext cx="1152312" cy="485830"/>
            </a:xfrm>
            <a:prstGeom prst="rect">
              <a:avLst/>
            </a:prstGeom>
            <a:noFill/>
          </p:spPr>
          <p:txBody>
            <a:bodyPr wrap="none" lIns="87867" tIns="43934" rIns="87867" bIns="43934" rtlCol="0">
              <a:spAutoFit/>
            </a:bodyPr>
            <a:lstStyle/>
            <a:p>
              <a:pPr marL="0" marR="0" lvl="0" indent="0" algn="ctr" defTabSz="877852" eaLnBrk="1" fontAlgn="auto" latinLnBrk="0" hangingPunct="1">
                <a:lnSpc>
                  <a:spcPct val="90000"/>
                </a:lnSpc>
                <a:spcBef>
                  <a:spcPts val="0"/>
                </a:spcBef>
                <a:spcAft>
                  <a:spcPts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1"/>
                  </a:gradFill>
                  <a:effectLst/>
                  <a:uLnTx/>
                  <a:uFillTx/>
                </a:rPr>
                <a:t>Staging and</a:t>
              </a:r>
              <a:br>
                <a:rPr kumimoji="0" lang="en-US" sz="1371" b="0" i="0" u="none" strike="noStrike" kern="0" cap="none" spc="0" normalizeH="0" baseline="0" noProof="0">
                  <a:ln>
                    <a:noFill/>
                  </a:ln>
                  <a:gradFill>
                    <a:gsLst>
                      <a:gs pos="0">
                        <a:srgbClr val="FFFFFF"/>
                      </a:gs>
                      <a:gs pos="100000">
                        <a:srgbClr val="FFFFFF"/>
                      </a:gs>
                    </a:gsLst>
                    <a:lin ang="5400000" scaled="1"/>
                  </a:gradFill>
                  <a:effectLst/>
                  <a:uLnTx/>
                  <a:uFillTx/>
                </a:rPr>
              </a:br>
              <a:r>
                <a:rPr kumimoji="0" lang="en-US" sz="1371" b="0" i="0" u="none" strike="noStrike" kern="0" cap="none" spc="0" normalizeH="0" baseline="0" noProof="0">
                  <a:ln>
                    <a:noFill/>
                  </a:ln>
                  <a:gradFill>
                    <a:gsLst>
                      <a:gs pos="0">
                        <a:srgbClr val="FFFFFF"/>
                      </a:gs>
                      <a:gs pos="100000">
                        <a:srgbClr val="FFFFFF"/>
                      </a:gs>
                    </a:gsLst>
                    <a:lin ang="5400000" scaled="1"/>
                  </a:gradFill>
                  <a:effectLst/>
                  <a:uLnTx/>
                  <a:uFillTx/>
                </a:rPr>
                <a:t>deployment</a:t>
              </a:r>
            </a:p>
          </p:txBody>
        </p:sp>
      </p:grpSp>
      <p:grpSp>
        <p:nvGrpSpPr>
          <p:cNvPr id="251" name="Group 250">
            <a:extLst>
              <a:ext uri="{FF2B5EF4-FFF2-40B4-BE49-F238E27FC236}">
                <a16:creationId xmlns:a16="http://schemas.microsoft.com/office/drawing/2014/main" id="{4EF39C07-138B-4C35-9B3E-E18BB0CDD833}"/>
              </a:ext>
            </a:extLst>
          </p:cNvPr>
          <p:cNvGrpSpPr/>
          <p:nvPr/>
        </p:nvGrpSpPr>
        <p:grpSpPr>
          <a:xfrm>
            <a:off x="6204275" y="2789933"/>
            <a:ext cx="1704724" cy="1245099"/>
            <a:chOff x="6328698" y="2832588"/>
            <a:chExt cx="1739154" cy="1270246"/>
          </a:xfrm>
        </p:grpSpPr>
        <p:sp>
          <p:nvSpPr>
            <p:cNvPr id="252" name="TextBox 251">
              <a:extLst>
                <a:ext uri="{FF2B5EF4-FFF2-40B4-BE49-F238E27FC236}">
                  <a16:creationId xmlns:a16="http://schemas.microsoft.com/office/drawing/2014/main" id="{29340071-5AC0-4BDE-9945-7A4C462C50C3}"/>
                </a:ext>
              </a:extLst>
            </p:cNvPr>
            <p:cNvSpPr txBox="1"/>
            <p:nvPr/>
          </p:nvSpPr>
          <p:spPr>
            <a:xfrm>
              <a:off x="6328698" y="3624518"/>
              <a:ext cx="1739154" cy="478316"/>
            </a:xfrm>
            <a:prstGeom prst="rect">
              <a:avLst/>
            </a:prstGeom>
            <a:noFill/>
          </p:spPr>
          <p:txBody>
            <a:bodyPr wrap="none" lIns="87867" tIns="43934" rIns="87867" bIns="43934" rtlCol="0">
              <a:spAutoFit/>
            </a:bodyPr>
            <a:lstStyle/>
            <a:p>
              <a:pPr marL="0" marR="0" lvl="0" indent="0" algn="ctr" defTabSz="877852" eaLnBrk="1" fontAlgn="auto" latinLnBrk="0" hangingPunct="1">
                <a:lnSpc>
                  <a:spcPct val="90000"/>
                </a:lnSpc>
                <a:spcBef>
                  <a:spcPts val="0"/>
                </a:spcBef>
                <a:spcAft>
                  <a:spcPts val="0"/>
                </a:spcAft>
                <a:buClrTx/>
                <a:buSzTx/>
                <a:buFontTx/>
                <a:buNone/>
                <a:tabLst/>
                <a:defRPr/>
              </a:pPr>
              <a:r>
                <a:rPr kumimoji="0" lang="en-US" sz="1345" b="0" i="0" u="none" strike="noStrike" kern="0" cap="none" spc="0" normalizeH="0" baseline="0" noProof="0">
                  <a:ln>
                    <a:noFill/>
                  </a:ln>
                  <a:gradFill>
                    <a:gsLst>
                      <a:gs pos="0">
                        <a:srgbClr val="FFFFFF"/>
                      </a:gs>
                      <a:gs pos="100000">
                        <a:srgbClr val="FFFFFF"/>
                      </a:gs>
                    </a:gsLst>
                    <a:lin ang="5400000" scaled="1"/>
                  </a:gradFill>
                  <a:effectLst/>
                  <a:uLnTx/>
                  <a:uFillTx/>
                </a:rPr>
                <a:t>High availability</a:t>
              </a:r>
              <a:br>
                <a:rPr kumimoji="0" lang="en-US" sz="1345" b="0" i="0" u="none" strike="noStrike" kern="0" cap="none" spc="0" normalizeH="0" baseline="0" noProof="0">
                  <a:ln>
                    <a:noFill/>
                  </a:ln>
                  <a:gradFill>
                    <a:gsLst>
                      <a:gs pos="0">
                        <a:srgbClr val="FFFFFF"/>
                      </a:gs>
                      <a:gs pos="100000">
                        <a:srgbClr val="FFFFFF"/>
                      </a:gs>
                    </a:gsLst>
                    <a:lin ang="5400000" scaled="1"/>
                  </a:gradFill>
                  <a:effectLst/>
                  <a:uLnTx/>
                  <a:uFillTx/>
                </a:rPr>
              </a:br>
              <a:r>
                <a:rPr kumimoji="0" lang="en-US" sz="1345" b="0" i="0" u="none" strike="noStrike" kern="0" cap="none" spc="0" normalizeH="0" baseline="0" noProof="0">
                  <a:ln>
                    <a:noFill/>
                  </a:ln>
                  <a:gradFill>
                    <a:gsLst>
                      <a:gs pos="0">
                        <a:srgbClr val="FFFFFF"/>
                      </a:gs>
                      <a:gs pos="100000">
                        <a:srgbClr val="FFFFFF"/>
                      </a:gs>
                    </a:gsLst>
                    <a:lin ang="5400000" scaled="1"/>
                  </a:gradFill>
                  <a:effectLst/>
                  <a:uLnTx/>
                  <a:uFillTx/>
                </a:rPr>
                <a:t>with auto-patching </a:t>
              </a:r>
            </a:p>
          </p:txBody>
        </p:sp>
        <p:grpSp>
          <p:nvGrpSpPr>
            <p:cNvPr id="253" name="Group 538">
              <a:extLst>
                <a:ext uri="{FF2B5EF4-FFF2-40B4-BE49-F238E27FC236}">
                  <a16:creationId xmlns:a16="http://schemas.microsoft.com/office/drawing/2014/main" id="{DFD31812-E783-4489-AEF2-C4A66D8F5B4C}"/>
                </a:ext>
              </a:extLst>
            </p:cNvPr>
            <p:cNvGrpSpPr>
              <a:grpSpLocks noChangeAspect="1"/>
            </p:cNvGrpSpPr>
            <p:nvPr/>
          </p:nvGrpSpPr>
          <p:grpSpPr bwMode="auto">
            <a:xfrm>
              <a:off x="6905017" y="2832588"/>
              <a:ext cx="586516" cy="642047"/>
              <a:chOff x="6703" y="2838"/>
              <a:chExt cx="169" cy="185"/>
            </a:xfrm>
          </p:grpSpPr>
          <p:sp>
            <p:nvSpPr>
              <p:cNvPr id="254" name="Line 539">
                <a:extLst>
                  <a:ext uri="{FF2B5EF4-FFF2-40B4-BE49-F238E27FC236}">
                    <a16:creationId xmlns:a16="http://schemas.microsoft.com/office/drawing/2014/main" id="{AFA65647-A97D-468B-82D6-33FE9931291C}"/>
                  </a:ext>
                </a:extLst>
              </p:cNvPr>
              <p:cNvSpPr>
                <a:spLocks noChangeShapeType="1"/>
              </p:cNvSpPr>
              <p:nvPr/>
            </p:nvSpPr>
            <p:spPr bwMode="auto">
              <a:xfrm>
                <a:off x="6803" y="2967"/>
                <a:ext cx="4" cy="10"/>
              </a:xfrm>
              <a:prstGeom prst="line">
                <a:avLst/>
              </a:prstGeom>
              <a:noFill/>
              <a:ln w="412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255" name="Line 540">
                <a:extLst>
                  <a:ext uri="{FF2B5EF4-FFF2-40B4-BE49-F238E27FC236}">
                    <a16:creationId xmlns:a16="http://schemas.microsoft.com/office/drawing/2014/main" id="{BC657138-47D4-4AEA-8D55-56CC52088E11}"/>
                  </a:ext>
                </a:extLst>
              </p:cNvPr>
              <p:cNvSpPr>
                <a:spLocks noChangeShapeType="1"/>
              </p:cNvSpPr>
              <p:nvPr/>
            </p:nvSpPr>
            <p:spPr bwMode="auto">
              <a:xfrm>
                <a:off x="6768" y="2884"/>
                <a:ext cx="4" cy="12"/>
              </a:xfrm>
              <a:prstGeom prst="line">
                <a:avLst/>
              </a:prstGeom>
              <a:noFill/>
              <a:ln w="412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256" name="Line 541">
                <a:extLst>
                  <a:ext uri="{FF2B5EF4-FFF2-40B4-BE49-F238E27FC236}">
                    <a16:creationId xmlns:a16="http://schemas.microsoft.com/office/drawing/2014/main" id="{A9B80C77-94AF-48BA-ABD3-212B4B362792}"/>
                  </a:ext>
                </a:extLst>
              </p:cNvPr>
              <p:cNvSpPr>
                <a:spLocks noChangeShapeType="1"/>
              </p:cNvSpPr>
              <p:nvPr/>
            </p:nvSpPr>
            <p:spPr bwMode="auto">
              <a:xfrm flipH="1">
                <a:off x="6768" y="2967"/>
                <a:ext cx="4" cy="10"/>
              </a:xfrm>
              <a:prstGeom prst="line">
                <a:avLst/>
              </a:prstGeom>
              <a:noFill/>
              <a:ln w="412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257" name="Line 542">
                <a:extLst>
                  <a:ext uri="{FF2B5EF4-FFF2-40B4-BE49-F238E27FC236}">
                    <a16:creationId xmlns:a16="http://schemas.microsoft.com/office/drawing/2014/main" id="{A480AD5D-FB9A-4AF5-9379-AC76A8035861}"/>
                  </a:ext>
                </a:extLst>
              </p:cNvPr>
              <p:cNvSpPr>
                <a:spLocks noChangeShapeType="1"/>
              </p:cNvSpPr>
              <p:nvPr/>
            </p:nvSpPr>
            <p:spPr bwMode="auto">
              <a:xfrm flipH="1">
                <a:off x="6803" y="2884"/>
                <a:ext cx="4" cy="12"/>
              </a:xfrm>
              <a:prstGeom prst="line">
                <a:avLst/>
              </a:prstGeom>
              <a:noFill/>
              <a:ln w="412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258" name="Line 543">
                <a:extLst>
                  <a:ext uri="{FF2B5EF4-FFF2-40B4-BE49-F238E27FC236}">
                    <a16:creationId xmlns:a16="http://schemas.microsoft.com/office/drawing/2014/main" id="{3DD63FB1-6AC1-4969-9A00-53C84D8A3C89}"/>
                  </a:ext>
                </a:extLst>
              </p:cNvPr>
              <p:cNvSpPr>
                <a:spLocks noChangeShapeType="1"/>
              </p:cNvSpPr>
              <p:nvPr/>
            </p:nvSpPr>
            <p:spPr bwMode="auto">
              <a:xfrm>
                <a:off x="6824" y="2946"/>
                <a:ext cx="10" cy="4"/>
              </a:xfrm>
              <a:prstGeom prst="line">
                <a:avLst/>
              </a:prstGeom>
              <a:noFill/>
              <a:ln w="412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259" name="Line 544">
                <a:extLst>
                  <a:ext uri="{FF2B5EF4-FFF2-40B4-BE49-F238E27FC236}">
                    <a16:creationId xmlns:a16="http://schemas.microsoft.com/office/drawing/2014/main" id="{C4BF47E5-A284-4DAD-BD64-E9976C6FFE16}"/>
                  </a:ext>
                </a:extLst>
              </p:cNvPr>
              <p:cNvSpPr>
                <a:spLocks noChangeShapeType="1"/>
              </p:cNvSpPr>
              <p:nvPr/>
            </p:nvSpPr>
            <p:spPr bwMode="auto">
              <a:xfrm>
                <a:off x="6741" y="2911"/>
                <a:ext cx="10" cy="6"/>
              </a:xfrm>
              <a:prstGeom prst="line">
                <a:avLst/>
              </a:prstGeom>
              <a:noFill/>
              <a:ln w="412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260" name="Line 545">
                <a:extLst>
                  <a:ext uri="{FF2B5EF4-FFF2-40B4-BE49-F238E27FC236}">
                    <a16:creationId xmlns:a16="http://schemas.microsoft.com/office/drawing/2014/main" id="{274F4523-081E-43D2-A2FD-BD813569165D}"/>
                  </a:ext>
                </a:extLst>
              </p:cNvPr>
              <p:cNvSpPr>
                <a:spLocks noChangeShapeType="1"/>
              </p:cNvSpPr>
              <p:nvPr/>
            </p:nvSpPr>
            <p:spPr bwMode="auto">
              <a:xfrm flipV="1">
                <a:off x="6824" y="2911"/>
                <a:ext cx="10" cy="6"/>
              </a:xfrm>
              <a:prstGeom prst="line">
                <a:avLst/>
              </a:prstGeom>
              <a:noFill/>
              <a:ln w="412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261" name="Line 546">
                <a:extLst>
                  <a:ext uri="{FF2B5EF4-FFF2-40B4-BE49-F238E27FC236}">
                    <a16:creationId xmlns:a16="http://schemas.microsoft.com/office/drawing/2014/main" id="{95E96E8A-B9FD-4D78-9EB6-F9FF3098431C}"/>
                  </a:ext>
                </a:extLst>
              </p:cNvPr>
              <p:cNvSpPr>
                <a:spLocks noChangeShapeType="1"/>
              </p:cNvSpPr>
              <p:nvPr/>
            </p:nvSpPr>
            <p:spPr bwMode="auto">
              <a:xfrm flipV="1">
                <a:off x="6741" y="2946"/>
                <a:ext cx="10" cy="4"/>
              </a:xfrm>
              <a:prstGeom prst="line">
                <a:avLst/>
              </a:prstGeom>
              <a:noFill/>
              <a:ln w="412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262" name="Oval 547">
                <a:extLst>
                  <a:ext uri="{FF2B5EF4-FFF2-40B4-BE49-F238E27FC236}">
                    <a16:creationId xmlns:a16="http://schemas.microsoft.com/office/drawing/2014/main" id="{B00D8679-40D0-4083-84E9-989F47878800}"/>
                  </a:ext>
                </a:extLst>
              </p:cNvPr>
              <p:cNvSpPr>
                <a:spLocks noChangeArrowheads="1"/>
              </p:cNvSpPr>
              <p:nvPr/>
            </p:nvSpPr>
            <p:spPr bwMode="auto">
              <a:xfrm>
                <a:off x="6753" y="2896"/>
                <a:ext cx="69" cy="71"/>
              </a:xfrm>
              <a:prstGeom prst="ellipse">
                <a:avLst/>
              </a:prstGeom>
              <a:noFill/>
              <a:ln w="412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263" name="Freeform 548">
                <a:extLst>
                  <a:ext uri="{FF2B5EF4-FFF2-40B4-BE49-F238E27FC236}">
                    <a16:creationId xmlns:a16="http://schemas.microsoft.com/office/drawing/2014/main" id="{E9BD3241-1E95-4FC7-A432-29262E957E1F}"/>
                  </a:ext>
                </a:extLst>
              </p:cNvPr>
              <p:cNvSpPr>
                <a:spLocks/>
              </p:cNvSpPr>
              <p:nvPr/>
            </p:nvSpPr>
            <p:spPr bwMode="auto">
              <a:xfrm>
                <a:off x="6703" y="2849"/>
                <a:ext cx="61" cy="165"/>
              </a:xfrm>
              <a:custGeom>
                <a:avLst/>
                <a:gdLst>
                  <a:gd name="T0" fmla="*/ 32 w 32"/>
                  <a:gd name="T1" fmla="*/ 85 h 85"/>
                  <a:gd name="T2" fmla="*/ 0 w 32"/>
                  <a:gd name="T3" fmla="*/ 42 h 85"/>
                  <a:gd name="T4" fmla="*/ 32 w 32"/>
                  <a:gd name="T5" fmla="*/ 0 h 85"/>
                </a:gdLst>
                <a:ahLst/>
                <a:cxnLst>
                  <a:cxn ang="0">
                    <a:pos x="T0" y="T1"/>
                  </a:cxn>
                  <a:cxn ang="0">
                    <a:pos x="T2" y="T3"/>
                  </a:cxn>
                  <a:cxn ang="0">
                    <a:pos x="T4" y="T5"/>
                  </a:cxn>
                </a:cxnLst>
                <a:rect l="0" t="0" r="r" b="b"/>
                <a:pathLst>
                  <a:path w="32" h="85">
                    <a:moveTo>
                      <a:pt x="32" y="85"/>
                    </a:moveTo>
                    <a:cubicBezTo>
                      <a:pt x="14" y="79"/>
                      <a:pt x="0" y="62"/>
                      <a:pt x="0" y="42"/>
                    </a:cubicBezTo>
                    <a:cubicBezTo>
                      <a:pt x="0" y="22"/>
                      <a:pt x="14" y="5"/>
                      <a:pt x="32" y="0"/>
                    </a:cubicBezTo>
                  </a:path>
                </a:pathLst>
              </a:custGeom>
              <a:noFill/>
              <a:ln w="412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264" name="Freeform 549">
                <a:extLst>
                  <a:ext uri="{FF2B5EF4-FFF2-40B4-BE49-F238E27FC236}">
                    <a16:creationId xmlns:a16="http://schemas.microsoft.com/office/drawing/2014/main" id="{71400C39-288F-4DC7-A9A0-29BC1036AD50}"/>
                  </a:ext>
                </a:extLst>
              </p:cNvPr>
              <p:cNvSpPr>
                <a:spLocks/>
              </p:cNvSpPr>
              <p:nvPr/>
            </p:nvSpPr>
            <p:spPr bwMode="auto">
              <a:xfrm>
                <a:off x="6811" y="2849"/>
                <a:ext cx="61" cy="165"/>
              </a:xfrm>
              <a:custGeom>
                <a:avLst/>
                <a:gdLst>
                  <a:gd name="T0" fmla="*/ 0 w 32"/>
                  <a:gd name="T1" fmla="*/ 0 h 85"/>
                  <a:gd name="T2" fmla="*/ 32 w 32"/>
                  <a:gd name="T3" fmla="*/ 42 h 85"/>
                  <a:gd name="T4" fmla="*/ 0 w 32"/>
                  <a:gd name="T5" fmla="*/ 85 h 85"/>
                </a:gdLst>
                <a:ahLst/>
                <a:cxnLst>
                  <a:cxn ang="0">
                    <a:pos x="T0" y="T1"/>
                  </a:cxn>
                  <a:cxn ang="0">
                    <a:pos x="T2" y="T3"/>
                  </a:cxn>
                  <a:cxn ang="0">
                    <a:pos x="T4" y="T5"/>
                  </a:cxn>
                </a:cxnLst>
                <a:rect l="0" t="0" r="r" b="b"/>
                <a:pathLst>
                  <a:path w="32" h="85">
                    <a:moveTo>
                      <a:pt x="0" y="0"/>
                    </a:moveTo>
                    <a:cubicBezTo>
                      <a:pt x="18" y="5"/>
                      <a:pt x="32" y="22"/>
                      <a:pt x="32" y="42"/>
                    </a:cubicBezTo>
                    <a:cubicBezTo>
                      <a:pt x="32" y="62"/>
                      <a:pt x="18" y="79"/>
                      <a:pt x="0" y="85"/>
                    </a:cubicBezTo>
                  </a:path>
                </a:pathLst>
              </a:custGeom>
              <a:noFill/>
              <a:ln w="412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265" name="Freeform 550">
                <a:extLst>
                  <a:ext uri="{FF2B5EF4-FFF2-40B4-BE49-F238E27FC236}">
                    <a16:creationId xmlns:a16="http://schemas.microsoft.com/office/drawing/2014/main" id="{02967996-DD41-456A-A5AA-04DFA7CCF054}"/>
                  </a:ext>
                </a:extLst>
              </p:cNvPr>
              <p:cNvSpPr>
                <a:spLocks/>
              </p:cNvSpPr>
              <p:nvPr/>
            </p:nvSpPr>
            <p:spPr bwMode="auto">
              <a:xfrm>
                <a:off x="6811" y="2838"/>
                <a:ext cx="28" cy="38"/>
              </a:xfrm>
              <a:custGeom>
                <a:avLst/>
                <a:gdLst>
                  <a:gd name="T0" fmla="*/ 7 w 28"/>
                  <a:gd name="T1" fmla="*/ 38 h 38"/>
                  <a:gd name="T2" fmla="*/ 0 w 28"/>
                  <a:gd name="T3" fmla="*/ 7 h 38"/>
                  <a:gd name="T4" fmla="*/ 28 w 28"/>
                  <a:gd name="T5" fmla="*/ 0 h 38"/>
                </a:gdLst>
                <a:ahLst/>
                <a:cxnLst>
                  <a:cxn ang="0">
                    <a:pos x="T0" y="T1"/>
                  </a:cxn>
                  <a:cxn ang="0">
                    <a:pos x="T2" y="T3"/>
                  </a:cxn>
                  <a:cxn ang="0">
                    <a:pos x="T4" y="T5"/>
                  </a:cxn>
                </a:cxnLst>
                <a:rect l="0" t="0" r="r" b="b"/>
                <a:pathLst>
                  <a:path w="28" h="38">
                    <a:moveTo>
                      <a:pt x="7" y="38"/>
                    </a:moveTo>
                    <a:lnTo>
                      <a:pt x="0" y="7"/>
                    </a:lnTo>
                    <a:lnTo>
                      <a:pt x="28" y="0"/>
                    </a:lnTo>
                  </a:path>
                </a:pathLst>
              </a:custGeom>
              <a:noFill/>
              <a:ln w="412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sp>
            <p:nvSpPr>
              <p:cNvPr id="266" name="Freeform 551">
                <a:extLst>
                  <a:ext uri="{FF2B5EF4-FFF2-40B4-BE49-F238E27FC236}">
                    <a16:creationId xmlns:a16="http://schemas.microsoft.com/office/drawing/2014/main" id="{D9E67CB6-5FB4-4481-8B5C-8E8869DD1FF9}"/>
                  </a:ext>
                </a:extLst>
              </p:cNvPr>
              <p:cNvSpPr>
                <a:spLocks/>
              </p:cNvSpPr>
              <p:nvPr/>
            </p:nvSpPr>
            <p:spPr bwMode="auto">
              <a:xfrm>
                <a:off x="6735" y="2985"/>
                <a:ext cx="29" cy="38"/>
              </a:xfrm>
              <a:custGeom>
                <a:avLst/>
                <a:gdLst>
                  <a:gd name="T0" fmla="*/ 22 w 29"/>
                  <a:gd name="T1" fmla="*/ 0 h 38"/>
                  <a:gd name="T2" fmla="*/ 29 w 29"/>
                  <a:gd name="T3" fmla="*/ 31 h 38"/>
                  <a:gd name="T4" fmla="*/ 0 w 29"/>
                  <a:gd name="T5" fmla="*/ 38 h 38"/>
                </a:gdLst>
                <a:ahLst/>
                <a:cxnLst>
                  <a:cxn ang="0">
                    <a:pos x="T0" y="T1"/>
                  </a:cxn>
                  <a:cxn ang="0">
                    <a:pos x="T2" y="T3"/>
                  </a:cxn>
                  <a:cxn ang="0">
                    <a:pos x="T4" y="T5"/>
                  </a:cxn>
                </a:cxnLst>
                <a:rect l="0" t="0" r="r" b="b"/>
                <a:pathLst>
                  <a:path w="29" h="38">
                    <a:moveTo>
                      <a:pt x="22" y="0"/>
                    </a:moveTo>
                    <a:lnTo>
                      <a:pt x="29" y="31"/>
                    </a:lnTo>
                    <a:lnTo>
                      <a:pt x="0" y="38"/>
                    </a:lnTo>
                  </a:path>
                </a:pathLst>
              </a:custGeom>
              <a:noFill/>
              <a:ln w="412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grpSp>
      </p:grpSp>
    </p:spTree>
    <p:extLst>
      <p:ext uri="{BB962C8B-B14F-4D97-AF65-F5344CB8AC3E}">
        <p14:creationId xmlns:p14="http://schemas.microsoft.com/office/powerpoint/2010/main" val="11665552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216"/>
                                        </p:tgtEl>
                                        <p:attrNameLst>
                                          <p:attrName>style.visibility</p:attrName>
                                        </p:attrNameLst>
                                      </p:cBhvr>
                                      <p:to>
                                        <p:strVal val="visible"/>
                                      </p:to>
                                    </p:set>
                                    <p:animEffect transition="in" filter="fade">
                                      <p:cBhvr>
                                        <p:cTn id="7" dur="500"/>
                                        <p:tgtEl>
                                          <p:spTgt spid="216"/>
                                        </p:tgtEl>
                                      </p:cBhvr>
                                    </p:animEffect>
                                  </p:childTnLst>
                                </p:cTn>
                              </p:par>
                              <p:par>
                                <p:cTn id="8" presetID="35" presetClass="path" presetSubtype="0" decel="100000" fill="hold" nodeType="withEffect">
                                  <p:stCondLst>
                                    <p:cond delay="200"/>
                                  </p:stCondLst>
                                  <p:childTnLst>
                                    <p:animMotion origin="layout" path="M 2.77556E-17 -3.7037E-6 L 2.77556E-17 0.02616 " pathEditMode="relative" rAng="0" ptsTypes="AA">
                                      <p:cBhvr>
                                        <p:cTn id="9" dur="500" spd="-100000" fill="hold"/>
                                        <p:tgtEl>
                                          <p:spTgt spid="216"/>
                                        </p:tgtEl>
                                        <p:attrNameLst>
                                          <p:attrName>ppt_x</p:attrName>
                                          <p:attrName>ppt_y</p:attrName>
                                        </p:attrNameLst>
                                      </p:cBhvr>
                                      <p:rCtr x="0" y="1296"/>
                                    </p:animMotion>
                                  </p:childTnLst>
                                </p:cTn>
                              </p:par>
                              <p:par>
                                <p:cTn id="10" presetID="10" presetClass="entr" presetSubtype="0" fill="hold" nodeType="withEffect">
                                  <p:stCondLst>
                                    <p:cond delay="300"/>
                                  </p:stCondLst>
                                  <p:childTnLst>
                                    <p:set>
                                      <p:cBhvr>
                                        <p:cTn id="11" dur="1" fill="hold">
                                          <p:stCondLst>
                                            <p:cond delay="0"/>
                                          </p:stCondLst>
                                        </p:cTn>
                                        <p:tgtEl>
                                          <p:spTgt spid="219"/>
                                        </p:tgtEl>
                                        <p:attrNameLst>
                                          <p:attrName>style.visibility</p:attrName>
                                        </p:attrNameLst>
                                      </p:cBhvr>
                                      <p:to>
                                        <p:strVal val="visible"/>
                                      </p:to>
                                    </p:set>
                                    <p:animEffect transition="in" filter="fade">
                                      <p:cBhvr>
                                        <p:cTn id="12" dur="500"/>
                                        <p:tgtEl>
                                          <p:spTgt spid="219"/>
                                        </p:tgtEl>
                                      </p:cBhvr>
                                    </p:animEffect>
                                  </p:childTnLst>
                                </p:cTn>
                              </p:par>
                              <p:par>
                                <p:cTn id="13" presetID="35" presetClass="path" presetSubtype="0" decel="100000" fill="hold" nodeType="withEffect">
                                  <p:stCondLst>
                                    <p:cond delay="300"/>
                                  </p:stCondLst>
                                  <p:childTnLst>
                                    <p:animMotion origin="layout" path="M 2.77556E-17 -3.7037E-6 L 2.77556E-17 0.02616 " pathEditMode="relative" rAng="0" ptsTypes="AA">
                                      <p:cBhvr>
                                        <p:cTn id="14" dur="500" spd="-100000" fill="hold"/>
                                        <p:tgtEl>
                                          <p:spTgt spid="219"/>
                                        </p:tgtEl>
                                        <p:attrNameLst>
                                          <p:attrName>ppt_x</p:attrName>
                                          <p:attrName>ppt_y</p:attrName>
                                        </p:attrNameLst>
                                      </p:cBhvr>
                                      <p:rCtr x="0" y="1296"/>
                                    </p:animMotion>
                                  </p:childTnLst>
                                </p:cTn>
                              </p:par>
                              <p:par>
                                <p:cTn id="15" presetID="10" presetClass="entr" presetSubtype="0" fill="hold" nodeType="withEffect">
                                  <p:stCondLst>
                                    <p:cond delay="400"/>
                                  </p:stCondLst>
                                  <p:childTnLst>
                                    <p:set>
                                      <p:cBhvr>
                                        <p:cTn id="16" dur="1" fill="hold">
                                          <p:stCondLst>
                                            <p:cond delay="0"/>
                                          </p:stCondLst>
                                        </p:cTn>
                                        <p:tgtEl>
                                          <p:spTgt spid="198"/>
                                        </p:tgtEl>
                                        <p:attrNameLst>
                                          <p:attrName>style.visibility</p:attrName>
                                        </p:attrNameLst>
                                      </p:cBhvr>
                                      <p:to>
                                        <p:strVal val="visible"/>
                                      </p:to>
                                    </p:set>
                                    <p:animEffect transition="in" filter="fade">
                                      <p:cBhvr>
                                        <p:cTn id="17" dur="500"/>
                                        <p:tgtEl>
                                          <p:spTgt spid="198"/>
                                        </p:tgtEl>
                                      </p:cBhvr>
                                    </p:animEffect>
                                  </p:childTnLst>
                                </p:cTn>
                              </p:par>
                              <p:par>
                                <p:cTn id="18" presetID="35" presetClass="path" presetSubtype="0" decel="100000" fill="hold" nodeType="withEffect">
                                  <p:stCondLst>
                                    <p:cond delay="400"/>
                                  </p:stCondLst>
                                  <p:childTnLst>
                                    <p:animMotion origin="layout" path="M 2.77556E-17 -3.7037E-6 L 2.77556E-17 0.02616 " pathEditMode="relative" rAng="0" ptsTypes="AA">
                                      <p:cBhvr>
                                        <p:cTn id="19" dur="500" spd="-100000" fill="hold"/>
                                        <p:tgtEl>
                                          <p:spTgt spid="198"/>
                                        </p:tgtEl>
                                        <p:attrNameLst>
                                          <p:attrName>ppt_x</p:attrName>
                                          <p:attrName>ppt_y</p:attrName>
                                        </p:attrNameLst>
                                      </p:cBhvr>
                                      <p:rCtr x="0" y="1296"/>
                                    </p:animMotion>
                                  </p:childTnLst>
                                </p:cTn>
                              </p:par>
                              <p:par>
                                <p:cTn id="20" presetID="10" presetClass="entr" presetSubtype="0" fill="hold" nodeType="withEffect">
                                  <p:stCondLst>
                                    <p:cond delay="500"/>
                                  </p:stCondLst>
                                  <p:childTnLst>
                                    <p:set>
                                      <p:cBhvr>
                                        <p:cTn id="21" dur="1" fill="hold">
                                          <p:stCondLst>
                                            <p:cond delay="0"/>
                                          </p:stCondLst>
                                        </p:cTn>
                                        <p:tgtEl>
                                          <p:spTgt spid="201"/>
                                        </p:tgtEl>
                                        <p:attrNameLst>
                                          <p:attrName>style.visibility</p:attrName>
                                        </p:attrNameLst>
                                      </p:cBhvr>
                                      <p:to>
                                        <p:strVal val="visible"/>
                                      </p:to>
                                    </p:set>
                                    <p:animEffect transition="in" filter="fade">
                                      <p:cBhvr>
                                        <p:cTn id="22" dur="500"/>
                                        <p:tgtEl>
                                          <p:spTgt spid="201"/>
                                        </p:tgtEl>
                                      </p:cBhvr>
                                    </p:animEffect>
                                  </p:childTnLst>
                                </p:cTn>
                              </p:par>
                              <p:par>
                                <p:cTn id="23" presetID="35" presetClass="path" presetSubtype="0" decel="100000" fill="hold" nodeType="withEffect">
                                  <p:stCondLst>
                                    <p:cond delay="500"/>
                                  </p:stCondLst>
                                  <p:childTnLst>
                                    <p:animMotion origin="layout" path="M 2.77556E-17 -3.7037E-6 L 2.77556E-17 0.02616 " pathEditMode="relative" rAng="0" ptsTypes="AA">
                                      <p:cBhvr>
                                        <p:cTn id="24" dur="500" spd="-100000" fill="hold"/>
                                        <p:tgtEl>
                                          <p:spTgt spid="201"/>
                                        </p:tgtEl>
                                        <p:attrNameLst>
                                          <p:attrName>ppt_x</p:attrName>
                                          <p:attrName>ppt_y</p:attrName>
                                        </p:attrNameLst>
                                      </p:cBhvr>
                                      <p:rCtr x="0" y="1296"/>
                                    </p:animMotion>
                                  </p:childTnLst>
                                </p:cTn>
                              </p:par>
                              <p:par>
                                <p:cTn id="25" presetID="10" presetClass="entr" presetSubtype="0" fill="hold" nodeType="withEffect">
                                  <p:stCondLst>
                                    <p:cond delay="600"/>
                                  </p:stCondLst>
                                  <p:childTnLst>
                                    <p:set>
                                      <p:cBhvr>
                                        <p:cTn id="26" dur="1" fill="hold">
                                          <p:stCondLst>
                                            <p:cond delay="0"/>
                                          </p:stCondLst>
                                        </p:cTn>
                                        <p:tgtEl>
                                          <p:spTgt spid="222"/>
                                        </p:tgtEl>
                                        <p:attrNameLst>
                                          <p:attrName>style.visibility</p:attrName>
                                        </p:attrNameLst>
                                      </p:cBhvr>
                                      <p:to>
                                        <p:strVal val="visible"/>
                                      </p:to>
                                    </p:set>
                                    <p:animEffect transition="in" filter="fade">
                                      <p:cBhvr>
                                        <p:cTn id="27" dur="500"/>
                                        <p:tgtEl>
                                          <p:spTgt spid="222"/>
                                        </p:tgtEl>
                                      </p:cBhvr>
                                    </p:animEffect>
                                  </p:childTnLst>
                                </p:cTn>
                              </p:par>
                              <p:par>
                                <p:cTn id="28" presetID="35" presetClass="path" presetSubtype="0" decel="100000" fill="hold" nodeType="withEffect">
                                  <p:stCondLst>
                                    <p:cond delay="600"/>
                                  </p:stCondLst>
                                  <p:childTnLst>
                                    <p:animMotion origin="layout" path="M 2.77556E-17 -3.7037E-6 L 2.77556E-17 0.02616 " pathEditMode="relative" rAng="0" ptsTypes="AA">
                                      <p:cBhvr>
                                        <p:cTn id="29" dur="500" spd="-100000" fill="hold"/>
                                        <p:tgtEl>
                                          <p:spTgt spid="222"/>
                                        </p:tgtEl>
                                        <p:attrNameLst>
                                          <p:attrName>ppt_x</p:attrName>
                                          <p:attrName>ppt_y</p:attrName>
                                        </p:attrNameLst>
                                      </p:cBhvr>
                                      <p:rCtr x="0" y="1296"/>
                                    </p:animMotion>
                                  </p:childTnLst>
                                </p:cTn>
                              </p:par>
                              <p:par>
                                <p:cTn id="30" presetID="10" presetClass="entr" presetSubtype="0" fill="hold" nodeType="withEffect">
                                  <p:stCondLst>
                                    <p:cond delay="700"/>
                                  </p:stCondLst>
                                  <p:childTnLst>
                                    <p:set>
                                      <p:cBhvr>
                                        <p:cTn id="31" dur="1" fill="hold">
                                          <p:stCondLst>
                                            <p:cond delay="0"/>
                                          </p:stCondLst>
                                        </p:cTn>
                                        <p:tgtEl>
                                          <p:spTgt spid="251"/>
                                        </p:tgtEl>
                                        <p:attrNameLst>
                                          <p:attrName>style.visibility</p:attrName>
                                        </p:attrNameLst>
                                      </p:cBhvr>
                                      <p:to>
                                        <p:strVal val="visible"/>
                                      </p:to>
                                    </p:set>
                                    <p:animEffect transition="in" filter="fade">
                                      <p:cBhvr>
                                        <p:cTn id="32" dur="500"/>
                                        <p:tgtEl>
                                          <p:spTgt spid="251"/>
                                        </p:tgtEl>
                                      </p:cBhvr>
                                    </p:animEffect>
                                  </p:childTnLst>
                                </p:cTn>
                              </p:par>
                              <p:par>
                                <p:cTn id="33" presetID="35" presetClass="path" presetSubtype="0" decel="100000" fill="hold" nodeType="withEffect">
                                  <p:stCondLst>
                                    <p:cond delay="700"/>
                                  </p:stCondLst>
                                  <p:childTnLst>
                                    <p:animMotion origin="layout" path="M 7.45468E-7 -3.40445E-6 L 7.45468E-7 0.0261 " pathEditMode="relative" rAng="0" ptsTypes="AA">
                                      <p:cBhvr>
                                        <p:cTn id="34" dur="500" spd="-100000" fill="hold"/>
                                        <p:tgtEl>
                                          <p:spTgt spid="251"/>
                                        </p:tgtEl>
                                        <p:attrNameLst>
                                          <p:attrName>ppt_x</p:attrName>
                                          <p:attrName>ppt_y</p:attrName>
                                        </p:attrNameLst>
                                      </p:cBhvr>
                                      <p:rCtr x="0" y="1294"/>
                                    </p:animMotion>
                                  </p:childTnLst>
                                </p:cTn>
                              </p:par>
                              <p:par>
                                <p:cTn id="35" presetID="10" presetClass="entr" presetSubtype="0" fill="hold" nodeType="withEffect">
                                  <p:stCondLst>
                                    <p:cond delay="800"/>
                                  </p:stCondLst>
                                  <p:childTnLst>
                                    <p:set>
                                      <p:cBhvr>
                                        <p:cTn id="36" dur="1" fill="hold">
                                          <p:stCondLst>
                                            <p:cond delay="0"/>
                                          </p:stCondLst>
                                        </p:cTn>
                                        <p:tgtEl>
                                          <p:spTgt spid="204"/>
                                        </p:tgtEl>
                                        <p:attrNameLst>
                                          <p:attrName>style.visibility</p:attrName>
                                        </p:attrNameLst>
                                      </p:cBhvr>
                                      <p:to>
                                        <p:strVal val="visible"/>
                                      </p:to>
                                    </p:set>
                                    <p:animEffect transition="in" filter="fade">
                                      <p:cBhvr>
                                        <p:cTn id="37" dur="500"/>
                                        <p:tgtEl>
                                          <p:spTgt spid="204"/>
                                        </p:tgtEl>
                                      </p:cBhvr>
                                    </p:animEffect>
                                  </p:childTnLst>
                                </p:cTn>
                              </p:par>
                              <p:par>
                                <p:cTn id="38" presetID="35" presetClass="path" presetSubtype="0" decel="100000" fill="hold" nodeType="withEffect">
                                  <p:stCondLst>
                                    <p:cond delay="800"/>
                                  </p:stCondLst>
                                  <p:childTnLst>
                                    <p:animMotion origin="layout" path="M 2.20066E-6 7.17204E-7 L 2.20066E-6 0.0261 " pathEditMode="relative" rAng="0" ptsTypes="AA">
                                      <p:cBhvr>
                                        <p:cTn id="39" dur="500" spd="-100000" fill="hold"/>
                                        <p:tgtEl>
                                          <p:spTgt spid="204"/>
                                        </p:tgtEl>
                                        <p:attrNameLst>
                                          <p:attrName>ppt_x</p:attrName>
                                          <p:attrName>ppt_y</p:attrName>
                                        </p:attrNameLst>
                                      </p:cBhvr>
                                      <p:rCtr x="0" y="1294"/>
                                    </p:animMotion>
                                  </p:childTnLst>
                                </p:cTn>
                              </p:par>
                              <p:par>
                                <p:cTn id="40" presetID="10" presetClass="entr" presetSubtype="0" fill="hold" nodeType="withEffect">
                                  <p:stCondLst>
                                    <p:cond delay="900"/>
                                  </p:stCondLst>
                                  <p:childTnLst>
                                    <p:set>
                                      <p:cBhvr>
                                        <p:cTn id="41" dur="1" fill="hold">
                                          <p:stCondLst>
                                            <p:cond delay="0"/>
                                          </p:stCondLst>
                                        </p:cTn>
                                        <p:tgtEl>
                                          <p:spTgt spid="207"/>
                                        </p:tgtEl>
                                        <p:attrNameLst>
                                          <p:attrName>style.visibility</p:attrName>
                                        </p:attrNameLst>
                                      </p:cBhvr>
                                      <p:to>
                                        <p:strVal val="visible"/>
                                      </p:to>
                                    </p:set>
                                    <p:animEffect transition="in" filter="fade">
                                      <p:cBhvr>
                                        <p:cTn id="42" dur="500"/>
                                        <p:tgtEl>
                                          <p:spTgt spid="207"/>
                                        </p:tgtEl>
                                      </p:cBhvr>
                                    </p:animEffect>
                                  </p:childTnLst>
                                </p:cTn>
                              </p:par>
                              <p:par>
                                <p:cTn id="43" presetID="35" presetClass="path" presetSubtype="0" decel="100000" fill="hold" nodeType="withEffect">
                                  <p:stCondLst>
                                    <p:cond delay="900"/>
                                  </p:stCondLst>
                                  <p:childTnLst>
                                    <p:animMotion origin="layout" path="M 2.77556E-17 -3.7037E-6 L 2.77556E-17 0.02616 " pathEditMode="relative" rAng="0" ptsTypes="AA">
                                      <p:cBhvr>
                                        <p:cTn id="44" dur="500" spd="-100000" fill="hold"/>
                                        <p:tgtEl>
                                          <p:spTgt spid="207"/>
                                        </p:tgtEl>
                                        <p:attrNameLst>
                                          <p:attrName>ppt_x</p:attrName>
                                          <p:attrName>ppt_y</p:attrName>
                                        </p:attrNameLst>
                                      </p:cBhvr>
                                      <p:rCtr x="0" y="1296"/>
                                    </p:animMotion>
                                  </p:childTnLst>
                                </p:cTn>
                              </p:par>
                              <p:par>
                                <p:cTn id="45" presetID="10" presetClass="entr" presetSubtype="0" fill="hold" nodeType="withEffect">
                                  <p:stCondLst>
                                    <p:cond delay="1000"/>
                                  </p:stCondLst>
                                  <p:childTnLst>
                                    <p:set>
                                      <p:cBhvr>
                                        <p:cTn id="46" dur="1" fill="hold">
                                          <p:stCondLst>
                                            <p:cond delay="0"/>
                                          </p:stCondLst>
                                        </p:cTn>
                                        <p:tgtEl>
                                          <p:spTgt spid="225"/>
                                        </p:tgtEl>
                                        <p:attrNameLst>
                                          <p:attrName>style.visibility</p:attrName>
                                        </p:attrNameLst>
                                      </p:cBhvr>
                                      <p:to>
                                        <p:strVal val="visible"/>
                                      </p:to>
                                    </p:set>
                                    <p:animEffect transition="in" filter="fade">
                                      <p:cBhvr>
                                        <p:cTn id="47" dur="500"/>
                                        <p:tgtEl>
                                          <p:spTgt spid="225"/>
                                        </p:tgtEl>
                                      </p:cBhvr>
                                    </p:animEffect>
                                  </p:childTnLst>
                                </p:cTn>
                              </p:par>
                              <p:par>
                                <p:cTn id="48" presetID="35" presetClass="path" presetSubtype="0" decel="100000" fill="hold" nodeType="withEffect">
                                  <p:stCondLst>
                                    <p:cond delay="1000"/>
                                  </p:stCondLst>
                                  <p:childTnLst>
                                    <p:animMotion origin="layout" path="M 2.06791E-6 4.97049E-6 L 2.06791E-6 0.0261 " pathEditMode="relative" rAng="0" ptsTypes="AA">
                                      <p:cBhvr>
                                        <p:cTn id="49" dur="500" spd="-100000" fill="hold"/>
                                        <p:tgtEl>
                                          <p:spTgt spid="225"/>
                                        </p:tgtEl>
                                        <p:attrNameLst>
                                          <p:attrName>ppt_x</p:attrName>
                                          <p:attrName>ppt_y</p:attrName>
                                        </p:attrNameLst>
                                      </p:cBhvr>
                                      <p:rCtr x="0" y="1294"/>
                                    </p:animMotion>
                                  </p:childTnLst>
                                </p:cTn>
                              </p:par>
                              <p:par>
                                <p:cTn id="50" presetID="10" presetClass="entr" presetSubtype="0" fill="hold" nodeType="withEffect">
                                  <p:stCondLst>
                                    <p:cond delay="1100"/>
                                  </p:stCondLst>
                                  <p:childTnLst>
                                    <p:set>
                                      <p:cBhvr>
                                        <p:cTn id="51" dur="1" fill="hold">
                                          <p:stCondLst>
                                            <p:cond delay="0"/>
                                          </p:stCondLst>
                                        </p:cTn>
                                        <p:tgtEl>
                                          <p:spTgt spid="228"/>
                                        </p:tgtEl>
                                        <p:attrNameLst>
                                          <p:attrName>style.visibility</p:attrName>
                                        </p:attrNameLst>
                                      </p:cBhvr>
                                      <p:to>
                                        <p:strVal val="visible"/>
                                      </p:to>
                                    </p:set>
                                    <p:animEffect transition="in" filter="fade">
                                      <p:cBhvr>
                                        <p:cTn id="52" dur="500"/>
                                        <p:tgtEl>
                                          <p:spTgt spid="228"/>
                                        </p:tgtEl>
                                      </p:cBhvr>
                                    </p:animEffect>
                                  </p:childTnLst>
                                </p:cTn>
                              </p:par>
                              <p:par>
                                <p:cTn id="53" presetID="35" presetClass="path" presetSubtype="0" decel="100000" fill="hold" nodeType="withEffect">
                                  <p:stCondLst>
                                    <p:cond delay="1100"/>
                                  </p:stCondLst>
                                  <p:childTnLst>
                                    <p:animMotion origin="layout" path="M -2.22109E-6 1.54335E-7 L -2.22109E-6 0.0261 " pathEditMode="relative" rAng="0" ptsTypes="AA">
                                      <p:cBhvr>
                                        <p:cTn id="54" dur="500" spd="-100000" fill="hold"/>
                                        <p:tgtEl>
                                          <p:spTgt spid="228"/>
                                        </p:tgtEl>
                                        <p:attrNameLst>
                                          <p:attrName>ppt_x</p:attrName>
                                          <p:attrName>ppt_y</p:attrName>
                                        </p:attrNameLst>
                                      </p:cBhvr>
                                      <p:rCtr x="0" y="1294"/>
                                    </p:animMotion>
                                  </p:childTnLst>
                                </p:cTn>
                              </p:par>
                              <p:par>
                                <p:cTn id="55" presetID="10" presetClass="entr" presetSubtype="0" fill="hold" nodeType="withEffect">
                                  <p:stCondLst>
                                    <p:cond delay="1200"/>
                                  </p:stCondLst>
                                  <p:childTnLst>
                                    <p:set>
                                      <p:cBhvr>
                                        <p:cTn id="56" dur="1" fill="hold">
                                          <p:stCondLst>
                                            <p:cond delay="0"/>
                                          </p:stCondLst>
                                        </p:cTn>
                                        <p:tgtEl>
                                          <p:spTgt spid="210"/>
                                        </p:tgtEl>
                                        <p:attrNameLst>
                                          <p:attrName>style.visibility</p:attrName>
                                        </p:attrNameLst>
                                      </p:cBhvr>
                                      <p:to>
                                        <p:strVal val="visible"/>
                                      </p:to>
                                    </p:set>
                                    <p:animEffect transition="in" filter="fade">
                                      <p:cBhvr>
                                        <p:cTn id="57" dur="500"/>
                                        <p:tgtEl>
                                          <p:spTgt spid="210"/>
                                        </p:tgtEl>
                                      </p:cBhvr>
                                    </p:animEffect>
                                  </p:childTnLst>
                                </p:cTn>
                              </p:par>
                              <p:par>
                                <p:cTn id="58" presetID="35" presetClass="path" presetSubtype="0" decel="100000" fill="hold" nodeType="withEffect">
                                  <p:stCondLst>
                                    <p:cond delay="1200"/>
                                  </p:stCondLst>
                                  <p:childTnLst>
                                    <p:animMotion origin="layout" path="M -2.5785E-6 4.12165E-6 L -2.5785E-6 0.0261 " pathEditMode="relative" rAng="0" ptsTypes="AA">
                                      <p:cBhvr>
                                        <p:cTn id="59" dur="500" spd="-100000" fill="hold"/>
                                        <p:tgtEl>
                                          <p:spTgt spid="210"/>
                                        </p:tgtEl>
                                        <p:attrNameLst>
                                          <p:attrName>ppt_x</p:attrName>
                                          <p:attrName>ppt_y</p:attrName>
                                        </p:attrNameLst>
                                      </p:cBhvr>
                                      <p:rCtr x="0" y="1294"/>
                                    </p:animMotion>
                                  </p:childTnLst>
                                </p:cTn>
                              </p:par>
                              <p:par>
                                <p:cTn id="60" presetID="10" presetClass="entr" presetSubtype="0" fill="hold" nodeType="withEffect">
                                  <p:stCondLst>
                                    <p:cond delay="1300"/>
                                  </p:stCondLst>
                                  <p:childTnLst>
                                    <p:set>
                                      <p:cBhvr>
                                        <p:cTn id="61" dur="1" fill="hold">
                                          <p:stCondLst>
                                            <p:cond delay="0"/>
                                          </p:stCondLst>
                                        </p:cTn>
                                        <p:tgtEl>
                                          <p:spTgt spid="213"/>
                                        </p:tgtEl>
                                        <p:attrNameLst>
                                          <p:attrName>style.visibility</p:attrName>
                                        </p:attrNameLst>
                                      </p:cBhvr>
                                      <p:to>
                                        <p:strVal val="visible"/>
                                      </p:to>
                                    </p:set>
                                    <p:animEffect transition="in" filter="fade">
                                      <p:cBhvr>
                                        <p:cTn id="62" dur="500"/>
                                        <p:tgtEl>
                                          <p:spTgt spid="213"/>
                                        </p:tgtEl>
                                      </p:cBhvr>
                                    </p:animEffect>
                                  </p:childTnLst>
                                </p:cTn>
                              </p:par>
                              <p:par>
                                <p:cTn id="63" presetID="35" presetClass="path" presetSubtype="0" decel="100000" fill="hold" nodeType="withEffect">
                                  <p:stCondLst>
                                    <p:cond delay="1300"/>
                                  </p:stCondLst>
                                  <p:childTnLst>
                                    <p:animMotion origin="layout" path="M 2.77556E-17 -3.7037E-6 L 2.77556E-17 0.02616 " pathEditMode="relative" rAng="0" ptsTypes="AA">
                                      <p:cBhvr>
                                        <p:cTn id="64" dur="500" spd="-100000" fill="hold"/>
                                        <p:tgtEl>
                                          <p:spTgt spid="213"/>
                                        </p:tgtEl>
                                        <p:attrNameLst>
                                          <p:attrName>ppt_x</p:attrName>
                                          <p:attrName>ppt_y</p:attrName>
                                        </p:attrNameLst>
                                      </p:cBhvr>
                                      <p:rCtr x="0" y="129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4" name="Text Placeholder 3">
            <a:extLst>
              <a:ext uri="{FF2B5EF4-FFF2-40B4-BE49-F238E27FC236}">
                <a16:creationId xmlns:a16="http://schemas.microsoft.com/office/drawing/2014/main" id="{4D1E35C9-3218-43A8-852A-18030E835C9C}"/>
              </a:ext>
            </a:extLst>
          </p:cNvPr>
          <p:cNvSpPr txBox="1">
            <a:spLocks/>
          </p:cNvSpPr>
          <p:nvPr/>
        </p:nvSpPr>
        <p:spPr>
          <a:xfrm>
            <a:off x="6714204" y="1330814"/>
            <a:ext cx="5188321" cy="5099484"/>
          </a:xfrm>
          <a:prstGeom prst="rect">
            <a:avLst/>
          </a:prstGeom>
        </p:spPr>
        <p:txBody>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6346" indent="0" defTabSz="914225">
              <a:spcBef>
                <a:spcPts val="588"/>
              </a:spcBef>
              <a:spcAft>
                <a:spcPts val="588"/>
              </a:spcAft>
              <a:buSzTx/>
              <a:buNone/>
              <a:defRPr/>
            </a:pPr>
            <a:r>
              <a:rPr lang="en-US" sz="1800" dirty="0">
                <a:solidFill>
                  <a:schemeClr val="bg1"/>
                </a:solidFill>
                <a:cs typeface="Segoe UI" panose="020B0502040204020203" pitchFamily="34" charset="0"/>
              </a:rPr>
              <a:t>Get started in just a few clicks with the Azure App Service Migration Assistant</a:t>
            </a:r>
          </a:p>
          <a:p>
            <a:pPr marL="286346" indent="0" defTabSz="914225">
              <a:spcBef>
                <a:spcPts val="588"/>
              </a:spcBef>
              <a:spcAft>
                <a:spcPts val="588"/>
              </a:spcAft>
              <a:buSzTx/>
              <a:buNone/>
              <a:defRPr/>
            </a:pPr>
            <a:r>
              <a:rPr lang="en-US" sz="1800" dirty="0">
                <a:solidFill>
                  <a:schemeClr val="bg1"/>
                </a:solidFill>
                <a:cs typeface="Segoe UI" panose="020B0502040204020203" pitchFamily="34" charset="0"/>
              </a:rPr>
              <a:t>Get out of the data center business</a:t>
            </a:r>
          </a:p>
          <a:p>
            <a:pPr marL="286346" indent="0" defTabSz="914225">
              <a:spcBef>
                <a:spcPts val="588"/>
              </a:spcBef>
              <a:spcAft>
                <a:spcPts val="588"/>
              </a:spcAft>
              <a:buSzTx/>
              <a:buNone/>
              <a:defRPr/>
            </a:pPr>
            <a:r>
              <a:rPr lang="en-US" sz="1800" dirty="0">
                <a:solidFill>
                  <a:schemeClr val="bg1"/>
                </a:solidFill>
                <a:cs typeface="Segoe UI" panose="020B0502040204020203" pitchFamily="34" charset="0"/>
              </a:rPr>
              <a:t>High availability and resilience of the Azure PaaS platform</a:t>
            </a:r>
          </a:p>
          <a:p>
            <a:pPr marL="286346" indent="0" defTabSz="914225">
              <a:spcBef>
                <a:spcPts val="588"/>
              </a:spcBef>
              <a:spcAft>
                <a:spcPts val="588"/>
              </a:spcAft>
              <a:buSzTx/>
              <a:buNone/>
              <a:defRPr/>
            </a:pPr>
            <a:r>
              <a:rPr lang="en-US" sz="1800" dirty="0">
                <a:solidFill>
                  <a:schemeClr val="bg1"/>
                </a:solidFill>
                <a:cs typeface="Segoe UI" panose="020B0502040204020203" pitchFamily="34" charset="0"/>
              </a:rPr>
              <a:t>Easily deploy website monitoring to track website health and get rich diagnostics, without changing any code</a:t>
            </a:r>
          </a:p>
          <a:p>
            <a:pPr marL="286346" indent="0" defTabSz="914225">
              <a:spcBef>
                <a:spcPts val="588"/>
              </a:spcBef>
              <a:spcAft>
                <a:spcPts val="588"/>
              </a:spcAft>
              <a:buSzTx/>
              <a:buNone/>
              <a:defRPr/>
            </a:pPr>
            <a:r>
              <a:rPr lang="en-US" sz="1800" dirty="0">
                <a:solidFill>
                  <a:schemeClr val="bg1"/>
                </a:solidFill>
                <a:cs typeface="Segoe UI" panose="020B0502040204020203" pitchFamily="34" charset="0"/>
              </a:rPr>
              <a:t>Deployment slots for development and staging environments, and testing of multiple site designs</a:t>
            </a:r>
          </a:p>
          <a:p>
            <a:pPr marL="286346" indent="0" defTabSz="914225">
              <a:spcBef>
                <a:spcPts val="588"/>
              </a:spcBef>
              <a:spcAft>
                <a:spcPts val="588"/>
              </a:spcAft>
              <a:buSzTx/>
              <a:buNone/>
              <a:defRPr/>
            </a:pPr>
            <a:r>
              <a:rPr lang="en-US" sz="1800" dirty="0">
                <a:solidFill>
                  <a:schemeClr val="bg1"/>
                </a:solidFill>
                <a:cs typeface="Segoe UI" panose="020B0502040204020203" pitchFamily="34" charset="0"/>
              </a:rPr>
              <a:t>Load balancing and DDOS protection</a:t>
            </a:r>
          </a:p>
          <a:p>
            <a:pPr marL="286346" indent="0" defTabSz="914225">
              <a:spcBef>
                <a:spcPts val="588"/>
              </a:spcBef>
              <a:spcAft>
                <a:spcPts val="588"/>
              </a:spcAft>
              <a:buSzTx/>
              <a:buNone/>
              <a:defRPr/>
            </a:pPr>
            <a:r>
              <a:rPr lang="en-US" sz="1800" dirty="0">
                <a:solidFill>
                  <a:schemeClr val="bg1"/>
                </a:solidFill>
                <a:cs typeface="Segoe UI" panose="020B0502040204020203" pitchFamily="34" charset="0"/>
              </a:rPr>
              <a:t>Traffic management to direct users to the closest geographic deployment</a:t>
            </a:r>
          </a:p>
          <a:p>
            <a:pPr marL="286346" indent="0" defTabSz="914225">
              <a:spcBef>
                <a:spcPts val="588"/>
              </a:spcBef>
              <a:spcAft>
                <a:spcPts val="588"/>
              </a:spcAft>
              <a:buSzTx/>
              <a:buNone/>
              <a:defRPr/>
            </a:pPr>
            <a:r>
              <a:rPr lang="en-US" sz="1800" dirty="0">
                <a:solidFill>
                  <a:schemeClr val="bg1"/>
                </a:solidFill>
                <a:cs typeface="Segoe UI" panose="020B0502040204020203" pitchFamily="34" charset="0"/>
              </a:rPr>
              <a:t>Reduce TCO by ~35% on average</a:t>
            </a:r>
          </a:p>
        </p:txBody>
      </p:sp>
      <p:sp>
        <p:nvSpPr>
          <p:cNvPr id="32" name="Title 31">
            <a:extLst>
              <a:ext uri="{FF2B5EF4-FFF2-40B4-BE49-F238E27FC236}">
                <a16:creationId xmlns:a16="http://schemas.microsoft.com/office/drawing/2014/main" id="{AAAE57F8-F7CA-4473-A98A-7D0DDDF0A11B}"/>
              </a:ext>
            </a:extLst>
          </p:cNvPr>
          <p:cNvSpPr>
            <a:spLocks noGrp="1"/>
          </p:cNvSpPr>
          <p:nvPr>
            <p:ph type="title"/>
          </p:nvPr>
        </p:nvSpPr>
        <p:spPr>
          <a:xfrm>
            <a:off x="269239" y="179310"/>
            <a:ext cx="10523087" cy="756465"/>
          </a:xfrm>
        </p:spPr>
        <p:txBody>
          <a:bodyPr>
            <a:normAutofit fontScale="90000"/>
          </a:bodyPr>
          <a:lstStyle/>
          <a:p>
            <a:r>
              <a:rPr lang="en-US" dirty="0"/>
              <a:t>Benefits of moving to App Service</a:t>
            </a:r>
          </a:p>
        </p:txBody>
      </p:sp>
      <p:sp>
        <p:nvSpPr>
          <p:cNvPr id="49" name="Rectangle 48">
            <a:extLst>
              <a:ext uri="{FF2B5EF4-FFF2-40B4-BE49-F238E27FC236}">
                <a16:creationId xmlns:a16="http://schemas.microsoft.com/office/drawing/2014/main" id="{12583DF1-D11C-4977-A4FD-99EAA39BDB77}"/>
              </a:ext>
            </a:extLst>
          </p:cNvPr>
          <p:cNvSpPr/>
          <p:nvPr/>
        </p:nvSpPr>
        <p:spPr bwMode="auto">
          <a:xfrm>
            <a:off x="787581" y="1476500"/>
            <a:ext cx="6186061" cy="4828333"/>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16" descr="Image result for server icon">
            <a:extLst>
              <a:ext uri="{FF2B5EF4-FFF2-40B4-BE49-F238E27FC236}">
                <a16:creationId xmlns:a16="http://schemas.microsoft.com/office/drawing/2014/main" id="{5094EA5E-F03C-486E-96E1-F3BF04012CEE}"/>
              </a:ext>
            </a:extLst>
          </p:cNvPr>
          <p:cNvPicPr>
            <a:picLocks noChangeAspect="1" noChangeArrowheads="1"/>
          </p:cNvPicPr>
          <p:nvPr/>
        </p:nvPicPr>
        <p:blipFill>
          <a:blip r:embed="rId3">
            <a:biLevel thresh="75000"/>
            <a:extLst>
              <a:ext uri="{28A0092B-C50C-407E-A947-70E740481C1C}">
                <a14:useLocalDpi xmlns:a14="http://schemas.microsoft.com/office/drawing/2010/main" val="0"/>
              </a:ext>
            </a:extLst>
          </a:blip>
          <a:srcRect/>
          <a:stretch>
            <a:fillRect/>
          </a:stretch>
        </p:blipFill>
        <p:spPr bwMode="auto">
          <a:xfrm>
            <a:off x="1796273" y="2138679"/>
            <a:ext cx="504208" cy="504208"/>
          </a:xfrm>
          <a:prstGeom prst="rect">
            <a:avLst/>
          </a:prstGeom>
          <a:noFill/>
          <a:extLst>
            <a:ext uri="{909E8E84-426E-40DD-AFC4-6F175D3DCCD1}">
              <a14:hiddenFill xmlns:a14="http://schemas.microsoft.com/office/drawing/2010/main">
                <a:solidFill>
                  <a:srgbClr val="FFFFFF"/>
                </a:solidFill>
              </a14:hiddenFill>
            </a:ext>
          </a:extLst>
        </p:spPr>
      </p:pic>
      <p:sp>
        <p:nvSpPr>
          <p:cNvPr id="51" name="Rectangle 50">
            <a:extLst>
              <a:ext uri="{FF2B5EF4-FFF2-40B4-BE49-F238E27FC236}">
                <a16:creationId xmlns:a16="http://schemas.microsoft.com/office/drawing/2014/main" id="{230A2241-B9B8-481C-ADB9-05B0B27D0301}"/>
              </a:ext>
            </a:extLst>
          </p:cNvPr>
          <p:cNvSpPr/>
          <p:nvPr/>
        </p:nvSpPr>
        <p:spPr>
          <a:xfrm>
            <a:off x="1357932" y="2680805"/>
            <a:ext cx="1380891" cy="348429"/>
          </a:xfrm>
          <a:prstGeom prst="rect">
            <a:avLst/>
          </a:prstGeom>
        </p:spPr>
        <p:txBody>
          <a:bodyPr wrap="none">
            <a:spAutoFit/>
          </a:bodyPr>
          <a:lstStyle/>
          <a:p>
            <a:pPr algn="ctr" defTabSz="951156">
              <a:defRPr/>
            </a:pPr>
            <a:r>
              <a:rPr lang="en-US" sz="1664">
                <a:solidFill>
                  <a:prstClr val="black"/>
                </a:solidFill>
                <a:cs typeface="Segoe UI" panose="020B0502040204020203" pitchFamily="34" charset="0"/>
              </a:rPr>
              <a:t>On-Premises</a:t>
            </a:r>
          </a:p>
        </p:txBody>
      </p:sp>
      <p:pic>
        <p:nvPicPr>
          <p:cNvPr id="52" name="Picture 8" descr="Image result for .NET">
            <a:extLst>
              <a:ext uri="{FF2B5EF4-FFF2-40B4-BE49-F238E27FC236}">
                <a16:creationId xmlns:a16="http://schemas.microsoft.com/office/drawing/2014/main" id="{C0D24A10-6C11-4798-840F-3BD9124C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30105" y="3258388"/>
            <a:ext cx="636544" cy="636544"/>
          </a:xfrm>
          <a:prstGeom prst="rect">
            <a:avLst/>
          </a:prstGeom>
          <a:noFill/>
          <a:extLst>
            <a:ext uri="{909E8E84-426E-40DD-AFC4-6F175D3DCCD1}">
              <a14:hiddenFill xmlns:a14="http://schemas.microsoft.com/office/drawing/2010/main">
                <a:solidFill>
                  <a:srgbClr val="FFFFFF"/>
                </a:solidFill>
              </a14:hiddenFill>
            </a:ext>
          </a:extLst>
        </p:spPr>
      </p:pic>
      <p:sp>
        <p:nvSpPr>
          <p:cNvPr id="53" name="Flowchart: Magnetic Disk 52">
            <a:extLst>
              <a:ext uri="{FF2B5EF4-FFF2-40B4-BE49-F238E27FC236}">
                <a16:creationId xmlns:a16="http://schemas.microsoft.com/office/drawing/2014/main" id="{B06F98D6-608A-4D99-BD28-1F102BE743B1}"/>
              </a:ext>
            </a:extLst>
          </p:cNvPr>
          <p:cNvSpPr/>
          <p:nvPr/>
        </p:nvSpPr>
        <p:spPr>
          <a:xfrm>
            <a:off x="2469534" y="3258389"/>
            <a:ext cx="717390" cy="632278"/>
          </a:xfrm>
          <a:prstGeom prst="flowChartMagneticDisk">
            <a:avLst/>
          </a:prstGeom>
          <a:solidFill>
            <a:srgbClr val="860000"/>
          </a:solidFill>
          <a:ln w="10795" cap="flat" cmpd="sng" algn="ctr">
            <a:solidFill>
              <a:srgbClr val="FFFFFF"/>
            </a:solidFill>
            <a:prstDash val="solid"/>
          </a:ln>
          <a:effectLst/>
        </p:spPr>
        <p:txBody>
          <a:bodyPr rtlCol="0" anchor="ctr"/>
          <a:lstStyle/>
          <a:p>
            <a:pPr marL="0" marR="0" lvl="0" indent="0" algn="ctr" defTabSz="951156" eaLnBrk="1" fontAlgn="auto" latinLnBrk="0" hangingPunct="1">
              <a:lnSpc>
                <a:spcPct val="100000"/>
              </a:lnSpc>
              <a:spcBef>
                <a:spcPts val="0"/>
              </a:spcBef>
              <a:spcAft>
                <a:spcPts val="0"/>
              </a:spcAft>
              <a:buClrTx/>
              <a:buSzTx/>
              <a:buFontTx/>
              <a:buNone/>
              <a:tabLst/>
              <a:defRPr/>
            </a:pPr>
            <a:r>
              <a:rPr kumimoji="0" lang="en-US" sz="936"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Relational Database</a:t>
            </a:r>
          </a:p>
        </p:txBody>
      </p:sp>
      <p:pic>
        <p:nvPicPr>
          <p:cNvPr id="54" name="Picture 4" descr="Image result for Windows Server logo">
            <a:extLst>
              <a:ext uri="{FF2B5EF4-FFF2-40B4-BE49-F238E27FC236}">
                <a16:creationId xmlns:a16="http://schemas.microsoft.com/office/drawing/2014/main" id="{ABF17230-1FA0-41DF-AFD8-899FFA66443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4919" t="-3146" r="39847" b="30280"/>
          <a:stretch/>
        </p:blipFill>
        <p:spPr bwMode="auto">
          <a:xfrm>
            <a:off x="860355" y="3217424"/>
            <a:ext cx="776293" cy="654712"/>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8" descr="Image result for .NET">
            <a:extLst>
              <a:ext uri="{FF2B5EF4-FFF2-40B4-BE49-F238E27FC236}">
                <a16:creationId xmlns:a16="http://schemas.microsoft.com/office/drawing/2014/main" id="{B988A06D-6175-4A55-AB90-1CDF74E92B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32832" y="3212202"/>
            <a:ext cx="636544" cy="636544"/>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8" descr="Image result for Azure icon">
            <a:extLst>
              <a:ext uri="{FF2B5EF4-FFF2-40B4-BE49-F238E27FC236}">
                <a16:creationId xmlns:a16="http://schemas.microsoft.com/office/drawing/2014/main" id="{EB1F1482-2CCE-49AB-B94F-9EAC791C0DF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57796" y="2055402"/>
            <a:ext cx="786617" cy="600620"/>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CFB82D19-5166-45D7-9C27-566C2FE3F502}"/>
              </a:ext>
            </a:extLst>
          </p:cNvPr>
          <p:cNvSpPr/>
          <p:nvPr/>
        </p:nvSpPr>
        <p:spPr>
          <a:xfrm>
            <a:off x="5030806" y="2693864"/>
            <a:ext cx="1240596" cy="348429"/>
          </a:xfrm>
          <a:prstGeom prst="rect">
            <a:avLst/>
          </a:prstGeom>
        </p:spPr>
        <p:txBody>
          <a:bodyPr wrap="none">
            <a:spAutoFit/>
          </a:bodyPr>
          <a:lstStyle/>
          <a:p>
            <a:pPr algn="ctr" defTabSz="951156">
              <a:defRPr/>
            </a:pPr>
            <a:r>
              <a:rPr lang="en-US" sz="1664">
                <a:solidFill>
                  <a:prstClr val="black"/>
                </a:solidFill>
                <a:cs typeface="Segoe UI" panose="020B0502040204020203" pitchFamily="34" charset="0"/>
              </a:rPr>
              <a:t>PaaS Cloud</a:t>
            </a:r>
          </a:p>
        </p:txBody>
      </p:sp>
      <p:pic>
        <p:nvPicPr>
          <p:cNvPr id="58" name="Picture 2" descr="Image result for &quot;SQL Server&quot; icon">
            <a:extLst>
              <a:ext uri="{FF2B5EF4-FFF2-40B4-BE49-F238E27FC236}">
                <a16:creationId xmlns:a16="http://schemas.microsoft.com/office/drawing/2014/main" id="{F68F0D0D-CA3A-422D-BCA5-F1B510A82A1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8847" r="28533"/>
          <a:stretch/>
        </p:blipFill>
        <p:spPr bwMode="auto">
          <a:xfrm>
            <a:off x="6052064" y="3195205"/>
            <a:ext cx="520567" cy="641248"/>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4E9D775E-872E-410B-BFFB-CD7229BE58E0}"/>
              </a:ext>
            </a:extLst>
          </p:cNvPr>
          <p:cNvSpPr/>
          <p:nvPr/>
        </p:nvSpPr>
        <p:spPr>
          <a:xfrm>
            <a:off x="879076" y="4147888"/>
            <a:ext cx="2429024" cy="844002"/>
          </a:xfrm>
          <a:prstGeom prst="rect">
            <a:avLst/>
          </a:prstGeom>
        </p:spPr>
        <p:txBody>
          <a:bodyPr wrap="none">
            <a:spAutoFit/>
          </a:bodyPr>
          <a:lstStyle/>
          <a:p>
            <a:pPr defTabSz="951156">
              <a:spcBef>
                <a:spcPts val="624"/>
              </a:spcBef>
            </a:pPr>
            <a:r>
              <a:rPr lang="en-US" sz="1248">
                <a:solidFill>
                  <a:prstClr val="black"/>
                </a:solidFill>
                <a:latin typeface="Segoe UI Light" panose="020B0502040204020203" pitchFamily="34" charset="0"/>
                <a:cs typeface="Segoe UI Light" panose="020B0502040204020203" pitchFamily="34" charset="0"/>
              </a:rPr>
              <a:t>Using:</a:t>
            </a:r>
          </a:p>
          <a:p>
            <a:pPr defTabSz="951156">
              <a:spcBef>
                <a:spcPts val="624"/>
              </a:spcBef>
            </a:pPr>
            <a:r>
              <a:rPr lang="en-US" sz="1248">
                <a:solidFill>
                  <a:prstClr val="black"/>
                </a:solidFill>
                <a:cs typeface="Segoe UI" panose="020B0502040204020203" pitchFamily="34" charset="0"/>
              </a:rPr>
              <a:t>Servers or VMs on-premises</a:t>
            </a:r>
          </a:p>
          <a:p>
            <a:pPr defTabSz="951156">
              <a:spcBef>
                <a:spcPts val="624"/>
              </a:spcBef>
            </a:pPr>
            <a:r>
              <a:rPr lang="en-US" sz="1248">
                <a:solidFill>
                  <a:prstClr val="black"/>
                </a:solidFill>
                <a:cs typeface="Segoe UI" panose="020B0502040204020203" pitchFamily="34" charset="0"/>
              </a:rPr>
              <a:t>SQL Server, Oracle, MySQL, etc.</a:t>
            </a:r>
          </a:p>
        </p:txBody>
      </p:sp>
      <p:sp>
        <p:nvSpPr>
          <p:cNvPr id="60" name="Rectangle 59">
            <a:extLst>
              <a:ext uri="{FF2B5EF4-FFF2-40B4-BE49-F238E27FC236}">
                <a16:creationId xmlns:a16="http://schemas.microsoft.com/office/drawing/2014/main" id="{F1298146-6B00-4E72-9C19-43B634A4381A}"/>
              </a:ext>
            </a:extLst>
          </p:cNvPr>
          <p:cNvSpPr/>
          <p:nvPr/>
        </p:nvSpPr>
        <p:spPr>
          <a:xfrm>
            <a:off x="4410466" y="4161023"/>
            <a:ext cx="2238562" cy="553357"/>
          </a:xfrm>
          <a:prstGeom prst="rect">
            <a:avLst/>
          </a:prstGeom>
        </p:spPr>
        <p:txBody>
          <a:bodyPr wrap="none">
            <a:spAutoFit/>
          </a:bodyPr>
          <a:lstStyle/>
          <a:p>
            <a:pPr defTabSz="951156">
              <a:spcBef>
                <a:spcPts val="624"/>
              </a:spcBef>
            </a:pPr>
            <a:r>
              <a:rPr lang="en-US" sz="1248">
                <a:solidFill>
                  <a:prstClr val="black"/>
                </a:solidFill>
                <a:latin typeface="Segoe UI Light" panose="020B0502040204020203" pitchFamily="34" charset="0"/>
                <a:cs typeface="Segoe UI Light" panose="020B0502040204020203" pitchFamily="34" charset="0"/>
              </a:rPr>
              <a:t>Using:</a:t>
            </a:r>
          </a:p>
          <a:p>
            <a:pPr defTabSz="951156">
              <a:spcBef>
                <a:spcPts val="624"/>
              </a:spcBef>
            </a:pPr>
            <a:r>
              <a:rPr lang="en-US" sz="1248">
                <a:solidFill>
                  <a:prstClr val="black"/>
                </a:solidFill>
                <a:cs typeface="Segoe UI" panose="020B0502040204020203" pitchFamily="34" charset="0"/>
              </a:rPr>
              <a:t>Azure App Service Web Apps</a:t>
            </a:r>
          </a:p>
        </p:txBody>
      </p:sp>
      <p:cxnSp>
        <p:nvCxnSpPr>
          <p:cNvPr id="61" name="Straight Arrow Connector 60">
            <a:extLst>
              <a:ext uri="{FF2B5EF4-FFF2-40B4-BE49-F238E27FC236}">
                <a16:creationId xmlns:a16="http://schemas.microsoft.com/office/drawing/2014/main" id="{DEA89DEF-9BA2-4671-8F81-153435CB8142}"/>
              </a:ext>
            </a:extLst>
          </p:cNvPr>
          <p:cNvCxnSpPr/>
          <p:nvPr/>
        </p:nvCxnSpPr>
        <p:spPr>
          <a:xfrm>
            <a:off x="3512476" y="3529942"/>
            <a:ext cx="741082" cy="0"/>
          </a:xfrm>
          <a:prstGeom prst="straightConnector1">
            <a:avLst/>
          </a:prstGeom>
          <a:noFill/>
          <a:ln w="38100" cap="flat" cmpd="sng" algn="ctr">
            <a:solidFill>
              <a:srgbClr val="505050"/>
            </a:solidFill>
            <a:prstDash val="solid"/>
            <a:headEnd type="none"/>
            <a:tailEnd type="triangle" w="lg" len="med"/>
          </a:ln>
          <a:effectLst/>
        </p:spPr>
      </p:cxnSp>
      <p:pic>
        <p:nvPicPr>
          <p:cNvPr id="62" name="Picture 4" descr="Image result for azure app service logo">
            <a:extLst>
              <a:ext uri="{FF2B5EF4-FFF2-40B4-BE49-F238E27FC236}">
                <a16:creationId xmlns:a16="http://schemas.microsoft.com/office/drawing/2014/main" id="{B9F54378-58E4-483A-92A0-86E198E6667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60523" y="3201077"/>
            <a:ext cx="1267273" cy="6653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98716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P spid="53" grpId="0" animBg="1"/>
      <p:bldP spid="57" grpId="0"/>
      <p:bldP spid="59" grpId="0"/>
      <p:bldP spid="60"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E4B7C1DD-857C-4D03-AAB3-C5C95BD51A8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3" y="321176"/>
            <a:ext cx="7500831" cy="5896743"/>
          </a:xfrm>
          <a:prstGeom prst="rect">
            <a:avLst/>
          </a:prstGeom>
          <a:solidFill>
            <a:schemeClr val="tx1">
              <a:alpha val="15000"/>
            </a:schemeClr>
          </a:solidFill>
          <a:ln w="127000" cap="sq" cmpd="thinThick">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5816D21F-6DEF-44B6-84CF-23A2DBD71514}"/>
              </a:ext>
            </a:extLst>
          </p:cNvPr>
          <p:cNvSpPr>
            <a:spLocks noGrp="1"/>
          </p:cNvSpPr>
          <p:nvPr>
            <p:ph type="title"/>
          </p:nvPr>
        </p:nvSpPr>
        <p:spPr>
          <a:xfrm>
            <a:off x="821516" y="640263"/>
            <a:ext cx="6713140" cy="1344975"/>
          </a:xfrm>
        </p:spPr>
        <p:txBody>
          <a:bodyPr vert="horz" lIns="91440" tIns="45720" rIns="91440" bIns="45720" rtlCol="0" anchor="ctr">
            <a:normAutofit/>
          </a:bodyPr>
          <a:lstStyle/>
          <a:p>
            <a:pPr>
              <a:lnSpc>
                <a:spcPct val="90000"/>
              </a:lnSpc>
              <a:spcBef>
                <a:spcPct val="0"/>
              </a:spcBef>
            </a:pPr>
            <a:r>
              <a:rPr lang="en-US" sz="4000">
                <a:solidFill>
                  <a:schemeClr val="tx1"/>
                </a:solidFill>
              </a:rPr>
              <a:t>Migrate to App Service:</a:t>
            </a:r>
            <a:br>
              <a:rPr lang="en-US" sz="4000">
                <a:solidFill>
                  <a:schemeClr val="tx1"/>
                </a:solidFill>
              </a:rPr>
            </a:br>
            <a:r>
              <a:rPr lang="en-US" sz="4000">
                <a:solidFill>
                  <a:schemeClr val="tx1"/>
                </a:solidFill>
              </a:rPr>
              <a:t>Assess your migration</a:t>
            </a:r>
          </a:p>
        </p:txBody>
      </p:sp>
      <p:pic>
        <p:nvPicPr>
          <p:cNvPr id="20" name="Picture 19">
            <a:extLst>
              <a:ext uri="{FF2B5EF4-FFF2-40B4-BE49-F238E27FC236}">
                <a16:creationId xmlns:a16="http://schemas.microsoft.com/office/drawing/2014/main" id="{E62E3A3C-0B62-4AF1-979B-17C6FD518BC8}"/>
              </a:ext>
            </a:extLst>
          </p:cNvPr>
          <p:cNvPicPr>
            <a:picLocks noChangeAspect="1"/>
          </p:cNvPicPr>
          <p:nvPr/>
        </p:nvPicPr>
        <p:blipFill>
          <a:blip r:embed="rId3"/>
          <a:stretch>
            <a:fillRect/>
          </a:stretch>
        </p:blipFill>
        <p:spPr>
          <a:xfrm>
            <a:off x="8119870" y="360575"/>
            <a:ext cx="3752090" cy="1650919"/>
          </a:xfrm>
          <a:prstGeom prst="rect">
            <a:avLst/>
          </a:prstGeom>
        </p:spPr>
      </p:pic>
      <p:sp>
        <p:nvSpPr>
          <p:cNvPr id="7" name="Text Placeholder 6">
            <a:extLst>
              <a:ext uri="{FF2B5EF4-FFF2-40B4-BE49-F238E27FC236}">
                <a16:creationId xmlns:a16="http://schemas.microsoft.com/office/drawing/2014/main" id="{FB81FB55-D4CA-4192-BEC7-D29CC703D82F}"/>
              </a:ext>
            </a:extLst>
          </p:cNvPr>
          <p:cNvSpPr>
            <a:spLocks noGrp="1"/>
          </p:cNvSpPr>
          <p:nvPr>
            <p:ph type="body" sz="quarter" idx="10"/>
          </p:nvPr>
        </p:nvSpPr>
        <p:spPr>
          <a:xfrm>
            <a:off x="821514" y="2121762"/>
            <a:ext cx="6723145" cy="3626917"/>
          </a:xfrm>
        </p:spPr>
        <p:txBody>
          <a:bodyPr vert="horz" lIns="91440" tIns="45720" rIns="91440" bIns="45720" rtlCol="0">
            <a:normAutofit/>
          </a:bodyPr>
          <a:lstStyle/>
          <a:p>
            <a:pPr marL="0">
              <a:lnSpc>
                <a:spcPct val="90000"/>
              </a:lnSpc>
            </a:pPr>
            <a:r>
              <a:rPr lang="en-US" sz="1700">
                <a:solidFill>
                  <a:schemeClr val="tx1"/>
                </a:solidFill>
              </a:rPr>
              <a:t>Assess your ASP.NET website in just a few clicks</a:t>
            </a:r>
          </a:p>
          <a:p>
            <a:pPr marL="0">
              <a:lnSpc>
                <a:spcPct val="90000"/>
              </a:lnSpc>
            </a:pPr>
            <a:r>
              <a:rPr lang="en-US" sz="1700">
                <a:solidFill>
                  <a:schemeClr val="tx1"/>
                </a:solidFill>
              </a:rPr>
              <a:t>Scan the following information on your IIS server and identify readiness for website migration to Azure App Service:</a:t>
            </a:r>
          </a:p>
          <a:p>
            <a:pPr lvl="1">
              <a:lnSpc>
                <a:spcPct val="90000"/>
              </a:lnSpc>
            </a:pPr>
            <a:r>
              <a:rPr lang="en-US" sz="1700">
                <a:solidFill>
                  <a:schemeClr val="tx1"/>
                </a:solidFill>
              </a:rPr>
              <a:t>Websites running on the IIS server</a:t>
            </a:r>
          </a:p>
          <a:p>
            <a:pPr lvl="1">
              <a:lnSpc>
                <a:spcPct val="90000"/>
              </a:lnSpc>
            </a:pPr>
            <a:r>
              <a:rPr lang="en-US" sz="1700">
                <a:solidFill>
                  <a:schemeClr val="tx1"/>
                </a:solidFill>
              </a:rPr>
              <a:t>Applications and virtual directories configured under each site</a:t>
            </a:r>
          </a:p>
          <a:p>
            <a:pPr lvl="1">
              <a:lnSpc>
                <a:spcPct val="90000"/>
              </a:lnSpc>
            </a:pPr>
            <a:r>
              <a:rPr lang="en-US" sz="1700">
                <a:solidFill>
                  <a:schemeClr val="tx1"/>
                </a:solidFill>
              </a:rPr>
              <a:t>Application pools used by the sites and their settings</a:t>
            </a:r>
          </a:p>
          <a:p>
            <a:pPr lvl="1">
              <a:lnSpc>
                <a:spcPct val="90000"/>
              </a:lnSpc>
            </a:pPr>
            <a:r>
              <a:rPr lang="en-US" sz="1700">
                <a:solidFill>
                  <a:schemeClr val="tx1"/>
                </a:solidFill>
              </a:rPr>
              <a:t>HTTP and HTTPS bindings used by the sites</a:t>
            </a:r>
          </a:p>
          <a:p>
            <a:pPr lvl="1">
              <a:lnSpc>
                <a:spcPct val="90000"/>
              </a:lnSpc>
            </a:pPr>
            <a:r>
              <a:rPr lang="en-US" sz="1700">
                <a:solidFill>
                  <a:schemeClr val="tx1"/>
                </a:solidFill>
              </a:rPr>
              <a:t>Databases defined in web.config using connectionString attribute</a:t>
            </a:r>
          </a:p>
          <a:p>
            <a:pPr marL="4445" lvl="2">
              <a:lnSpc>
                <a:spcPct val="90000"/>
              </a:lnSpc>
            </a:pPr>
            <a:r>
              <a:rPr lang="en-US" sz="1700">
                <a:solidFill>
                  <a:schemeClr val="tx1"/>
                </a:solidFill>
                <a:hlinkClick r:id="rId4"/>
              </a:rPr>
              <a:t>http://www.migratetoazure.net/</a:t>
            </a:r>
            <a:r>
              <a:rPr lang="en-US" sz="1700">
                <a:solidFill>
                  <a:schemeClr val="tx1"/>
                </a:solidFill>
              </a:rPr>
              <a:t> </a:t>
            </a:r>
          </a:p>
        </p:txBody>
      </p:sp>
      <p:pic>
        <p:nvPicPr>
          <p:cNvPr id="18" name="Content Placeholder 17">
            <a:extLst>
              <a:ext uri="{FF2B5EF4-FFF2-40B4-BE49-F238E27FC236}">
                <a16:creationId xmlns:a16="http://schemas.microsoft.com/office/drawing/2014/main" id="{2E667E34-03C0-4941-9AE8-E2363DA2E793}"/>
              </a:ext>
            </a:extLst>
          </p:cNvPr>
          <p:cNvPicPr>
            <a:picLocks noGrp="1" noChangeAspect="1"/>
          </p:cNvPicPr>
          <p:nvPr>
            <p:ph sz="half" idx="4294967295"/>
          </p:nvPr>
        </p:nvPicPr>
        <p:blipFill>
          <a:blip r:embed="rId5"/>
          <a:stretch>
            <a:fillRect/>
          </a:stretch>
        </p:blipFill>
        <p:spPr>
          <a:xfrm>
            <a:off x="8129873" y="2575678"/>
            <a:ext cx="3742087" cy="1365861"/>
          </a:xfrm>
          <a:prstGeom prst="rect">
            <a:avLst/>
          </a:prstGeom>
        </p:spPr>
      </p:pic>
      <p:pic>
        <p:nvPicPr>
          <p:cNvPr id="22" name="Picture 21">
            <a:extLst>
              <a:ext uri="{FF2B5EF4-FFF2-40B4-BE49-F238E27FC236}">
                <a16:creationId xmlns:a16="http://schemas.microsoft.com/office/drawing/2014/main" id="{B6F1DCFF-6B48-4E22-97C9-28BDA3F9F853}"/>
              </a:ext>
            </a:extLst>
          </p:cNvPr>
          <p:cNvPicPr>
            <a:picLocks noChangeAspect="1"/>
          </p:cNvPicPr>
          <p:nvPr/>
        </p:nvPicPr>
        <p:blipFill>
          <a:blip r:embed="rId6"/>
          <a:stretch>
            <a:fillRect/>
          </a:stretch>
        </p:blipFill>
        <p:spPr>
          <a:xfrm>
            <a:off x="8400588" y="4452055"/>
            <a:ext cx="3210662" cy="1765864"/>
          </a:xfrm>
          <a:prstGeom prst="rect">
            <a:avLst/>
          </a:prstGeom>
        </p:spPr>
      </p:pic>
    </p:spTree>
    <p:extLst>
      <p:ext uri="{BB962C8B-B14F-4D97-AF65-F5344CB8AC3E}">
        <p14:creationId xmlns:p14="http://schemas.microsoft.com/office/powerpoint/2010/main" val="97566590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8FA71-CABA-405A-84E8-F2042149A69F}"/>
              </a:ext>
            </a:extLst>
          </p:cNvPr>
          <p:cNvSpPr>
            <a:spLocks noGrp="1"/>
          </p:cNvSpPr>
          <p:nvPr>
            <p:ph type="title"/>
          </p:nvPr>
        </p:nvSpPr>
        <p:spPr>
          <a:xfrm>
            <a:off x="762001" y="803325"/>
            <a:ext cx="5314536" cy="1325563"/>
          </a:xfrm>
        </p:spPr>
        <p:txBody>
          <a:bodyPr vert="horz" lIns="91440" tIns="45720" rIns="91440" bIns="45720" rtlCol="0" anchor="ctr">
            <a:normAutofit/>
          </a:bodyPr>
          <a:lstStyle/>
          <a:p>
            <a:pPr>
              <a:lnSpc>
                <a:spcPct val="90000"/>
              </a:lnSpc>
              <a:spcBef>
                <a:spcPct val="0"/>
              </a:spcBef>
            </a:pPr>
            <a:r>
              <a:rPr lang="en-US" sz="4100">
                <a:solidFill>
                  <a:schemeClr val="tx1"/>
                </a:solidFill>
              </a:rPr>
              <a:t>Migrate to App Service: </a:t>
            </a:r>
            <a:br>
              <a:rPr lang="en-US" sz="4100">
                <a:solidFill>
                  <a:schemeClr val="tx1"/>
                </a:solidFill>
              </a:rPr>
            </a:br>
            <a:r>
              <a:rPr lang="en-US" sz="4100">
                <a:solidFill>
                  <a:schemeClr val="tx1"/>
                </a:solidFill>
              </a:rPr>
              <a:t>via Visual Studio</a:t>
            </a:r>
          </a:p>
        </p:txBody>
      </p:sp>
      <p:sp>
        <p:nvSpPr>
          <p:cNvPr id="3" name="Text Placeholder 2">
            <a:extLst>
              <a:ext uri="{FF2B5EF4-FFF2-40B4-BE49-F238E27FC236}">
                <a16:creationId xmlns:a16="http://schemas.microsoft.com/office/drawing/2014/main" id="{CB01B581-DB17-4CD2-A36A-E6A2036CBDDE}"/>
              </a:ext>
            </a:extLst>
          </p:cNvPr>
          <p:cNvSpPr>
            <a:spLocks noGrp="1"/>
          </p:cNvSpPr>
          <p:nvPr>
            <p:ph type="body" sz="quarter" idx="10"/>
          </p:nvPr>
        </p:nvSpPr>
        <p:spPr>
          <a:xfrm>
            <a:off x="762000" y="2279018"/>
            <a:ext cx="5314543" cy="3375920"/>
          </a:xfrm>
        </p:spPr>
        <p:txBody>
          <a:bodyPr vert="horz" lIns="91440" tIns="45720" rIns="91440" bIns="45720" rtlCol="0" anchor="t">
            <a:normAutofit/>
          </a:bodyPr>
          <a:lstStyle/>
          <a:p>
            <a:pPr>
              <a:lnSpc>
                <a:spcPct val="90000"/>
              </a:lnSpc>
            </a:pPr>
            <a:r>
              <a:rPr lang="en-US" sz="1700">
                <a:solidFill>
                  <a:schemeClr val="tx1"/>
                </a:solidFill>
              </a:rPr>
              <a:t>Open your existing web app</a:t>
            </a:r>
          </a:p>
          <a:p>
            <a:pPr>
              <a:lnSpc>
                <a:spcPct val="90000"/>
              </a:lnSpc>
            </a:pPr>
            <a:r>
              <a:rPr lang="en-US" sz="1700">
                <a:solidFill>
                  <a:schemeClr val="tx1"/>
                </a:solidFill>
              </a:rPr>
              <a:t>Run your application</a:t>
            </a:r>
          </a:p>
          <a:p>
            <a:pPr>
              <a:lnSpc>
                <a:spcPct val="90000"/>
              </a:lnSpc>
            </a:pPr>
            <a:r>
              <a:rPr lang="en-US" sz="1700">
                <a:solidFill>
                  <a:schemeClr val="tx1"/>
                </a:solidFill>
              </a:rPr>
              <a:t>Create an Azure web app</a:t>
            </a:r>
          </a:p>
          <a:p>
            <a:pPr>
              <a:lnSpc>
                <a:spcPct val="90000"/>
              </a:lnSpc>
            </a:pPr>
            <a:endParaRPr lang="en-US" sz="1700">
              <a:solidFill>
                <a:schemeClr val="tx1"/>
              </a:solidFill>
            </a:endParaRPr>
          </a:p>
          <a:p>
            <a:pPr marL="0">
              <a:lnSpc>
                <a:spcPct val="90000"/>
              </a:lnSpc>
            </a:pPr>
            <a:r>
              <a:rPr lang="en-US" sz="1700">
                <a:solidFill>
                  <a:schemeClr val="tx1"/>
                </a:solidFill>
              </a:rPr>
              <a:t>When you’re finished, you will have a resource group that consists of an App Service plan and an Azure web app with your existing app deployed to a web application. </a:t>
            </a:r>
          </a:p>
          <a:p>
            <a:pPr marL="0">
              <a:lnSpc>
                <a:spcPct val="90000"/>
              </a:lnSpc>
            </a:pPr>
            <a:r>
              <a:rPr lang="en-US" sz="1700">
                <a:solidFill>
                  <a:schemeClr val="tx1"/>
                </a:solidFill>
              </a:rPr>
              <a:t>You also have the option of learning how to connect this app to an Azure SQL instance.</a:t>
            </a:r>
          </a:p>
          <a:p>
            <a:pPr marL="0">
              <a:lnSpc>
                <a:spcPct val="90000"/>
              </a:lnSpc>
            </a:pPr>
            <a:r>
              <a:rPr lang="en-US" sz="1700">
                <a:solidFill>
                  <a:schemeClr val="tx1"/>
                </a:solidFill>
                <a:hlinkClick r:id="rId3"/>
              </a:rPr>
              <a:t>aka.ms/ASPmigrate</a:t>
            </a:r>
            <a:r>
              <a:rPr lang="en-US" sz="1700">
                <a:solidFill>
                  <a:schemeClr val="tx1"/>
                </a:solidFill>
              </a:rPr>
              <a:t> </a:t>
            </a:r>
          </a:p>
        </p:txBody>
      </p:sp>
      <p:sp>
        <p:nvSpPr>
          <p:cNvPr id="9" name="Freeform: Shape 8">
            <a:extLst>
              <a:ext uri="{FF2B5EF4-FFF2-40B4-BE49-F238E27FC236}">
                <a16:creationId xmlns:a16="http://schemas.microsoft.com/office/drawing/2014/main" id="{CF62D2A7-8207-488C-9F46-316BA81A16C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582780" y="-2008"/>
            <a:ext cx="5609220" cy="5840278"/>
          </a:xfrm>
          <a:custGeom>
            <a:avLst/>
            <a:gdLst>
              <a:gd name="connsiteX0" fmla="*/ 0 w 5609220"/>
              <a:gd name="connsiteY0" fmla="*/ 0 h 5840278"/>
              <a:gd name="connsiteX1" fmla="*/ 4637091 w 5609220"/>
              <a:gd name="connsiteY1" fmla="*/ 0 h 5840278"/>
              <a:gd name="connsiteX2" fmla="*/ 4822569 w 5609220"/>
              <a:gd name="connsiteY2" fmla="*/ 204077 h 5840278"/>
              <a:gd name="connsiteX3" fmla="*/ 5609220 w 5609220"/>
              <a:gd name="connsiteY3" fmla="*/ 2395363 h 5840278"/>
              <a:gd name="connsiteX4" fmla="*/ 2164305 w 5609220"/>
              <a:gd name="connsiteY4" fmla="*/ 5840278 h 5840278"/>
              <a:gd name="connsiteX5" fmla="*/ 238220 w 5609220"/>
              <a:gd name="connsiteY5" fmla="*/ 5251941 h 5840278"/>
              <a:gd name="connsiteX6" fmla="*/ 0 w 5609220"/>
              <a:gd name="connsiteY6" fmla="*/ 5073803 h 584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09220" h="5840278">
                <a:moveTo>
                  <a:pt x="0" y="0"/>
                </a:moveTo>
                <a:lnTo>
                  <a:pt x="4637091" y="0"/>
                </a:lnTo>
                <a:lnTo>
                  <a:pt x="4822569" y="204077"/>
                </a:lnTo>
                <a:cubicBezTo>
                  <a:pt x="5314007" y="799562"/>
                  <a:pt x="5609220" y="1562987"/>
                  <a:pt x="5609220" y="2395363"/>
                </a:cubicBezTo>
                <a:cubicBezTo>
                  <a:pt x="5609220" y="4297937"/>
                  <a:pt x="4066879" y="5840278"/>
                  <a:pt x="2164305" y="5840278"/>
                </a:cubicBezTo>
                <a:cubicBezTo>
                  <a:pt x="1450840" y="5840278"/>
                  <a:pt x="788032" y="5623387"/>
                  <a:pt x="238220" y="5251941"/>
                </a:cubicBezTo>
                <a:lnTo>
                  <a:pt x="0" y="5073803"/>
                </a:ln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1A610470-7F5D-4DD3-B962-EF5A556DE41D}"/>
              </a:ext>
            </a:extLst>
          </p:cNvPr>
          <p:cNvPicPr>
            <a:picLocks noChangeAspect="1"/>
          </p:cNvPicPr>
          <p:nvPr/>
        </p:nvPicPr>
        <p:blipFill rotWithShape="1">
          <a:blip r:embed="rId4"/>
          <a:srcRect b="14789"/>
          <a:stretch/>
        </p:blipFill>
        <p:spPr>
          <a:xfrm>
            <a:off x="6750141" y="-2"/>
            <a:ext cx="5441859" cy="5654940"/>
          </a:xfrm>
          <a:custGeom>
            <a:avLst/>
            <a:gdLst>
              <a:gd name="connsiteX0" fmla="*/ 1041368 w 5441859"/>
              <a:gd name="connsiteY0" fmla="*/ 0 h 5654940"/>
              <a:gd name="connsiteX1" fmla="*/ 5441859 w 5441859"/>
              <a:gd name="connsiteY1" fmla="*/ 0 h 5654940"/>
              <a:gd name="connsiteX2" fmla="*/ 5441859 w 5441859"/>
              <a:gd name="connsiteY2" fmla="*/ 4820612 h 5654940"/>
              <a:gd name="connsiteX3" fmla="*/ 5285166 w 5441859"/>
              <a:gd name="connsiteY3" fmla="*/ 4957981 h 5654940"/>
              <a:gd name="connsiteX4" fmla="*/ 3267719 w 5441859"/>
              <a:gd name="connsiteY4" fmla="*/ 5654940 h 5654940"/>
              <a:gd name="connsiteX5" fmla="*/ 0 w 5441859"/>
              <a:gd name="connsiteY5" fmla="*/ 2387221 h 5654940"/>
              <a:gd name="connsiteX6" fmla="*/ 957093 w 5441859"/>
              <a:gd name="connsiteY6" fmla="*/ 76595 h 56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1859" h="5654940">
                <a:moveTo>
                  <a:pt x="1041368" y="0"/>
                </a:moveTo>
                <a:lnTo>
                  <a:pt x="5441859" y="0"/>
                </a:lnTo>
                <a:lnTo>
                  <a:pt x="5441859" y="4820612"/>
                </a:lnTo>
                <a:lnTo>
                  <a:pt x="5285166" y="4957981"/>
                </a:lnTo>
                <a:cubicBezTo>
                  <a:pt x="4729628" y="5394557"/>
                  <a:pt x="4029081" y="5654940"/>
                  <a:pt x="3267719" y="5654940"/>
                </a:cubicBezTo>
                <a:cubicBezTo>
                  <a:pt x="1463008" y="5654940"/>
                  <a:pt x="0" y="4191932"/>
                  <a:pt x="0" y="2387221"/>
                </a:cubicBezTo>
                <a:cubicBezTo>
                  <a:pt x="0" y="1484866"/>
                  <a:pt x="365752" y="667936"/>
                  <a:pt x="957093" y="76595"/>
                </a:cubicBezTo>
                <a:close/>
              </a:path>
            </a:pathLst>
          </a:custGeom>
        </p:spPr>
      </p:pic>
    </p:spTree>
    <p:extLst>
      <p:ext uri="{BB962C8B-B14F-4D97-AF65-F5344CB8AC3E}">
        <p14:creationId xmlns:p14="http://schemas.microsoft.com/office/powerpoint/2010/main" val="4029411542"/>
      </p:ext>
    </p:extLst>
  </p:cSld>
  <p:clrMapOvr>
    <a:overrideClrMapping bg1="dk1" tx1="lt1" bg2="dk2" tx2="lt2" accent1="accent1" accent2="accent2" accent3="accent3" accent4="accent4" accent5="accent5" accent6="accent6" hlink="hlink" folHlink="folHlink"/>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16495-9453-4BFC-BCCF-2EF0C1B5FCDD}"/>
              </a:ext>
            </a:extLst>
          </p:cNvPr>
          <p:cNvSpPr>
            <a:spLocks noGrp="1"/>
          </p:cNvSpPr>
          <p:nvPr>
            <p:ph type="title"/>
          </p:nvPr>
        </p:nvSpPr>
        <p:spPr/>
        <p:txBody>
          <a:bodyPr>
            <a:normAutofit fontScale="90000"/>
          </a:bodyPr>
          <a:lstStyle/>
          <a:p>
            <a:r>
              <a:rPr lang="en-US" dirty="0"/>
              <a:t>Migrate to App Service:</a:t>
            </a:r>
            <a:br>
              <a:rPr lang="en-US" dirty="0"/>
            </a:br>
            <a:r>
              <a:rPr lang="en-US" dirty="0"/>
              <a:t>via the Azure Portal</a:t>
            </a:r>
          </a:p>
        </p:txBody>
      </p:sp>
      <p:sp>
        <p:nvSpPr>
          <p:cNvPr id="4" name="Text Placeholder 6">
            <a:extLst>
              <a:ext uri="{FF2B5EF4-FFF2-40B4-BE49-F238E27FC236}">
                <a16:creationId xmlns:a16="http://schemas.microsoft.com/office/drawing/2014/main" id="{534AF061-FC5E-4AEE-8144-E513C3540909}"/>
              </a:ext>
            </a:extLst>
          </p:cNvPr>
          <p:cNvSpPr txBox="1">
            <a:spLocks/>
          </p:cNvSpPr>
          <p:nvPr/>
        </p:nvSpPr>
        <p:spPr>
          <a:xfrm>
            <a:off x="322898" y="2188343"/>
            <a:ext cx="4890370" cy="3076227"/>
          </a:xfrm>
          <a:prstGeom prst="rect">
            <a:avLst/>
          </a:prstGeom>
        </p:spPr>
        <p:txBody>
          <a:bodyPr vert="horz" wrap="square" lIns="0" tIns="0" rIns="146304" bIns="91440" rtlCol="0" anchor="t">
            <a:spAutoFit/>
          </a:bodyPr>
          <a:lstStyle>
            <a:lvl1pPr marL="336080" marR="0" indent="-336080" algn="l" defTabSz="914192" rtl="0" eaLnBrk="1" fontAlgn="auto" latinLnBrk="0" hangingPunct="1">
              <a:lnSpc>
                <a:spcPct val="95000"/>
              </a:lnSpc>
              <a:spcBef>
                <a:spcPts val="588"/>
              </a:spcBef>
              <a:spcAft>
                <a:spcPts val="588"/>
              </a:spcAft>
              <a:buClrTx/>
              <a:buSzPct val="90000"/>
              <a:buFont typeface="Arial" pitchFamily="34" charset="0"/>
              <a:buChar char="•"/>
              <a:tabLst/>
              <a:defRPr sz="3528" kern="1200" spc="0" baseline="0">
                <a:solidFill>
                  <a:schemeClr val="bg1"/>
                </a:solidFill>
                <a:latin typeface="+mj-lt"/>
                <a:ea typeface="+mn-ea"/>
                <a:cs typeface="+mn-cs"/>
              </a:defRPr>
            </a:lvl1pPr>
            <a:lvl2pPr marL="572581" marR="0" indent="-236500" algn="l" defTabSz="914192" rtl="0" eaLnBrk="1" fontAlgn="auto" latinLnBrk="0" hangingPunct="1">
              <a:lnSpc>
                <a:spcPct val="95000"/>
              </a:lnSpc>
              <a:spcBef>
                <a:spcPts val="588"/>
              </a:spcBef>
              <a:spcAft>
                <a:spcPts val="588"/>
              </a:spcAft>
              <a:buClrTx/>
              <a:buSzPct val="90000"/>
              <a:buFont typeface="Arial" pitchFamily="34" charset="0"/>
              <a:buChar char="•"/>
              <a:tabLst/>
              <a:defRPr sz="2353" kern="1200" spc="0" baseline="0">
                <a:solidFill>
                  <a:schemeClr val="bg1"/>
                </a:solidFill>
                <a:latin typeface="+mn-lt"/>
                <a:ea typeface="+mn-ea"/>
                <a:cs typeface="+mn-cs"/>
              </a:defRPr>
            </a:lvl2pPr>
            <a:lvl3pPr marL="784187" marR="0" indent="-224054" algn="l" defTabSz="914192" rtl="0" eaLnBrk="1" fontAlgn="auto" latinLnBrk="0" hangingPunct="1">
              <a:lnSpc>
                <a:spcPct val="95000"/>
              </a:lnSpc>
              <a:spcBef>
                <a:spcPts val="588"/>
              </a:spcBef>
              <a:spcAft>
                <a:spcPts val="588"/>
              </a:spcAft>
              <a:buClrTx/>
              <a:buSzPct val="90000"/>
              <a:buFont typeface="Arial" pitchFamily="34" charset="0"/>
              <a:buChar char="•"/>
              <a:tabLst/>
              <a:defRPr sz="1961" kern="1200" spc="0" baseline="0">
                <a:solidFill>
                  <a:schemeClr val="bg1"/>
                </a:solidFill>
                <a:latin typeface="+mn-lt"/>
                <a:ea typeface="+mn-ea"/>
                <a:cs typeface="+mn-cs"/>
              </a:defRPr>
            </a:lvl3pPr>
            <a:lvl4pPr marL="1008241" marR="0" indent="-224054" algn="l" defTabSz="914192" rtl="0" eaLnBrk="1" fontAlgn="auto" latinLnBrk="0" hangingPunct="1">
              <a:lnSpc>
                <a:spcPct val="95000"/>
              </a:lnSpc>
              <a:spcBef>
                <a:spcPts val="588"/>
              </a:spcBef>
              <a:spcAft>
                <a:spcPts val="588"/>
              </a:spcAft>
              <a:buClrTx/>
              <a:buSzPct val="90000"/>
              <a:buFont typeface="Arial" pitchFamily="34" charset="0"/>
              <a:buChar char="•"/>
              <a:tabLst/>
              <a:defRPr sz="1765" kern="1200" spc="0" baseline="0">
                <a:solidFill>
                  <a:schemeClr val="bg1"/>
                </a:solidFill>
                <a:latin typeface="+mn-lt"/>
                <a:ea typeface="+mn-ea"/>
                <a:cs typeface="+mn-cs"/>
              </a:defRPr>
            </a:lvl4pPr>
            <a:lvl5pPr marL="1232294" marR="0" indent="-224054" algn="l" defTabSz="914192" rtl="0" eaLnBrk="1" fontAlgn="auto" latinLnBrk="0" hangingPunct="1">
              <a:lnSpc>
                <a:spcPct val="95000"/>
              </a:lnSpc>
              <a:spcBef>
                <a:spcPts val="588"/>
              </a:spcBef>
              <a:spcAft>
                <a:spcPts val="588"/>
              </a:spcAft>
              <a:buClrTx/>
              <a:buSzPct val="90000"/>
              <a:buFont typeface="Arial" pitchFamily="34" charset="0"/>
              <a:buChar char="•"/>
              <a:tabLst/>
              <a:defRPr sz="1765" kern="1200" spc="0" baseline="0">
                <a:solidFill>
                  <a:schemeClr val="bg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dirty="0"/>
              <a:t>Build any Azure application, on any Azure service, in less than five minutes</a:t>
            </a:r>
          </a:p>
          <a:p>
            <a:pPr lvl="1"/>
            <a:r>
              <a:rPr lang="en-US" sz="1800" dirty="0">
                <a:latin typeface="+mj-lt"/>
              </a:rPr>
              <a:t>Built-in support for popular application frameworks</a:t>
            </a:r>
          </a:p>
          <a:p>
            <a:pPr lvl="1"/>
            <a:r>
              <a:rPr lang="en-US" sz="1800" dirty="0">
                <a:latin typeface="+mj-lt"/>
              </a:rPr>
              <a:t>Automatic full CI/CD pipeline integration</a:t>
            </a:r>
          </a:p>
          <a:p>
            <a:pPr lvl="1"/>
            <a:r>
              <a:rPr lang="en-US" sz="1800" dirty="0">
                <a:latin typeface="+mj-lt"/>
              </a:rPr>
              <a:t>Built-in monitoring with Application Insights</a:t>
            </a:r>
          </a:p>
          <a:p>
            <a:pPr lvl="1"/>
            <a:r>
              <a:rPr lang="en-US" sz="1800" dirty="0">
                <a:latin typeface="+mj-lt"/>
              </a:rPr>
              <a:t>Deployment to the platform of your choice</a:t>
            </a:r>
          </a:p>
        </p:txBody>
      </p:sp>
      <p:pic>
        <p:nvPicPr>
          <p:cNvPr id="5" name="Picture 4">
            <a:extLst>
              <a:ext uri="{FF2B5EF4-FFF2-40B4-BE49-F238E27FC236}">
                <a16:creationId xmlns:a16="http://schemas.microsoft.com/office/drawing/2014/main" id="{9F29D6AA-4348-44BB-B219-BB64D0C1FDDE}"/>
              </a:ext>
            </a:extLst>
          </p:cNvPr>
          <p:cNvPicPr>
            <a:picLocks noChangeAspect="1"/>
          </p:cNvPicPr>
          <p:nvPr/>
        </p:nvPicPr>
        <p:blipFill>
          <a:blip r:embed="rId3"/>
          <a:stretch>
            <a:fillRect/>
          </a:stretch>
        </p:blipFill>
        <p:spPr>
          <a:xfrm>
            <a:off x="5712029" y="1213887"/>
            <a:ext cx="6017998" cy="3815255"/>
          </a:xfrm>
          <a:prstGeom prst="rect">
            <a:avLst/>
          </a:prstGeom>
          <a:ln>
            <a:solidFill>
              <a:schemeClr val="bg1"/>
            </a:solidFill>
          </a:ln>
        </p:spPr>
      </p:pic>
      <p:sp>
        <p:nvSpPr>
          <p:cNvPr id="12" name="Rectangle 11">
            <a:extLst>
              <a:ext uri="{FF2B5EF4-FFF2-40B4-BE49-F238E27FC236}">
                <a16:creationId xmlns:a16="http://schemas.microsoft.com/office/drawing/2014/main" id="{8197A544-1081-47DC-A10A-A45A493DCF6D}"/>
              </a:ext>
            </a:extLst>
          </p:cNvPr>
          <p:cNvSpPr/>
          <p:nvPr/>
        </p:nvSpPr>
        <p:spPr>
          <a:xfrm>
            <a:off x="6002689" y="5128282"/>
            <a:ext cx="5478483" cy="954107"/>
          </a:xfrm>
          <a:prstGeom prst="rect">
            <a:avLst/>
          </a:prstGeom>
        </p:spPr>
        <p:txBody>
          <a:bodyPr wrap="square">
            <a:spAutoFit/>
          </a:bodyPr>
          <a:lstStyle/>
          <a:p>
            <a:pPr lvl="0" eaLnBrk="0" fontAlgn="base" hangingPunct="0">
              <a:spcBef>
                <a:spcPct val="0"/>
              </a:spcBef>
              <a:spcAft>
                <a:spcPct val="0"/>
              </a:spcAft>
            </a:pPr>
            <a:r>
              <a:rPr lang="en-US" altLang="en-US" sz="1400" dirty="0">
                <a:solidFill>
                  <a:schemeClr val="bg1"/>
                </a:solidFill>
                <a:latin typeface="+mj-lt"/>
                <a:cs typeface="Segoe UI" panose="020B0502040204020203" pitchFamily="34" charset="0"/>
              </a:rPr>
              <a:t>The Azure DevOps Project presents a simplified experience which creates Azure resources and sets up a </a:t>
            </a:r>
            <a:r>
              <a:rPr lang="en-US" altLang="en-US" sz="1400">
                <a:solidFill>
                  <a:schemeClr val="bg1"/>
                </a:solidFill>
                <a:latin typeface="+mj-lt"/>
                <a:cs typeface="Segoe UI" panose="020B0502040204020203" pitchFamily="34" charset="0"/>
              </a:rPr>
              <a:t>continuous integration / continuous </a:t>
            </a:r>
            <a:r>
              <a:rPr lang="en-US" altLang="en-US" sz="1400" dirty="0">
                <a:solidFill>
                  <a:schemeClr val="bg1"/>
                </a:solidFill>
                <a:latin typeface="+mj-lt"/>
                <a:cs typeface="Segoe UI" panose="020B0502040204020203" pitchFamily="34" charset="0"/>
              </a:rPr>
              <a:t>delivery (CD) pipeline for your .NET core, ASP.NET, Node.js, Java, Python or PHP </a:t>
            </a:r>
            <a:r>
              <a:rPr lang="en-US" altLang="en-US" sz="1400" dirty="0">
                <a:solidFill>
                  <a:schemeClr val="bg1"/>
                </a:solidFill>
                <a:latin typeface="+mj-lt"/>
              </a:rPr>
              <a:t>a</a:t>
            </a:r>
            <a:r>
              <a:rPr lang="en-US" altLang="en-US" sz="1400" dirty="0">
                <a:solidFill>
                  <a:schemeClr val="bg1"/>
                </a:solidFill>
                <a:latin typeface="+mj-lt"/>
                <a:cs typeface="Segoe UI" panose="020B0502040204020203" pitchFamily="34" charset="0"/>
              </a:rPr>
              <a:t>pplications. </a:t>
            </a:r>
            <a:endParaRPr lang="en-US" altLang="en-US" sz="3200" dirty="0">
              <a:solidFill>
                <a:schemeClr val="bg1"/>
              </a:solidFill>
              <a:latin typeface="+mj-lt"/>
            </a:endParaRPr>
          </a:p>
        </p:txBody>
      </p:sp>
      <p:sp>
        <p:nvSpPr>
          <p:cNvPr id="3" name="Rectangle 2">
            <a:extLst>
              <a:ext uri="{FF2B5EF4-FFF2-40B4-BE49-F238E27FC236}">
                <a16:creationId xmlns:a16="http://schemas.microsoft.com/office/drawing/2014/main" id="{333182EE-23FF-4DEB-8E7C-DFEFE9CC30C8}"/>
              </a:ext>
            </a:extLst>
          </p:cNvPr>
          <p:cNvSpPr/>
          <p:nvPr/>
        </p:nvSpPr>
        <p:spPr>
          <a:xfrm>
            <a:off x="233546" y="5666891"/>
            <a:ext cx="5478483" cy="646331"/>
          </a:xfrm>
          <a:prstGeom prst="rect">
            <a:avLst/>
          </a:prstGeom>
        </p:spPr>
        <p:txBody>
          <a:bodyPr wrap="square">
            <a:spAutoFit/>
          </a:bodyPr>
          <a:lstStyle/>
          <a:p>
            <a:pPr marL="0" lvl="1" indent="0">
              <a:buNone/>
            </a:pPr>
            <a:r>
              <a:rPr lang="en-US" dirty="0">
                <a:hlinkClick r:id="rId4">
                  <a:extLst>
                    <a:ext uri="{A12FA001-AC4F-418D-AE19-62706E023703}">
                      <ahyp:hlinkClr xmlns:ahyp="http://schemas.microsoft.com/office/drawing/2018/hyperlinkcolor" val="tx"/>
                    </a:ext>
                  </a:extLst>
                </a:hlinkClick>
              </a:rPr>
              <a:t>https://azure.microsoft.com/en-us/features/devops-projects/</a:t>
            </a:r>
            <a:r>
              <a:rPr lang="en-US" dirty="0"/>
              <a:t>  </a:t>
            </a:r>
            <a:endParaRPr lang="en-US" dirty="0">
              <a:cs typeface="Segoe UI"/>
            </a:endParaRPr>
          </a:p>
        </p:txBody>
      </p:sp>
    </p:spTree>
    <p:extLst>
      <p:ext uri="{BB962C8B-B14F-4D97-AF65-F5344CB8AC3E}">
        <p14:creationId xmlns:p14="http://schemas.microsoft.com/office/powerpoint/2010/main" val="31124168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9B616CB9-45A9-4158-802E-4D094294260B}"/>
              </a:ext>
            </a:extLst>
          </p:cNvPr>
          <p:cNvSpPr txBox="1">
            <a:spLocks/>
          </p:cNvSpPr>
          <p:nvPr/>
        </p:nvSpPr>
        <p:spPr>
          <a:xfrm>
            <a:off x="6320106" y="4665141"/>
            <a:ext cx="4930336" cy="1796605"/>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lnSpc>
                <a:spcPct val="100000"/>
              </a:lnSpc>
              <a:spcBef>
                <a:spcPts val="0"/>
              </a:spcBef>
              <a:spcAft>
                <a:spcPts val="588"/>
              </a:spcAft>
              <a:buNone/>
            </a:pPr>
            <a:r>
              <a:rPr lang="en-US" sz="1765" b="1" dirty="0">
                <a:solidFill>
                  <a:srgbClr val="0078D7"/>
                </a:solidFill>
                <a:latin typeface="Segoe UI"/>
                <a:cs typeface="Segoe UI Light" panose="020B0502040204020203" pitchFamily="34" charset="0"/>
              </a:rPr>
              <a:t>Azure Database Migration Service  </a:t>
            </a:r>
          </a:p>
          <a:p>
            <a:pPr marL="0" lvl="1" indent="0" defTabSz="914367">
              <a:lnSpc>
                <a:spcPct val="100000"/>
              </a:lnSpc>
              <a:buNone/>
            </a:pPr>
            <a:r>
              <a:rPr lang="en-US" sz="1372" dirty="0">
                <a:solidFill>
                  <a:schemeClr val="bg2"/>
                </a:solidFill>
                <a:latin typeface="Segoe UI"/>
              </a:rPr>
              <a:t>Microsoft and non-Microsoft source support</a:t>
            </a:r>
          </a:p>
          <a:p>
            <a:pPr marL="0" lvl="1" indent="0" defTabSz="914367">
              <a:lnSpc>
                <a:spcPct val="100000"/>
              </a:lnSpc>
              <a:buNone/>
            </a:pPr>
            <a:r>
              <a:rPr lang="en-US" sz="1372" dirty="0">
                <a:solidFill>
                  <a:schemeClr val="bg2"/>
                </a:solidFill>
                <a:latin typeface="Segoe UI"/>
              </a:rPr>
              <a:t>Built for scale and reliability</a:t>
            </a:r>
          </a:p>
          <a:p>
            <a:pPr marL="0" lvl="1" indent="0" defTabSz="914367">
              <a:lnSpc>
                <a:spcPct val="100000"/>
              </a:lnSpc>
              <a:buNone/>
            </a:pPr>
            <a:r>
              <a:rPr lang="en-US" sz="1372" dirty="0">
                <a:solidFill>
                  <a:schemeClr val="bg2"/>
                </a:solidFill>
                <a:latin typeface="Segoe UI"/>
              </a:rPr>
              <a:t>Built with enterprise security and privacy </a:t>
            </a:r>
          </a:p>
          <a:p>
            <a:pPr marL="0" lvl="1" indent="0" defTabSz="914367">
              <a:lnSpc>
                <a:spcPct val="100000"/>
              </a:lnSpc>
              <a:buNone/>
            </a:pPr>
            <a:endParaRPr lang="en-US" sz="1372" dirty="0">
              <a:gradFill>
                <a:gsLst>
                  <a:gs pos="1250">
                    <a:srgbClr val="353535"/>
                  </a:gs>
                  <a:gs pos="100000">
                    <a:srgbClr val="353535"/>
                  </a:gs>
                </a:gsLst>
                <a:lin ang="5400000" scaled="0"/>
              </a:gradFill>
              <a:latin typeface="Segoe UI"/>
            </a:endParaRPr>
          </a:p>
          <a:p>
            <a:pPr marL="0" lvl="1" indent="0" defTabSz="914367">
              <a:lnSpc>
                <a:spcPct val="100000"/>
              </a:lnSpc>
              <a:buNone/>
            </a:pPr>
            <a:r>
              <a:rPr lang="en-US" sz="1372" dirty="0">
                <a:gradFill>
                  <a:gsLst>
                    <a:gs pos="1250">
                      <a:srgbClr val="353535"/>
                    </a:gs>
                    <a:gs pos="100000">
                      <a:srgbClr val="353535"/>
                    </a:gs>
                  </a:gsLst>
                  <a:lin ang="5400000" scaled="0"/>
                </a:gradFill>
                <a:hlinkClick r:id="rId3"/>
              </a:rPr>
              <a:t>https://azure.microsoft.com/en-us/services/database-migration/</a:t>
            </a:r>
            <a:endParaRPr lang="en-US" sz="1372" dirty="0">
              <a:gradFill>
                <a:gsLst>
                  <a:gs pos="1250">
                    <a:srgbClr val="353535"/>
                  </a:gs>
                  <a:gs pos="100000">
                    <a:srgbClr val="353535"/>
                  </a:gs>
                </a:gsLst>
                <a:lin ang="5400000" scaled="0"/>
              </a:gradFill>
              <a:latin typeface="Segoe UI"/>
            </a:endParaRPr>
          </a:p>
        </p:txBody>
      </p:sp>
      <p:pic>
        <p:nvPicPr>
          <p:cNvPr id="6" name="Picture 5"/>
          <p:cNvPicPr>
            <a:picLocks noChangeAspect="1"/>
          </p:cNvPicPr>
          <p:nvPr/>
        </p:nvPicPr>
        <p:blipFill>
          <a:blip r:embed="rId4"/>
          <a:stretch>
            <a:fillRect/>
          </a:stretch>
        </p:blipFill>
        <p:spPr>
          <a:xfrm>
            <a:off x="7515340" y="3119370"/>
            <a:ext cx="1365901" cy="1365901"/>
          </a:xfrm>
          <a:prstGeom prst="rect">
            <a:avLst/>
          </a:prstGeom>
        </p:spPr>
      </p:pic>
      <p:pic>
        <p:nvPicPr>
          <p:cNvPr id="8" name="Picture 7"/>
          <p:cNvPicPr>
            <a:picLocks noChangeAspect="1"/>
          </p:cNvPicPr>
          <p:nvPr/>
        </p:nvPicPr>
        <p:blipFill>
          <a:blip r:embed="rId5"/>
          <a:stretch>
            <a:fillRect/>
          </a:stretch>
        </p:blipFill>
        <p:spPr>
          <a:xfrm>
            <a:off x="2680241" y="3141918"/>
            <a:ext cx="1337192" cy="1312353"/>
          </a:xfrm>
          <a:prstGeom prst="rect">
            <a:avLst/>
          </a:prstGeom>
        </p:spPr>
      </p:pic>
      <p:grpSp>
        <p:nvGrpSpPr>
          <p:cNvPr id="9" name="Group 8">
            <a:extLst>
              <a:ext uri="{FF2B5EF4-FFF2-40B4-BE49-F238E27FC236}">
                <a16:creationId xmlns:a16="http://schemas.microsoft.com/office/drawing/2014/main" id="{EF1D0B2D-6790-4711-B6D2-CBEA2E76FE37}"/>
              </a:ext>
            </a:extLst>
          </p:cNvPr>
          <p:cNvGrpSpPr/>
          <p:nvPr/>
        </p:nvGrpSpPr>
        <p:grpSpPr>
          <a:xfrm>
            <a:off x="1061658" y="2162975"/>
            <a:ext cx="5140063" cy="672319"/>
            <a:chOff x="0" y="0"/>
            <a:chExt cx="5243132" cy="442298"/>
          </a:xfrm>
        </p:grpSpPr>
        <p:sp>
          <p:nvSpPr>
            <p:cNvPr id="10" name="Arrow: Pentagon 9">
              <a:extLst>
                <a:ext uri="{FF2B5EF4-FFF2-40B4-BE49-F238E27FC236}">
                  <a16:creationId xmlns:a16="http://schemas.microsoft.com/office/drawing/2014/main" id="{A85C7B0D-617C-468D-9760-A7C65778A6C9}"/>
                </a:ext>
              </a:extLst>
            </p:cNvPr>
            <p:cNvSpPr/>
            <p:nvPr/>
          </p:nvSpPr>
          <p:spPr>
            <a:xfrm>
              <a:off x="0" y="0"/>
              <a:ext cx="5243132" cy="442298"/>
            </a:xfrm>
            <a:prstGeom prst="homePlat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 name="Arrow: Pentagon 4">
              <a:extLst>
                <a:ext uri="{FF2B5EF4-FFF2-40B4-BE49-F238E27FC236}">
                  <a16:creationId xmlns:a16="http://schemas.microsoft.com/office/drawing/2014/main" id="{5E9EFF7C-561A-4CE4-82F5-0A7757F2D074}"/>
                </a:ext>
              </a:extLst>
            </p:cNvPr>
            <p:cNvSpPr txBox="1"/>
            <p:nvPr/>
          </p:nvSpPr>
          <p:spPr>
            <a:xfrm>
              <a:off x="0" y="0"/>
              <a:ext cx="5132558" cy="44229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4583" tIns="52291" rIns="26146" bIns="52291" numCol="1" spcCol="1270" anchor="ctr" anchorCtr="0">
              <a:noAutofit/>
            </a:bodyPr>
            <a:lstStyle/>
            <a:p>
              <a:pPr algn="ctr" defTabSz="871487">
                <a:lnSpc>
                  <a:spcPct val="90000"/>
                </a:lnSpc>
                <a:spcBef>
                  <a:spcPct val="0"/>
                </a:spcBef>
                <a:spcAft>
                  <a:spcPct val="35000"/>
                </a:spcAft>
              </a:pPr>
              <a:r>
                <a:rPr lang="en-US" sz="2353">
                  <a:solidFill>
                    <a:srgbClr val="FFFFFF"/>
                  </a:solidFill>
                  <a:latin typeface="Segoe UI"/>
                </a:rPr>
                <a:t>Assess</a:t>
              </a:r>
            </a:p>
          </p:txBody>
        </p:sp>
      </p:grpSp>
      <p:grpSp>
        <p:nvGrpSpPr>
          <p:cNvPr id="17" name="Group 16">
            <a:extLst>
              <a:ext uri="{FF2B5EF4-FFF2-40B4-BE49-F238E27FC236}">
                <a16:creationId xmlns:a16="http://schemas.microsoft.com/office/drawing/2014/main" id="{EF409823-6CE7-4EB2-94B2-C805520192A3}"/>
              </a:ext>
            </a:extLst>
          </p:cNvPr>
          <p:cNvGrpSpPr/>
          <p:nvPr/>
        </p:nvGrpSpPr>
        <p:grpSpPr>
          <a:xfrm>
            <a:off x="5919868" y="2162975"/>
            <a:ext cx="5140063" cy="672319"/>
            <a:chOff x="4201890" y="0"/>
            <a:chExt cx="5243132" cy="442298"/>
          </a:xfrm>
        </p:grpSpPr>
        <p:sp>
          <p:nvSpPr>
            <p:cNvPr id="18" name="Arrow: Chevron 17">
              <a:extLst>
                <a:ext uri="{FF2B5EF4-FFF2-40B4-BE49-F238E27FC236}">
                  <a16:creationId xmlns:a16="http://schemas.microsoft.com/office/drawing/2014/main" id="{845272F5-68F6-4AE7-AFE0-85F50487AA31}"/>
                </a:ext>
              </a:extLst>
            </p:cNvPr>
            <p:cNvSpPr/>
            <p:nvPr/>
          </p:nvSpPr>
          <p:spPr>
            <a:xfrm>
              <a:off x="4201890" y="0"/>
              <a:ext cx="5243132" cy="442298"/>
            </a:xfrm>
            <a:prstGeom prst="chevron">
              <a:avLst/>
            </a:prstGeom>
            <a:solidFill>
              <a:schemeClr val="bg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9" name="Arrow: Chevron 4">
              <a:extLst>
                <a:ext uri="{FF2B5EF4-FFF2-40B4-BE49-F238E27FC236}">
                  <a16:creationId xmlns:a16="http://schemas.microsoft.com/office/drawing/2014/main" id="{8E7E8993-A226-4EBA-89DD-813A7B8AEEB7}"/>
                </a:ext>
              </a:extLst>
            </p:cNvPr>
            <p:cNvSpPr txBox="1"/>
            <p:nvPr/>
          </p:nvSpPr>
          <p:spPr>
            <a:xfrm>
              <a:off x="4423039" y="0"/>
              <a:ext cx="4800834" cy="44229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8437" tIns="52291" rIns="26146" bIns="52291" numCol="1" spcCol="1270" anchor="ctr" anchorCtr="0">
              <a:noAutofit/>
            </a:bodyPr>
            <a:lstStyle/>
            <a:p>
              <a:pPr algn="ctr" defTabSz="871487">
                <a:lnSpc>
                  <a:spcPct val="90000"/>
                </a:lnSpc>
                <a:spcBef>
                  <a:spcPct val="0"/>
                </a:spcBef>
                <a:spcAft>
                  <a:spcPct val="35000"/>
                </a:spcAft>
              </a:pPr>
              <a:r>
                <a:rPr lang="en-US" sz="2353">
                  <a:solidFill>
                    <a:srgbClr val="FFFFFF"/>
                  </a:solidFill>
                  <a:latin typeface="Segoe UI"/>
                </a:rPr>
                <a:t>Migrate</a:t>
              </a:r>
            </a:p>
          </p:txBody>
        </p:sp>
      </p:grpSp>
      <p:sp>
        <p:nvSpPr>
          <p:cNvPr id="20" name="Text Placeholder 2">
            <a:extLst/>
          </p:cNvPr>
          <p:cNvSpPr txBox="1">
            <a:spLocks/>
          </p:cNvSpPr>
          <p:nvPr/>
        </p:nvSpPr>
        <p:spPr>
          <a:xfrm>
            <a:off x="1464472" y="4665141"/>
            <a:ext cx="4455396" cy="1796605"/>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lnSpc>
                <a:spcPct val="100000"/>
              </a:lnSpc>
              <a:spcBef>
                <a:spcPts val="0"/>
              </a:spcBef>
              <a:spcAft>
                <a:spcPts val="588"/>
              </a:spcAft>
              <a:buNone/>
            </a:pPr>
            <a:r>
              <a:rPr lang="en-US" sz="1765" b="1" dirty="0">
                <a:solidFill>
                  <a:srgbClr val="0078D7"/>
                </a:solidFill>
                <a:latin typeface="Segoe UI"/>
                <a:cs typeface="Segoe UI Light" panose="020B0502040204020203" pitchFamily="34" charset="0"/>
              </a:rPr>
              <a:t>Microsoft Data Migration Assistant  </a:t>
            </a:r>
          </a:p>
          <a:p>
            <a:pPr marL="0" lvl="1" indent="0" defTabSz="914367">
              <a:lnSpc>
                <a:spcPct val="100000"/>
              </a:lnSpc>
              <a:buNone/>
            </a:pPr>
            <a:r>
              <a:rPr lang="en-US" sz="1372" dirty="0">
                <a:solidFill>
                  <a:schemeClr val="bg2"/>
                </a:solidFill>
                <a:latin typeface="Segoe UI"/>
              </a:rPr>
              <a:t>Rich assessments at scale</a:t>
            </a:r>
          </a:p>
          <a:p>
            <a:pPr marL="0" lvl="1" indent="0" defTabSz="914367">
              <a:lnSpc>
                <a:spcPct val="100000"/>
              </a:lnSpc>
              <a:buNone/>
            </a:pPr>
            <a:r>
              <a:rPr lang="en-US" sz="1372" dirty="0">
                <a:solidFill>
                  <a:schemeClr val="bg2"/>
                </a:solidFill>
                <a:latin typeface="Segoe UI"/>
              </a:rPr>
              <a:t>Feature recommendations</a:t>
            </a:r>
          </a:p>
          <a:p>
            <a:pPr marL="0" lvl="1" indent="0" defTabSz="914367">
              <a:lnSpc>
                <a:spcPct val="100000"/>
              </a:lnSpc>
              <a:buNone/>
            </a:pPr>
            <a:r>
              <a:rPr lang="en-US" sz="1372" dirty="0">
                <a:solidFill>
                  <a:schemeClr val="bg2"/>
                </a:solidFill>
                <a:latin typeface="Segoe UI"/>
              </a:rPr>
              <a:t>Schema conversions</a:t>
            </a:r>
          </a:p>
          <a:p>
            <a:pPr marL="0" lvl="1" indent="0" defTabSz="914367">
              <a:lnSpc>
                <a:spcPct val="100000"/>
              </a:lnSpc>
              <a:buNone/>
            </a:pPr>
            <a:endParaRPr lang="en-US" sz="1372" dirty="0">
              <a:gradFill>
                <a:gsLst>
                  <a:gs pos="1250">
                    <a:srgbClr val="353535"/>
                  </a:gs>
                  <a:gs pos="100000">
                    <a:srgbClr val="353535"/>
                  </a:gs>
                </a:gsLst>
                <a:lin ang="5400000" scaled="0"/>
              </a:gradFill>
              <a:latin typeface="Segoe UI"/>
            </a:endParaRPr>
          </a:p>
          <a:p>
            <a:pPr marL="0" lvl="1" indent="0" defTabSz="914367">
              <a:lnSpc>
                <a:spcPct val="100000"/>
              </a:lnSpc>
              <a:buNone/>
            </a:pPr>
            <a:r>
              <a:rPr lang="en-US" sz="1372" dirty="0">
                <a:gradFill>
                  <a:gsLst>
                    <a:gs pos="1250">
                      <a:srgbClr val="353535"/>
                    </a:gs>
                    <a:gs pos="100000">
                      <a:srgbClr val="353535"/>
                    </a:gs>
                  </a:gsLst>
                  <a:lin ang="5400000" scaled="0"/>
                </a:gradFill>
                <a:hlinkClick r:id="rId6"/>
              </a:rPr>
              <a:t>aka.ms/</a:t>
            </a:r>
            <a:r>
              <a:rPr lang="en-US" sz="1372" dirty="0" err="1">
                <a:gradFill>
                  <a:gsLst>
                    <a:gs pos="1250">
                      <a:srgbClr val="353535"/>
                    </a:gs>
                    <a:gs pos="100000">
                      <a:srgbClr val="353535"/>
                    </a:gs>
                  </a:gsLst>
                  <a:lin ang="5400000" scaled="0"/>
                </a:gradFill>
                <a:hlinkClick r:id="rId6"/>
              </a:rPr>
              <a:t>SQLMigrate</a:t>
            </a:r>
            <a:r>
              <a:rPr lang="en-US" sz="1372" dirty="0">
                <a:gradFill>
                  <a:gsLst>
                    <a:gs pos="1250">
                      <a:srgbClr val="353535"/>
                    </a:gs>
                    <a:gs pos="100000">
                      <a:srgbClr val="353535"/>
                    </a:gs>
                  </a:gsLst>
                  <a:lin ang="5400000" scaled="0"/>
                </a:gradFill>
              </a:rPr>
              <a:t> </a:t>
            </a:r>
            <a:endParaRPr lang="en-US" sz="1372" dirty="0">
              <a:gradFill>
                <a:gsLst>
                  <a:gs pos="1250">
                    <a:srgbClr val="353535"/>
                  </a:gs>
                  <a:gs pos="100000">
                    <a:srgbClr val="353535"/>
                  </a:gs>
                </a:gsLst>
                <a:lin ang="5400000" scaled="0"/>
              </a:gradFill>
              <a:latin typeface="Segoe UI"/>
            </a:endParaRPr>
          </a:p>
        </p:txBody>
      </p:sp>
      <p:sp>
        <p:nvSpPr>
          <p:cNvPr id="5" name="Title 4">
            <a:extLst>
              <a:ext uri="{FF2B5EF4-FFF2-40B4-BE49-F238E27FC236}">
                <a16:creationId xmlns:a16="http://schemas.microsoft.com/office/drawing/2014/main" id="{253F8790-AB0F-42ED-AA2E-A2906085D84E}"/>
              </a:ext>
            </a:extLst>
          </p:cNvPr>
          <p:cNvSpPr>
            <a:spLocks noGrp="1"/>
          </p:cNvSpPr>
          <p:nvPr>
            <p:ph type="title"/>
          </p:nvPr>
        </p:nvSpPr>
        <p:spPr/>
        <p:txBody>
          <a:bodyPr>
            <a:normAutofit fontScale="90000"/>
          </a:bodyPr>
          <a:lstStyle/>
          <a:p>
            <a:r>
              <a:rPr lang="en-US"/>
              <a:t>Data migration tools and services make it easy to migrate your data to the cloud</a:t>
            </a:r>
          </a:p>
        </p:txBody>
      </p:sp>
    </p:spTree>
    <p:extLst>
      <p:ext uri="{BB962C8B-B14F-4D97-AF65-F5344CB8AC3E}">
        <p14:creationId xmlns:p14="http://schemas.microsoft.com/office/powerpoint/2010/main" val="1349603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0">
                                            <p:txEl>
                                              <p:pRg st="0" end="0"/>
                                            </p:txEl>
                                          </p:spTgt>
                                        </p:tgtEl>
                                        <p:attrNameLst>
                                          <p:attrName>style.visibility</p:attrName>
                                        </p:attrNameLst>
                                      </p:cBhvr>
                                      <p:to>
                                        <p:strVal val="visible"/>
                                      </p:to>
                                    </p:set>
                                    <p:animEffect transition="in" filter="fade">
                                      <p:cBhvr>
                                        <p:cTn id="12" dur="1000"/>
                                        <p:tgtEl>
                                          <p:spTgt spid="20">
                                            <p:txEl>
                                              <p:pRg st="0" end="0"/>
                                            </p:txEl>
                                          </p:spTgt>
                                        </p:tgtEl>
                                      </p:cBhvr>
                                    </p:animEffect>
                                    <p:anim calcmode="lin" valueType="num">
                                      <p:cBhvr>
                                        <p:cTn id="13" dur="1000" fill="hold"/>
                                        <p:tgtEl>
                                          <p:spTgt spid="20">
                                            <p:txEl>
                                              <p:pRg st="0" end="0"/>
                                            </p:txEl>
                                          </p:spTgt>
                                        </p:tgtEl>
                                        <p:attrNameLst>
                                          <p:attrName>ppt_x</p:attrName>
                                        </p:attrNameLst>
                                      </p:cBhvr>
                                      <p:tavLst>
                                        <p:tav tm="0">
                                          <p:val>
                                            <p:strVal val="#ppt_x"/>
                                          </p:val>
                                        </p:tav>
                                        <p:tav tm="100000">
                                          <p:val>
                                            <p:strVal val="#ppt_x"/>
                                          </p:val>
                                        </p:tav>
                                      </p:tavLst>
                                    </p:anim>
                                    <p:anim calcmode="lin" valueType="num">
                                      <p:cBhvr>
                                        <p:cTn id="14" dur="1000" fill="hold"/>
                                        <p:tgtEl>
                                          <p:spTgt spid="20">
                                            <p:txEl>
                                              <p:pRg st="0" end="0"/>
                                            </p:txEl>
                                          </p:spTgt>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20">
                                            <p:txEl>
                                              <p:pRg st="1" end="1"/>
                                            </p:txEl>
                                          </p:spTgt>
                                        </p:tgtEl>
                                        <p:attrNameLst>
                                          <p:attrName>style.visibility</p:attrName>
                                        </p:attrNameLst>
                                      </p:cBhvr>
                                      <p:to>
                                        <p:strVal val="visible"/>
                                      </p:to>
                                    </p:set>
                                    <p:animEffect transition="in" filter="fade">
                                      <p:cBhvr>
                                        <p:cTn id="17" dur="1000"/>
                                        <p:tgtEl>
                                          <p:spTgt spid="20">
                                            <p:txEl>
                                              <p:pRg st="1" end="1"/>
                                            </p:txEl>
                                          </p:spTgt>
                                        </p:tgtEl>
                                      </p:cBhvr>
                                    </p:animEffect>
                                    <p:anim calcmode="lin" valueType="num">
                                      <p:cBhvr>
                                        <p:cTn id="18" dur="1000" fill="hold"/>
                                        <p:tgtEl>
                                          <p:spTgt spid="20">
                                            <p:txEl>
                                              <p:pRg st="1" end="1"/>
                                            </p:txEl>
                                          </p:spTgt>
                                        </p:tgtEl>
                                        <p:attrNameLst>
                                          <p:attrName>ppt_x</p:attrName>
                                        </p:attrNameLst>
                                      </p:cBhvr>
                                      <p:tavLst>
                                        <p:tav tm="0">
                                          <p:val>
                                            <p:strVal val="#ppt_x"/>
                                          </p:val>
                                        </p:tav>
                                        <p:tav tm="100000">
                                          <p:val>
                                            <p:strVal val="#ppt_x"/>
                                          </p:val>
                                        </p:tav>
                                      </p:tavLst>
                                    </p:anim>
                                    <p:anim calcmode="lin" valueType="num">
                                      <p:cBhvr>
                                        <p:cTn id="19" dur="1000" fill="hold"/>
                                        <p:tgtEl>
                                          <p:spTgt spid="20">
                                            <p:txEl>
                                              <p:pRg st="1" end="1"/>
                                            </p:txEl>
                                          </p:spTgt>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1000"/>
                                        <p:tgtEl>
                                          <p:spTgt spid="20">
                                            <p:txEl>
                                              <p:pRg st="2" end="2"/>
                                            </p:txEl>
                                          </p:spTgt>
                                        </p:tgtEl>
                                      </p:cBhvr>
                                    </p:animEffect>
                                    <p:anim calcmode="lin" valueType="num">
                                      <p:cBhvr>
                                        <p:cTn id="23" dur="1000" fill="hold"/>
                                        <p:tgtEl>
                                          <p:spTgt spid="20">
                                            <p:txEl>
                                              <p:pRg st="2" end="2"/>
                                            </p:txEl>
                                          </p:spTgt>
                                        </p:tgtEl>
                                        <p:attrNameLst>
                                          <p:attrName>ppt_x</p:attrName>
                                        </p:attrNameLst>
                                      </p:cBhvr>
                                      <p:tavLst>
                                        <p:tav tm="0">
                                          <p:val>
                                            <p:strVal val="#ppt_x"/>
                                          </p:val>
                                        </p:tav>
                                        <p:tav tm="100000">
                                          <p:val>
                                            <p:strVal val="#ppt_x"/>
                                          </p:val>
                                        </p:tav>
                                      </p:tavLst>
                                    </p:anim>
                                    <p:anim calcmode="lin" valueType="num">
                                      <p:cBhvr>
                                        <p:cTn id="24" dur="1000" fill="hold"/>
                                        <p:tgtEl>
                                          <p:spTgt spid="20">
                                            <p:txEl>
                                              <p:pRg st="2" end="2"/>
                                            </p:txEl>
                                          </p:spTgt>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20">
                                            <p:txEl>
                                              <p:pRg st="3" end="3"/>
                                            </p:txEl>
                                          </p:spTgt>
                                        </p:tgtEl>
                                        <p:attrNameLst>
                                          <p:attrName>style.visibility</p:attrName>
                                        </p:attrNameLst>
                                      </p:cBhvr>
                                      <p:to>
                                        <p:strVal val="visible"/>
                                      </p:to>
                                    </p:set>
                                    <p:animEffect transition="in" filter="fade">
                                      <p:cBhvr>
                                        <p:cTn id="27" dur="1000"/>
                                        <p:tgtEl>
                                          <p:spTgt spid="20">
                                            <p:txEl>
                                              <p:pRg st="3" end="3"/>
                                            </p:txEl>
                                          </p:spTgt>
                                        </p:tgtEl>
                                      </p:cBhvr>
                                    </p:animEffect>
                                    <p:anim calcmode="lin" valueType="num">
                                      <p:cBhvr>
                                        <p:cTn id="28" dur="1000" fill="hold"/>
                                        <p:tgtEl>
                                          <p:spTgt spid="20">
                                            <p:txEl>
                                              <p:pRg st="3" end="3"/>
                                            </p:txEl>
                                          </p:spTgt>
                                        </p:tgtEl>
                                        <p:attrNameLst>
                                          <p:attrName>ppt_x</p:attrName>
                                        </p:attrNameLst>
                                      </p:cBhvr>
                                      <p:tavLst>
                                        <p:tav tm="0">
                                          <p:val>
                                            <p:strVal val="#ppt_x"/>
                                          </p:val>
                                        </p:tav>
                                        <p:tav tm="100000">
                                          <p:val>
                                            <p:strVal val="#ppt_x"/>
                                          </p:val>
                                        </p:tav>
                                      </p:tavLst>
                                    </p:anim>
                                    <p:anim calcmode="lin" valueType="num">
                                      <p:cBhvr>
                                        <p:cTn id="29" dur="1000" fill="hold"/>
                                        <p:tgtEl>
                                          <p:spTgt spid="20">
                                            <p:txEl>
                                              <p:pRg st="3" end="3"/>
                                            </p:txEl>
                                          </p:spTgt>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20">
                                            <p:txEl>
                                              <p:pRg st="5" end="5"/>
                                            </p:txEl>
                                          </p:spTgt>
                                        </p:tgtEl>
                                        <p:attrNameLst>
                                          <p:attrName>style.visibility</p:attrName>
                                        </p:attrNameLst>
                                      </p:cBhvr>
                                      <p:to>
                                        <p:strVal val="visible"/>
                                      </p:to>
                                    </p:set>
                                    <p:animEffect transition="in" filter="fade">
                                      <p:cBhvr>
                                        <p:cTn id="32" dur="1000"/>
                                        <p:tgtEl>
                                          <p:spTgt spid="20">
                                            <p:txEl>
                                              <p:pRg st="5" end="5"/>
                                            </p:txEl>
                                          </p:spTgt>
                                        </p:tgtEl>
                                      </p:cBhvr>
                                    </p:animEffect>
                                    <p:anim calcmode="lin" valueType="num">
                                      <p:cBhvr>
                                        <p:cTn id="33" dur="1000" fill="hold"/>
                                        <p:tgtEl>
                                          <p:spTgt spid="20">
                                            <p:txEl>
                                              <p:pRg st="5" end="5"/>
                                            </p:txEl>
                                          </p:spTgt>
                                        </p:tgtEl>
                                        <p:attrNameLst>
                                          <p:attrName>ppt_x</p:attrName>
                                        </p:attrNameLst>
                                      </p:cBhvr>
                                      <p:tavLst>
                                        <p:tav tm="0">
                                          <p:val>
                                            <p:strVal val="#ppt_x"/>
                                          </p:val>
                                        </p:tav>
                                        <p:tav tm="100000">
                                          <p:val>
                                            <p:strVal val="#ppt_x"/>
                                          </p:val>
                                        </p:tav>
                                      </p:tavLst>
                                    </p:anim>
                                    <p:anim calcmode="lin" valueType="num">
                                      <p:cBhvr>
                                        <p:cTn id="34" dur="1000" fill="hold"/>
                                        <p:tgtEl>
                                          <p:spTgt spid="20">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1000"/>
                                        <p:tgtEl>
                                          <p:spTgt spid="6"/>
                                        </p:tgtEl>
                                      </p:cBhvr>
                                    </p:animEffect>
                                    <p:anim calcmode="lin" valueType="num">
                                      <p:cBhvr>
                                        <p:cTn id="40" dur="1000" fill="hold"/>
                                        <p:tgtEl>
                                          <p:spTgt spid="6"/>
                                        </p:tgtEl>
                                        <p:attrNameLst>
                                          <p:attrName>ppt_x</p:attrName>
                                        </p:attrNameLst>
                                      </p:cBhvr>
                                      <p:tavLst>
                                        <p:tav tm="0">
                                          <p:val>
                                            <p:strVal val="#ppt_x"/>
                                          </p:val>
                                        </p:tav>
                                        <p:tav tm="100000">
                                          <p:val>
                                            <p:strVal val="#ppt_x"/>
                                          </p:val>
                                        </p:tav>
                                      </p:tavLst>
                                    </p:anim>
                                    <p:anim calcmode="lin" valueType="num">
                                      <p:cBhvr>
                                        <p:cTn id="41" dur="1000" fill="hold"/>
                                        <p:tgtEl>
                                          <p:spTgt spid="6"/>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fade">
                                      <p:cBhvr>
                                        <p:cTn id="44" dur="1000"/>
                                        <p:tgtEl>
                                          <p:spTgt spid="12"/>
                                        </p:tgtEl>
                                      </p:cBhvr>
                                    </p:animEffect>
                                    <p:anim calcmode="lin" valueType="num">
                                      <p:cBhvr>
                                        <p:cTn id="45" dur="1000" fill="hold"/>
                                        <p:tgtEl>
                                          <p:spTgt spid="12"/>
                                        </p:tgtEl>
                                        <p:attrNameLst>
                                          <p:attrName>ppt_x</p:attrName>
                                        </p:attrNameLst>
                                      </p:cBhvr>
                                      <p:tavLst>
                                        <p:tav tm="0">
                                          <p:val>
                                            <p:strVal val="#ppt_x"/>
                                          </p:val>
                                        </p:tav>
                                        <p:tav tm="100000">
                                          <p:val>
                                            <p:strVal val="#ppt_x"/>
                                          </p:val>
                                        </p:tav>
                                      </p:tavLst>
                                    </p:anim>
                                    <p:anim calcmode="lin" valueType="num">
                                      <p:cBhvr>
                                        <p:cTn id="46"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20"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920" y="139648"/>
            <a:ext cx="10515600" cy="1325563"/>
          </a:xfrm>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Challenge 1: Migrate to Azure PaaS</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1612749"/>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Migrate on-premise web application to PaaS services</a:t>
            </a:r>
          </a:p>
          <a:p>
            <a:pPr>
              <a:lnSpc>
                <a:spcPct val="90000"/>
              </a:lnSpc>
              <a:spcAft>
                <a:spcPts val="600"/>
              </a:spcAft>
            </a:pPr>
            <a:endParaRPr lang="en-US" sz="2400" dirty="0"/>
          </a:p>
        </p:txBody>
      </p:sp>
      <p:sp>
        <p:nvSpPr>
          <p:cNvPr id="3" name="Rectangle 2">
            <a:extLst>
              <a:ext uri="{FF2B5EF4-FFF2-40B4-BE49-F238E27FC236}">
                <a16:creationId xmlns:a16="http://schemas.microsoft.com/office/drawing/2014/main" id="{E567A9D1-A8C8-C548-8269-06C2FBA2B8F1}"/>
              </a:ext>
            </a:extLst>
          </p:cNvPr>
          <p:cNvSpPr/>
          <p:nvPr/>
        </p:nvSpPr>
        <p:spPr>
          <a:xfrm>
            <a:off x="7815042" y="4528412"/>
            <a:ext cx="4110038" cy="2200602"/>
          </a:xfrm>
          <a:prstGeom prst="rect">
            <a:avLst/>
          </a:prstGeom>
        </p:spPr>
        <p:txBody>
          <a:bodyPr wrap="square">
            <a:spAutoFit/>
          </a:bodyPr>
          <a:lstStyle/>
          <a:p>
            <a:pPr marR="288290">
              <a:spcBef>
                <a:spcPts val="600"/>
              </a:spcBef>
            </a:pPr>
            <a:r>
              <a:rPr lang="en-US" sz="2400" dirty="0">
                <a:ea typeface="Segoe UI"/>
                <a:cs typeface="Segoe UI"/>
              </a:rPr>
              <a:t>Default Accounts</a:t>
            </a:r>
          </a:p>
          <a:p>
            <a:pPr marR="288290">
              <a:spcBef>
                <a:spcPts val="600"/>
              </a:spcBef>
            </a:pPr>
            <a:r>
              <a:rPr lang="en-US" dirty="0">
                <a:ea typeface="Segoe UI"/>
                <a:cs typeface="Segoe UI"/>
              </a:rPr>
              <a:t>Admin User Name: sysadmin</a:t>
            </a:r>
            <a:br>
              <a:rPr lang="en-US" dirty="0">
                <a:ea typeface="Segoe UI"/>
                <a:cs typeface="Segoe UI"/>
              </a:rPr>
            </a:br>
            <a:r>
              <a:rPr lang="en-US" dirty="0">
                <a:ea typeface="Segoe UI"/>
                <a:cs typeface="Segoe UI"/>
              </a:rPr>
              <a:t>Admin User Password: Password$123</a:t>
            </a:r>
          </a:p>
          <a:p>
            <a:pPr marR="288290"/>
            <a:r>
              <a:rPr lang="en-US" dirty="0" err="1">
                <a:ea typeface="Segoe UI"/>
                <a:cs typeface="Segoe UI"/>
              </a:rPr>
              <a:t>db</a:t>
            </a:r>
            <a:r>
              <a:rPr lang="en-US" dirty="0">
                <a:ea typeface="Segoe UI"/>
                <a:cs typeface="Segoe UI"/>
              </a:rPr>
              <a:t> Login Name: </a:t>
            </a:r>
            <a:r>
              <a:rPr lang="en-US" dirty="0" err="1">
                <a:ea typeface="Segoe UI"/>
                <a:cs typeface="Segoe UI"/>
              </a:rPr>
              <a:t>workshopServiceAcc</a:t>
            </a:r>
            <a:br>
              <a:rPr lang="en-US" dirty="0">
                <a:ea typeface="Segoe UI"/>
                <a:cs typeface="Segoe UI"/>
              </a:rPr>
            </a:br>
            <a:r>
              <a:rPr lang="en-US" dirty="0" err="1">
                <a:ea typeface="Segoe UI"/>
                <a:cs typeface="Segoe UI"/>
              </a:rPr>
              <a:t>db</a:t>
            </a:r>
            <a:r>
              <a:rPr lang="en-US" dirty="0">
                <a:ea typeface="Segoe UI"/>
                <a:cs typeface="Segoe UI"/>
              </a:rPr>
              <a:t> User Name: </a:t>
            </a:r>
            <a:r>
              <a:rPr lang="en-US" dirty="0" err="1">
                <a:ea typeface="Segoe UI"/>
                <a:cs typeface="Segoe UI"/>
              </a:rPr>
              <a:t>workshopServiceAcc</a:t>
            </a:r>
            <a:br>
              <a:rPr lang="en-US" dirty="0">
                <a:ea typeface="Segoe UI"/>
                <a:cs typeface="Segoe UI"/>
              </a:rPr>
            </a:br>
            <a:r>
              <a:rPr lang="en-US" dirty="0" err="1">
                <a:ea typeface="Segoe UI"/>
                <a:cs typeface="Segoe UI"/>
              </a:rPr>
              <a:t>db</a:t>
            </a:r>
            <a:r>
              <a:rPr lang="en-US" dirty="0">
                <a:ea typeface="Segoe UI"/>
                <a:cs typeface="Segoe UI"/>
              </a:rPr>
              <a:t> User Password: P2ssw0rd</a:t>
            </a:r>
          </a:p>
          <a:p>
            <a:pPr marR="288290">
              <a:spcAft>
                <a:spcPts val="600"/>
              </a:spcAft>
            </a:pPr>
            <a:r>
              <a:rPr lang="en-US" dirty="0">
                <a:ea typeface="Segoe UI"/>
                <a:cs typeface="Segoe UI"/>
              </a:rPr>
              <a:t>Database Name: </a:t>
            </a:r>
            <a:r>
              <a:rPr lang="en-US" dirty="0" err="1">
                <a:ea typeface="Segoe UI"/>
                <a:cs typeface="Segoe UI"/>
              </a:rPr>
              <a:t>partsUnlimitedDB</a:t>
            </a:r>
            <a:endParaRPr lang="en-US" dirty="0">
              <a:ea typeface="Segoe UI"/>
              <a:cs typeface="Segoe UI"/>
            </a:endParaRPr>
          </a:p>
        </p:txBody>
      </p:sp>
      <p:sp>
        <p:nvSpPr>
          <p:cNvPr id="6" name="TextBox 5">
            <a:extLst>
              <a:ext uri="{FF2B5EF4-FFF2-40B4-BE49-F238E27FC236}">
                <a16:creationId xmlns:a16="http://schemas.microsoft.com/office/drawing/2014/main" id="{6A1A14A0-86B2-FB44-A501-18A48AA88C69}"/>
              </a:ext>
            </a:extLst>
          </p:cNvPr>
          <p:cNvSpPr txBox="1"/>
          <p:nvPr/>
        </p:nvSpPr>
        <p:spPr>
          <a:xfrm>
            <a:off x="266920" y="3906064"/>
            <a:ext cx="7548122" cy="2862322"/>
          </a:xfrm>
          <a:prstGeom prst="rect">
            <a:avLst/>
          </a:prstGeom>
          <a:noFill/>
        </p:spPr>
        <p:txBody>
          <a:bodyPr wrap="square" lIns="91440" tIns="45720" rIns="91440" bIns="45720" rtlCol="0">
            <a:spAutoFit/>
          </a:bodyPr>
          <a:lstStyle/>
          <a:p>
            <a:endParaRPr lang="en-US" u="sng" dirty="0">
              <a:hlinkClick r:id="rId3"/>
            </a:endParaRPr>
          </a:p>
          <a:p>
            <a:endParaRPr lang="en-US" u="sng" dirty="0">
              <a:hlinkClick r:id="rId3"/>
            </a:endParaRPr>
          </a:p>
          <a:p>
            <a:endParaRPr lang="en-US" u="sng" dirty="0">
              <a:hlinkClick r:id="rId3"/>
            </a:endParaRPr>
          </a:p>
          <a:p>
            <a:r>
              <a:rPr lang="en-US" u="sng" dirty="0">
                <a:hlinkClick r:id="rId3"/>
              </a:rPr>
              <a:t>https://docs.microsoft.com/en-us/azure/app-service/app-service-web-overview</a:t>
            </a:r>
            <a:endParaRPr lang="en-US" u="sng" dirty="0"/>
          </a:p>
          <a:p>
            <a:endParaRPr lang="en-US" u="sng" dirty="0"/>
          </a:p>
          <a:p>
            <a:r>
              <a:rPr lang="en-US" u="sng" dirty="0">
                <a:hlinkClick r:id="rId4"/>
              </a:rPr>
              <a:t>https://www.migratetoazure.net/</a:t>
            </a:r>
            <a:endParaRPr lang="en-US" dirty="0"/>
          </a:p>
          <a:p>
            <a:endParaRPr lang="en-US" dirty="0"/>
          </a:p>
          <a:p>
            <a:r>
              <a:rPr lang="en-US" u="sng" dirty="0">
                <a:hlinkClick r:id="rId5"/>
              </a:rPr>
              <a:t>https://docs.microsoft.com/en-us/azure/sql-database/</a:t>
            </a:r>
            <a:endParaRPr lang="en-US" dirty="0"/>
          </a:p>
          <a:p>
            <a:endParaRPr lang="en-US" dirty="0"/>
          </a:p>
        </p:txBody>
      </p:sp>
    </p:spTree>
    <p:extLst>
      <p:ext uri="{BB962C8B-B14F-4D97-AF65-F5344CB8AC3E}">
        <p14:creationId xmlns:p14="http://schemas.microsoft.com/office/powerpoint/2010/main" val="36817403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grpSp>
        <p:nvGrpSpPr>
          <p:cNvPr id="16" name="Group 9">
            <a:extLst>
              <a:ext uri="{FF2B5EF4-FFF2-40B4-BE49-F238E27FC236}">
                <a16:creationId xmlns:a16="http://schemas.microsoft.com/office/drawing/2014/main" id="{D2C4BFA1-2075-4901-9E24-E41D1FDD51F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55481" y="498348"/>
            <a:ext cx="9902663" cy="5861304"/>
            <a:chOff x="1155481" y="498348"/>
            <a:chExt cx="9902663" cy="5861304"/>
          </a:xfrm>
        </p:grpSpPr>
        <p:sp>
          <p:nvSpPr>
            <p:cNvPr id="11" name="Oval 5">
              <a:extLst>
                <a:ext uri="{FF2B5EF4-FFF2-40B4-BE49-F238E27FC236}">
                  <a16:creationId xmlns:a16="http://schemas.microsoft.com/office/drawing/2014/main" id="{985A7375-E3AF-4F5C-85AE-17E8832952CA}"/>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1155481" y="498348"/>
              <a:ext cx="5861304" cy="5861304"/>
            </a:xfrm>
            <a:prstGeom prst="ellipse">
              <a:avLst/>
            </a:prstGeom>
            <a:solidFill>
              <a:schemeClr val="accent1">
                <a:alpha val="55000"/>
              </a:schemeClr>
            </a:solidFill>
            <a:ln>
              <a:noFill/>
            </a:ln>
          </p:spPr>
        </p:sp>
        <p:sp>
          <p:nvSpPr>
            <p:cNvPr id="17" name="Oval 11">
              <a:extLst>
                <a:ext uri="{FF2B5EF4-FFF2-40B4-BE49-F238E27FC236}">
                  <a16:creationId xmlns:a16="http://schemas.microsoft.com/office/drawing/2014/main" id="{F0307F65-8304-4FA8-A841-D4D7625411BE}"/>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5196840" y="498348"/>
              <a:ext cx="5861304" cy="5861304"/>
            </a:xfrm>
            <a:prstGeom prst="ellipse">
              <a:avLst/>
            </a:prstGeom>
            <a:solidFill>
              <a:schemeClr val="accent1">
                <a:alpha val="55000"/>
              </a:schemeClr>
            </a:solidFill>
            <a:ln>
              <a:noFill/>
            </a:ln>
          </p:spPr>
        </p:sp>
        <p:sp>
          <p:nvSpPr>
            <p:cNvPr id="13" name="Oval 5">
              <a:extLst>
                <a:ext uri="{FF2B5EF4-FFF2-40B4-BE49-F238E27FC236}">
                  <a16:creationId xmlns:a16="http://schemas.microsoft.com/office/drawing/2014/main" id="{C8B8394C-136F-4E05-A002-D93A5E79CD50}"/>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3165348" y="498348"/>
              <a:ext cx="5861304" cy="5861304"/>
            </a:xfrm>
            <a:prstGeom prst="ellipse">
              <a:avLst/>
            </a:prstGeom>
            <a:solidFill>
              <a:schemeClr val="accent1">
                <a:alpha val="70000"/>
              </a:schemeClr>
            </a:solidFill>
            <a:ln>
              <a:noFill/>
            </a:ln>
          </p:spPr>
        </p:sp>
      </p:grpSp>
      <p:sp>
        <p:nvSpPr>
          <p:cNvPr id="5" name="Text Placeholder 4">
            <a:extLst>
              <a:ext uri="{FF2B5EF4-FFF2-40B4-BE49-F238E27FC236}">
                <a16:creationId xmlns:a16="http://schemas.microsoft.com/office/drawing/2014/main" id="{116A642C-A2D7-2C4B-83F9-F0BDCCC10304}"/>
              </a:ext>
            </a:extLst>
          </p:cNvPr>
          <p:cNvSpPr>
            <a:spLocks noGrp="1"/>
          </p:cNvSpPr>
          <p:nvPr>
            <p:ph type="body" sz="quarter" idx="12"/>
          </p:nvPr>
        </p:nvSpPr>
        <p:spPr>
          <a:xfrm>
            <a:off x="1524000" y="4495800"/>
            <a:ext cx="9144000" cy="762000"/>
          </a:xfrm>
        </p:spPr>
        <p:txBody>
          <a:bodyPr vert="horz" lIns="91440" tIns="45720" rIns="91440" bIns="45720" rtlCol="0">
            <a:normAutofit/>
          </a:bodyPr>
          <a:lstStyle/>
          <a:p>
            <a:pPr algn="ctr">
              <a:spcBef>
                <a:spcPts val="1000"/>
              </a:spcBef>
            </a:pPr>
            <a:r>
              <a:rPr lang="en-US" sz="1800" kern="1200">
                <a:solidFill>
                  <a:schemeClr val="tx1"/>
                </a:solidFill>
                <a:latin typeface="+mn-lt"/>
                <a:ea typeface="+mn-ea"/>
                <a:cs typeface="+mn-cs"/>
              </a:rPr>
              <a:t>Formerly known as VSTS</a:t>
            </a:r>
          </a:p>
        </p:txBody>
      </p:sp>
      <p:sp>
        <p:nvSpPr>
          <p:cNvPr id="15" name="Rectangle 14">
            <a:extLst>
              <a:ext uri="{FF2B5EF4-FFF2-40B4-BE49-F238E27FC236}">
                <a16:creationId xmlns:a16="http://schemas.microsoft.com/office/drawing/2014/main" id="{053FB2EE-284F-4C87-AB3D-BBF87A9FAB9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514600"/>
            <a:ext cx="12192000" cy="182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Title 3">
            <a:extLst>
              <a:ext uri="{FF2B5EF4-FFF2-40B4-BE49-F238E27FC236}">
                <a16:creationId xmlns:a16="http://schemas.microsoft.com/office/drawing/2014/main" id="{22A53479-CFB8-4A43-BF53-B3A201B5DB17}"/>
              </a:ext>
            </a:extLst>
          </p:cNvPr>
          <p:cNvSpPr>
            <a:spLocks noGrp="1"/>
          </p:cNvSpPr>
          <p:nvPr>
            <p:ph type="title"/>
          </p:nvPr>
        </p:nvSpPr>
        <p:spPr>
          <a:xfrm>
            <a:off x="1524000" y="2776538"/>
            <a:ext cx="9144000" cy="1381188"/>
          </a:xfrm>
        </p:spPr>
        <p:txBody>
          <a:bodyPr vert="horz" lIns="91440" tIns="45720" rIns="91440" bIns="45720" rtlCol="0" anchor="ctr">
            <a:normAutofit/>
          </a:bodyPr>
          <a:lstStyle/>
          <a:p>
            <a:pPr algn="ctr"/>
            <a:r>
              <a:rPr lang="en-US" sz="4000" kern="1200">
                <a:solidFill>
                  <a:schemeClr val="bg2"/>
                </a:solidFill>
                <a:latin typeface="+mj-lt"/>
                <a:ea typeface="+mj-ea"/>
                <a:cs typeface="+mj-cs"/>
              </a:rPr>
              <a:t>Azure Dev Ops</a:t>
            </a:r>
          </a:p>
        </p:txBody>
      </p:sp>
    </p:spTree>
    <p:extLst>
      <p:ext uri="{BB962C8B-B14F-4D97-AF65-F5344CB8AC3E}">
        <p14:creationId xmlns:p14="http://schemas.microsoft.com/office/powerpoint/2010/main" val="15282493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1221" y="76660"/>
            <a:ext cx="10515600" cy="1325563"/>
          </a:xfrm>
        </p:spPr>
        <p:txBody>
          <a:bodyPr>
            <a:normAutofit/>
          </a:bodyPr>
          <a:lstStyle/>
          <a:p>
            <a:r>
              <a:rPr lang="en-US" sz="4400" dirty="0">
                <a:solidFill>
                  <a:schemeClr val="bg1"/>
                </a:solidFill>
                <a:latin typeface="Segoe UI Light" panose="020B0502040204020203" pitchFamily="34" charset="0"/>
                <a:cs typeface="Segoe UI Light" panose="020B0502040204020203" pitchFamily="34" charset="0"/>
              </a:rPr>
              <a:t>Abstract and learning objectives</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029050"/>
            <a:ext cx="8405130" cy="186820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Light"/>
                <a:ea typeface="+mn-ea"/>
                <a:cs typeface="+mn-cs"/>
              </a:rPr>
              <a:t>Abstract</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Modernize legacy on-premises applications and infrastructure by leveraging several cloud services, while adding a mix of Azure services.</a:t>
            </a:r>
            <a:endParaRPr kumimoji="0" lang="en-US" sz="2400" b="0" i="0" u="none" strike="noStrike" kern="1200" cap="none" spc="0" normalizeH="0" baseline="0" noProof="0" dirty="0">
              <a:ln>
                <a:noFill/>
              </a:ln>
              <a:solidFill>
                <a:srgbClr val="FFFFFF"/>
              </a:solidFill>
              <a:effectLst/>
              <a:uLnTx/>
              <a:uFillTx/>
              <a:latin typeface="Segoe UI Semilight"/>
              <a:ea typeface="+mn-ea"/>
              <a:cs typeface="+mn-cs"/>
            </a:endParaRPr>
          </a:p>
        </p:txBody>
      </p:sp>
      <p:pic>
        <p:nvPicPr>
          <p:cNvPr id="4" name="Graphic 3" descr="Teacher">
            <a:extLst>
              <a:ext uri="{FF2B5EF4-FFF2-40B4-BE49-F238E27FC236}">
                <a16:creationId xmlns:a16="http://schemas.microsoft.com/office/drawing/2014/main" id="{3F395124-304B-4B60-9718-FE85F843EFC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24838" y="431177"/>
            <a:ext cx="3626358" cy="3626358"/>
          </a:xfrm>
          <a:prstGeom prst="rect">
            <a:avLst/>
          </a:prstGeom>
        </p:spPr>
      </p:pic>
      <p:sp>
        <p:nvSpPr>
          <p:cNvPr id="3" name="TextBox 2">
            <a:extLst>
              <a:ext uri="{FF2B5EF4-FFF2-40B4-BE49-F238E27FC236}">
                <a16:creationId xmlns:a16="http://schemas.microsoft.com/office/drawing/2014/main" id="{34AC1647-E127-4EB2-AEDF-2E534125F922}"/>
              </a:ext>
            </a:extLst>
          </p:cNvPr>
          <p:cNvSpPr txBox="1"/>
          <p:nvPr/>
        </p:nvSpPr>
        <p:spPr>
          <a:xfrm>
            <a:off x="340285" y="3051088"/>
            <a:ext cx="7840416" cy="1772793"/>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3600" dirty="0">
                <a:solidFill>
                  <a:srgbClr val="FFFFFF"/>
                </a:solidFill>
                <a:latin typeface="Segoe UI Semilight"/>
              </a:rPr>
              <a:t>Hackathon</a:t>
            </a: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 objective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Use Azure</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dirty="0">
                <a:solidFill>
                  <a:srgbClr val="FFFFFF"/>
                </a:solidFill>
                <a:latin typeface="Segoe UI Semilight" panose="020B0402040204020203" pitchFamily="34" charset="0"/>
                <a:cs typeface="Segoe UI Semilight" panose="020B0402040204020203" pitchFamily="34" charset="0"/>
              </a:rPr>
              <a:t>Think about solving the problem (no IT Learning Karaoke )</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Leverage Azure Services to Modernize an Application, not just a lift and shift</a:t>
            </a:r>
          </a:p>
        </p:txBody>
      </p:sp>
    </p:spTree>
    <p:extLst>
      <p:ext uri="{BB962C8B-B14F-4D97-AF65-F5344CB8AC3E}">
        <p14:creationId xmlns:p14="http://schemas.microsoft.com/office/powerpoint/2010/main" val="41856907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1767" y="2657151"/>
            <a:ext cx="1683738" cy="1522177"/>
          </a:xfrm>
          <a:prstGeom prst="rect">
            <a:avLst/>
          </a:prstGeom>
        </p:spPr>
      </p:pic>
      <p:pic>
        <p:nvPicPr>
          <p:cNvPr id="33" name="Picture 3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82019" y="2677312"/>
            <a:ext cx="1737326" cy="1577832"/>
          </a:xfrm>
          <a:prstGeom prst="rect">
            <a:avLst/>
          </a:prstGeom>
        </p:spPr>
      </p:pic>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79263" y="3605525"/>
            <a:ext cx="243805" cy="200617"/>
          </a:xfrm>
          <a:prstGeom prst="rect">
            <a:avLst/>
          </a:prstGeom>
        </p:spPr>
      </p:pic>
      <p:pic>
        <p:nvPicPr>
          <p:cNvPr id="42" name="Picture 41"/>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768542" y="1378630"/>
            <a:ext cx="4362494" cy="4362663"/>
          </a:xfrm>
          <a:prstGeom prst="rect">
            <a:avLst/>
          </a:prstGeom>
        </p:spPr>
      </p:pic>
      <p:sp>
        <p:nvSpPr>
          <p:cNvPr id="27" name="TextBox 26"/>
          <p:cNvSpPr txBox="1"/>
          <p:nvPr/>
        </p:nvSpPr>
        <p:spPr>
          <a:xfrm>
            <a:off x="2097930" y="1572530"/>
            <a:ext cx="809048" cy="452590"/>
          </a:xfrm>
          <a:prstGeom prst="rect">
            <a:avLst/>
          </a:prstGeom>
          <a:noFill/>
        </p:spPr>
        <p:txBody>
          <a:bodyPr wrap="square" rtlCol="0">
            <a:spAutoFit/>
          </a:bodyPr>
          <a:lstStyle>
            <a:defPPr>
              <a:defRPr lang="en-US"/>
            </a:defPPr>
            <a:lvl1pPr marL="0" algn="l" defTabSz="914098" rtl="0" eaLnBrk="1" latinLnBrk="0" hangingPunct="1">
              <a:defRPr sz="1765" kern="1200">
                <a:solidFill>
                  <a:schemeClr val="tx1"/>
                </a:solidFill>
                <a:latin typeface="+mn-lt"/>
                <a:ea typeface="+mn-ea"/>
                <a:cs typeface="+mn-cs"/>
              </a:defRPr>
            </a:lvl1pPr>
            <a:lvl2pPr marL="457050" algn="l" defTabSz="914098" rtl="0" eaLnBrk="1" latinLnBrk="0" hangingPunct="1">
              <a:defRPr sz="1765" kern="1200">
                <a:solidFill>
                  <a:schemeClr val="tx1"/>
                </a:solidFill>
                <a:latin typeface="+mn-lt"/>
                <a:ea typeface="+mn-ea"/>
                <a:cs typeface="+mn-cs"/>
              </a:defRPr>
            </a:lvl2pPr>
            <a:lvl3pPr marL="914098" algn="l" defTabSz="914098" rtl="0" eaLnBrk="1" latinLnBrk="0" hangingPunct="1">
              <a:defRPr sz="1765" kern="1200">
                <a:solidFill>
                  <a:schemeClr val="tx1"/>
                </a:solidFill>
                <a:latin typeface="+mn-lt"/>
                <a:ea typeface="+mn-ea"/>
                <a:cs typeface="+mn-cs"/>
              </a:defRPr>
            </a:lvl3pPr>
            <a:lvl4pPr marL="1371148" algn="l" defTabSz="914098" rtl="0" eaLnBrk="1" latinLnBrk="0" hangingPunct="1">
              <a:defRPr sz="1765" kern="1200">
                <a:solidFill>
                  <a:schemeClr val="tx1"/>
                </a:solidFill>
                <a:latin typeface="+mn-lt"/>
                <a:ea typeface="+mn-ea"/>
                <a:cs typeface="+mn-cs"/>
              </a:defRPr>
            </a:lvl4pPr>
            <a:lvl5pPr marL="1828197" algn="l" defTabSz="914098" rtl="0" eaLnBrk="1" latinLnBrk="0" hangingPunct="1">
              <a:defRPr sz="1765" kern="1200">
                <a:solidFill>
                  <a:schemeClr val="tx1"/>
                </a:solidFill>
                <a:latin typeface="+mn-lt"/>
                <a:ea typeface="+mn-ea"/>
                <a:cs typeface="+mn-cs"/>
              </a:defRPr>
            </a:lvl5pPr>
            <a:lvl6pPr marL="2285246" algn="l" defTabSz="914098" rtl="0" eaLnBrk="1" latinLnBrk="0" hangingPunct="1">
              <a:defRPr sz="1765" kern="1200">
                <a:solidFill>
                  <a:schemeClr val="tx1"/>
                </a:solidFill>
                <a:latin typeface="+mn-lt"/>
                <a:ea typeface="+mn-ea"/>
                <a:cs typeface="+mn-cs"/>
              </a:defRPr>
            </a:lvl6pPr>
            <a:lvl7pPr marL="2742295" algn="l" defTabSz="914098" rtl="0" eaLnBrk="1" latinLnBrk="0" hangingPunct="1">
              <a:defRPr sz="1765" kern="1200">
                <a:solidFill>
                  <a:schemeClr val="tx1"/>
                </a:solidFill>
                <a:latin typeface="+mn-lt"/>
                <a:ea typeface="+mn-ea"/>
                <a:cs typeface="+mn-cs"/>
              </a:defRPr>
            </a:lvl7pPr>
            <a:lvl8pPr marL="3199344" algn="l" defTabSz="914098" rtl="0" eaLnBrk="1" latinLnBrk="0" hangingPunct="1">
              <a:defRPr sz="1765" kern="1200">
                <a:solidFill>
                  <a:schemeClr val="tx1"/>
                </a:solidFill>
                <a:latin typeface="+mn-lt"/>
                <a:ea typeface="+mn-ea"/>
                <a:cs typeface="+mn-cs"/>
              </a:defRPr>
            </a:lvl8pPr>
            <a:lvl9pPr marL="3656394" algn="l" defTabSz="914098" rtl="0" eaLnBrk="1" latinLnBrk="0" hangingPunct="1">
              <a:defRPr sz="1765" kern="1200">
                <a:solidFill>
                  <a:schemeClr val="tx1"/>
                </a:solidFill>
                <a:latin typeface="+mn-lt"/>
                <a:ea typeface="+mn-ea"/>
                <a:cs typeface="+mn-cs"/>
              </a:defRPr>
            </a:lvl9pPr>
          </a:lstStyle>
          <a:p>
            <a:pPr>
              <a:defRPr/>
            </a:pPr>
            <a:r>
              <a:rPr lang="en-US" sz="2353" kern="0" dirty="0">
                <a:solidFill>
                  <a:srgbClr val="404040">
                    <a:lumMod val="60000"/>
                    <a:lumOff val="40000"/>
                  </a:srgbClr>
                </a:solidFill>
                <a:latin typeface="Segoe UI Light"/>
                <a:cs typeface="Arial" pitchFamily="34" charset="0"/>
              </a:rPr>
              <a:t>Plan</a:t>
            </a:r>
          </a:p>
        </p:txBody>
      </p:sp>
      <p:sp>
        <p:nvSpPr>
          <p:cNvPr id="28" name="TextBox 27"/>
          <p:cNvSpPr txBox="1"/>
          <p:nvPr/>
        </p:nvSpPr>
        <p:spPr>
          <a:xfrm>
            <a:off x="1585691" y="1316063"/>
            <a:ext cx="586481" cy="965524"/>
          </a:xfrm>
          <a:prstGeom prst="rect">
            <a:avLst/>
          </a:prstGeom>
          <a:noFill/>
        </p:spPr>
        <p:txBody>
          <a:bodyPr wrap="square" rtlCol="0">
            <a:spAutoFit/>
          </a:bodyPr>
          <a:lstStyle>
            <a:defPPr>
              <a:defRPr lang="en-US"/>
            </a:defPPr>
            <a:lvl1pPr marL="0" algn="l" defTabSz="914098" rtl="0" eaLnBrk="1" latinLnBrk="0" hangingPunct="1">
              <a:defRPr sz="1765" kern="1200">
                <a:solidFill>
                  <a:schemeClr val="tx1"/>
                </a:solidFill>
                <a:latin typeface="+mn-lt"/>
                <a:ea typeface="+mn-ea"/>
                <a:cs typeface="+mn-cs"/>
              </a:defRPr>
            </a:lvl1pPr>
            <a:lvl2pPr marL="457050" algn="l" defTabSz="914098" rtl="0" eaLnBrk="1" latinLnBrk="0" hangingPunct="1">
              <a:defRPr sz="1765" kern="1200">
                <a:solidFill>
                  <a:schemeClr val="tx1"/>
                </a:solidFill>
                <a:latin typeface="+mn-lt"/>
                <a:ea typeface="+mn-ea"/>
                <a:cs typeface="+mn-cs"/>
              </a:defRPr>
            </a:lvl2pPr>
            <a:lvl3pPr marL="914098" algn="l" defTabSz="914098" rtl="0" eaLnBrk="1" latinLnBrk="0" hangingPunct="1">
              <a:defRPr sz="1765" kern="1200">
                <a:solidFill>
                  <a:schemeClr val="tx1"/>
                </a:solidFill>
                <a:latin typeface="+mn-lt"/>
                <a:ea typeface="+mn-ea"/>
                <a:cs typeface="+mn-cs"/>
              </a:defRPr>
            </a:lvl3pPr>
            <a:lvl4pPr marL="1371148" algn="l" defTabSz="914098" rtl="0" eaLnBrk="1" latinLnBrk="0" hangingPunct="1">
              <a:defRPr sz="1765" kern="1200">
                <a:solidFill>
                  <a:schemeClr val="tx1"/>
                </a:solidFill>
                <a:latin typeface="+mn-lt"/>
                <a:ea typeface="+mn-ea"/>
                <a:cs typeface="+mn-cs"/>
              </a:defRPr>
            </a:lvl4pPr>
            <a:lvl5pPr marL="1828197" algn="l" defTabSz="914098" rtl="0" eaLnBrk="1" latinLnBrk="0" hangingPunct="1">
              <a:defRPr sz="1765" kern="1200">
                <a:solidFill>
                  <a:schemeClr val="tx1"/>
                </a:solidFill>
                <a:latin typeface="+mn-lt"/>
                <a:ea typeface="+mn-ea"/>
                <a:cs typeface="+mn-cs"/>
              </a:defRPr>
            </a:lvl5pPr>
            <a:lvl6pPr marL="2285246" algn="l" defTabSz="914098" rtl="0" eaLnBrk="1" latinLnBrk="0" hangingPunct="1">
              <a:defRPr sz="1765" kern="1200">
                <a:solidFill>
                  <a:schemeClr val="tx1"/>
                </a:solidFill>
                <a:latin typeface="+mn-lt"/>
                <a:ea typeface="+mn-ea"/>
                <a:cs typeface="+mn-cs"/>
              </a:defRPr>
            </a:lvl6pPr>
            <a:lvl7pPr marL="2742295" algn="l" defTabSz="914098" rtl="0" eaLnBrk="1" latinLnBrk="0" hangingPunct="1">
              <a:defRPr sz="1765" kern="1200">
                <a:solidFill>
                  <a:schemeClr val="tx1"/>
                </a:solidFill>
                <a:latin typeface="+mn-lt"/>
                <a:ea typeface="+mn-ea"/>
                <a:cs typeface="+mn-cs"/>
              </a:defRPr>
            </a:lvl7pPr>
            <a:lvl8pPr marL="3199344" algn="l" defTabSz="914098" rtl="0" eaLnBrk="1" latinLnBrk="0" hangingPunct="1">
              <a:defRPr sz="1765" kern="1200">
                <a:solidFill>
                  <a:schemeClr val="tx1"/>
                </a:solidFill>
                <a:latin typeface="+mn-lt"/>
                <a:ea typeface="+mn-ea"/>
                <a:cs typeface="+mn-cs"/>
              </a:defRPr>
            </a:lvl8pPr>
            <a:lvl9pPr marL="3656394" algn="l" defTabSz="914098" rtl="0" eaLnBrk="1" latinLnBrk="0" hangingPunct="1">
              <a:defRPr sz="1765" kern="1200">
                <a:solidFill>
                  <a:schemeClr val="tx1"/>
                </a:solidFill>
                <a:latin typeface="+mn-lt"/>
                <a:ea typeface="+mn-ea"/>
                <a:cs typeface="+mn-cs"/>
              </a:defRPr>
            </a:lvl9pPr>
          </a:lstStyle>
          <a:p>
            <a:r>
              <a:rPr lang="en-US" sz="5686" dirty="0">
                <a:solidFill>
                  <a:srgbClr val="505050"/>
                </a:solidFill>
                <a:latin typeface="Arial" pitchFamily="34" charset="0"/>
                <a:cs typeface="Arial" pitchFamily="34" charset="0"/>
              </a:rPr>
              <a:t>1</a:t>
            </a:r>
          </a:p>
        </p:txBody>
      </p:sp>
      <p:sp>
        <p:nvSpPr>
          <p:cNvPr id="30" name="TextBox 29"/>
          <p:cNvSpPr txBox="1"/>
          <p:nvPr/>
        </p:nvSpPr>
        <p:spPr>
          <a:xfrm>
            <a:off x="8750807" y="1480662"/>
            <a:ext cx="2326443" cy="452590"/>
          </a:xfrm>
          <a:prstGeom prst="rect">
            <a:avLst/>
          </a:prstGeom>
          <a:noFill/>
        </p:spPr>
        <p:txBody>
          <a:bodyPr wrap="square" rtlCol="0">
            <a:spAutoFit/>
          </a:bodyPr>
          <a:lstStyle>
            <a:defPPr>
              <a:defRPr lang="en-US"/>
            </a:defPPr>
            <a:lvl1pPr marL="0" algn="l" defTabSz="914098" rtl="0" eaLnBrk="1" latinLnBrk="0" hangingPunct="1">
              <a:defRPr sz="1765" kern="1200">
                <a:solidFill>
                  <a:schemeClr val="tx1"/>
                </a:solidFill>
                <a:latin typeface="+mn-lt"/>
                <a:ea typeface="+mn-ea"/>
                <a:cs typeface="+mn-cs"/>
              </a:defRPr>
            </a:lvl1pPr>
            <a:lvl2pPr marL="457050" algn="l" defTabSz="914098" rtl="0" eaLnBrk="1" latinLnBrk="0" hangingPunct="1">
              <a:defRPr sz="1765" kern="1200">
                <a:solidFill>
                  <a:schemeClr val="tx1"/>
                </a:solidFill>
                <a:latin typeface="+mn-lt"/>
                <a:ea typeface="+mn-ea"/>
                <a:cs typeface="+mn-cs"/>
              </a:defRPr>
            </a:lvl2pPr>
            <a:lvl3pPr marL="914098" algn="l" defTabSz="914098" rtl="0" eaLnBrk="1" latinLnBrk="0" hangingPunct="1">
              <a:defRPr sz="1765" kern="1200">
                <a:solidFill>
                  <a:schemeClr val="tx1"/>
                </a:solidFill>
                <a:latin typeface="+mn-lt"/>
                <a:ea typeface="+mn-ea"/>
                <a:cs typeface="+mn-cs"/>
              </a:defRPr>
            </a:lvl3pPr>
            <a:lvl4pPr marL="1371148" algn="l" defTabSz="914098" rtl="0" eaLnBrk="1" latinLnBrk="0" hangingPunct="1">
              <a:defRPr sz="1765" kern="1200">
                <a:solidFill>
                  <a:schemeClr val="tx1"/>
                </a:solidFill>
                <a:latin typeface="+mn-lt"/>
                <a:ea typeface="+mn-ea"/>
                <a:cs typeface="+mn-cs"/>
              </a:defRPr>
            </a:lvl4pPr>
            <a:lvl5pPr marL="1828197" algn="l" defTabSz="914098" rtl="0" eaLnBrk="1" latinLnBrk="0" hangingPunct="1">
              <a:defRPr sz="1765" kern="1200">
                <a:solidFill>
                  <a:schemeClr val="tx1"/>
                </a:solidFill>
                <a:latin typeface="+mn-lt"/>
                <a:ea typeface="+mn-ea"/>
                <a:cs typeface="+mn-cs"/>
              </a:defRPr>
            </a:lvl5pPr>
            <a:lvl6pPr marL="2285246" algn="l" defTabSz="914098" rtl="0" eaLnBrk="1" latinLnBrk="0" hangingPunct="1">
              <a:defRPr sz="1765" kern="1200">
                <a:solidFill>
                  <a:schemeClr val="tx1"/>
                </a:solidFill>
                <a:latin typeface="+mn-lt"/>
                <a:ea typeface="+mn-ea"/>
                <a:cs typeface="+mn-cs"/>
              </a:defRPr>
            </a:lvl6pPr>
            <a:lvl7pPr marL="2742295" algn="l" defTabSz="914098" rtl="0" eaLnBrk="1" latinLnBrk="0" hangingPunct="1">
              <a:defRPr sz="1765" kern="1200">
                <a:solidFill>
                  <a:schemeClr val="tx1"/>
                </a:solidFill>
                <a:latin typeface="+mn-lt"/>
                <a:ea typeface="+mn-ea"/>
                <a:cs typeface="+mn-cs"/>
              </a:defRPr>
            </a:lvl7pPr>
            <a:lvl8pPr marL="3199344" algn="l" defTabSz="914098" rtl="0" eaLnBrk="1" latinLnBrk="0" hangingPunct="1">
              <a:defRPr sz="1765" kern="1200">
                <a:solidFill>
                  <a:schemeClr val="tx1"/>
                </a:solidFill>
                <a:latin typeface="+mn-lt"/>
                <a:ea typeface="+mn-ea"/>
                <a:cs typeface="+mn-cs"/>
              </a:defRPr>
            </a:lvl8pPr>
            <a:lvl9pPr marL="3656394" algn="l" defTabSz="914098" rtl="0" eaLnBrk="1" latinLnBrk="0" hangingPunct="1">
              <a:defRPr sz="1765" kern="1200">
                <a:solidFill>
                  <a:schemeClr val="tx1"/>
                </a:solidFill>
                <a:latin typeface="+mn-lt"/>
                <a:ea typeface="+mn-ea"/>
                <a:cs typeface="+mn-cs"/>
              </a:defRPr>
            </a:lvl9pPr>
          </a:lstStyle>
          <a:p>
            <a:pPr>
              <a:defRPr/>
            </a:pPr>
            <a:r>
              <a:rPr lang="en-US" sz="2353" kern="0" dirty="0">
                <a:solidFill>
                  <a:srgbClr val="505050">
                    <a:lumMod val="75000"/>
                    <a:lumOff val="25000"/>
                  </a:srgbClr>
                </a:solidFill>
                <a:latin typeface="Segoe UI Light"/>
                <a:cs typeface="Arial" pitchFamily="34" charset="0"/>
              </a:rPr>
              <a:t>Monitor + Learn</a:t>
            </a:r>
          </a:p>
        </p:txBody>
      </p:sp>
      <p:sp>
        <p:nvSpPr>
          <p:cNvPr id="35" name="TextBox 34"/>
          <p:cNvSpPr txBox="1"/>
          <p:nvPr/>
        </p:nvSpPr>
        <p:spPr>
          <a:xfrm>
            <a:off x="8891675" y="5410265"/>
            <a:ext cx="1186703" cy="452590"/>
          </a:xfrm>
          <a:prstGeom prst="rect">
            <a:avLst/>
          </a:prstGeom>
          <a:noFill/>
        </p:spPr>
        <p:txBody>
          <a:bodyPr wrap="square" rtlCol="0">
            <a:spAutoFit/>
          </a:bodyPr>
          <a:lstStyle>
            <a:defPPr>
              <a:defRPr lang="en-US"/>
            </a:defPPr>
            <a:lvl1pPr marL="0" algn="l" defTabSz="914098" rtl="0" eaLnBrk="1" latinLnBrk="0" hangingPunct="1">
              <a:defRPr sz="1765" kern="1200">
                <a:solidFill>
                  <a:schemeClr val="tx1"/>
                </a:solidFill>
                <a:latin typeface="+mn-lt"/>
                <a:ea typeface="+mn-ea"/>
                <a:cs typeface="+mn-cs"/>
              </a:defRPr>
            </a:lvl1pPr>
            <a:lvl2pPr marL="457050" algn="l" defTabSz="914098" rtl="0" eaLnBrk="1" latinLnBrk="0" hangingPunct="1">
              <a:defRPr sz="1765" kern="1200">
                <a:solidFill>
                  <a:schemeClr val="tx1"/>
                </a:solidFill>
                <a:latin typeface="+mn-lt"/>
                <a:ea typeface="+mn-ea"/>
                <a:cs typeface="+mn-cs"/>
              </a:defRPr>
            </a:lvl2pPr>
            <a:lvl3pPr marL="914098" algn="l" defTabSz="914098" rtl="0" eaLnBrk="1" latinLnBrk="0" hangingPunct="1">
              <a:defRPr sz="1765" kern="1200">
                <a:solidFill>
                  <a:schemeClr val="tx1"/>
                </a:solidFill>
                <a:latin typeface="+mn-lt"/>
                <a:ea typeface="+mn-ea"/>
                <a:cs typeface="+mn-cs"/>
              </a:defRPr>
            </a:lvl3pPr>
            <a:lvl4pPr marL="1371148" algn="l" defTabSz="914098" rtl="0" eaLnBrk="1" latinLnBrk="0" hangingPunct="1">
              <a:defRPr sz="1765" kern="1200">
                <a:solidFill>
                  <a:schemeClr val="tx1"/>
                </a:solidFill>
                <a:latin typeface="+mn-lt"/>
                <a:ea typeface="+mn-ea"/>
                <a:cs typeface="+mn-cs"/>
              </a:defRPr>
            </a:lvl4pPr>
            <a:lvl5pPr marL="1828197" algn="l" defTabSz="914098" rtl="0" eaLnBrk="1" latinLnBrk="0" hangingPunct="1">
              <a:defRPr sz="1765" kern="1200">
                <a:solidFill>
                  <a:schemeClr val="tx1"/>
                </a:solidFill>
                <a:latin typeface="+mn-lt"/>
                <a:ea typeface="+mn-ea"/>
                <a:cs typeface="+mn-cs"/>
              </a:defRPr>
            </a:lvl5pPr>
            <a:lvl6pPr marL="2285246" algn="l" defTabSz="914098" rtl="0" eaLnBrk="1" latinLnBrk="0" hangingPunct="1">
              <a:defRPr sz="1765" kern="1200">
                <a:solidFill>
                  <a:schemeClr val="tx1"/>
                </a:solidFill>
                <a:latin typeface="+mn-lt"/>
                <a:ea typeface="+mn-ea"/>
                <a:cs typeface="+mn-cs"/>
              </a:defRPr>
            </a:lvl6pPr>
            <a:lvl7pPr marL="2742295" algn="l" defTabSz="914098" rtl="0" eaLnBrk="1" latinLnBrk="0" hangingPunct="1">
              <a:defRPr sz="1765" kern="1200">
                <a:solidFill>
                  <a:schemeClr val="tx1"/>
                </a:solidFill>
                <a:latin typeface="+mn-lt"/>
                <a:ea typeface="+mn-ea"/>
                <a:cs typeface="+mn-cs"/>
              </a:defRPr>
            </a:lvl7pPr>
            <a:lvl8pPr marL="3199344" algn="l" defTabSz="914098" rtl="0" eaLnBrk="1" latinLnBrk="0" hangingPunct="1">
              <a:defRPr sz="1765" kern="1200">
                <a:solidFill>
                  <a:schemeClr val="tx1"/>
                </a:solidFill>
                <a:latin typeface="+mn-lt"/>
                <a:ea typeface="+mn-ea"/>
                <a:cs typeface="+mn-cs"/>
              </a:defRPr>
            </a:lvl8pPr>
            <a:lvl9pPr marL="3656394" algn="l" defTabSz="914098" rtl="0" eaLnBrk="1" latinLnBrk="0" hangingPunct="1">
              <a:defRPr sz="1765" kern="1200">
                <a:solidFill>
                  <a:schemeClr val="tx1"/>
                </a:solidFill>
                <a:latin typeface="+mn-lt"/>
                <a:ea typeface="+mn-ea"/>
                <a:cs typeface="+mn-cs"/>
              </a:defRPr>
            </a:lvl9pPr>
          </a:lstStyle>
          <a:p>
            <a:pPr>
              <a:defRPr/>
            </a:pPr>
            <a:r>
              <a:rPr lang="en-US" sz="2353" kern="0" dirty="0">
                <a:solidFill>
                  <a:srgbClr val="505050">
                    <a:lumMod val="75000"/>
                    <a:lumOff val="25000"/>
                  </a:srgbClr>
                </a:solidFill>
                <a:latin typeface="Segoe UI Light"/>
                <a:cs typeface="Arial" pitchFamily="34" charset="0"/>
              </a:rPr>
              <a:t>Release</a:t>
            </a:r>
          </a:p>
        </p:txBody>
      </p:sp>
      <p:sp>
        <p:nvSpPr>
          <p:cNvPr id="37" name="TextBox 36"/>
          <p:cNvSpPr txBox="1"/>
          <p:nvPr/>
        </p:nvSpPr>
        <p:spPr>
          <a:xfrm>
            <a:off x="2345306" y="5470610"/>
            <a:ext cx="2098401" cy="452590"/>
          </a:xfrm>
          <a:prstGeom prst="rect">
            <a:avLst/>
          </a:prstGeom>
          <a:noFill/>
        </p:spPr>
        <p:txBody>
          <a:bodyPr wrap="square" rtlCol="0">
            <a:spAutoFit/>
          </a:bodyPr>
          <a:lstStyle>
            <a:defPPr>
              <a:defRPr lang="en-US"/>
            </a:defPPr>
            <a:lvl1pPr marL="0" algn="l" defTabSz="914098" rtl="0" eaLnBrk="1" latinLnBrk="0" hangingPunct="1">
              <a:defRPr sz="1765" kern="1200">
                <a:solidFill>
                  <a:schemeClr val="tx1"/>
                </a:solidFill>
                <a:latin typeface="+mn-lt"/>
                <a:ea typeface="+mn-ea"/>
                <a:cs typeface="+mn-cs"/>
              </a:defRPr>
            </a:lvl1pPr>
            <a:lvl2pPr marL="457050" algn="l" defTabSz="914098" rtl="0" eaLnBrk="1" latinLnBrk="0" hangingPunct="1">
              <a:defRPr sz="1765" kern="1200">
                <a:solidFill>
                  <a:schemeClr val="tx1"/>
                </a:solidFill>
                <a:latin typeface="+mn-lt"/>
                <a:ea typeface="+mn-ea"/>
                <a:cs typeface="+mn-cs"/>
              </a:defRPr>
            </a:lvl2pPr>
            <a:lvl3pPr marL="914098" algn="l" defTabSz="914098" rtl="0" eaLnBrk="1" latinLnBrk="0" hangingPunct="1">
              <a:defRPr sz="1765" kern="1200">
                <a:solidFill>
                  <a:schemeClr val="tx1"/>
                </a:solidFill>
                <a:latin typeface="+mn-lt"/>
                <a:ea typeface="+mn-ea"/>
                <a:cs typeface="+mn-cs"/>
              </a:defRPr>
            </a:lvl3pPr>
            <a:lvl4pPr marL="1371148" algn="l" defTabSz="914098" rtl="0" eaLnBrk="1" latinLnBrk="0" hangingPunct="1">
              <a:defRPr sz="1765" kern="1200">
                <a:solidFill>
                  <a:schemeClr val="tx1"/>
                </a:solidFill>
                <a:latin typeface="+mn-lt"/>
                <a:ea typeface="+mn-ea"/>
                <a:cs typeface="+mn-cs"/>
              </a:defRPr>
            </a:lvl4pPr>
            <a:lvl5pPr marL="1828197" algn="l" defTabSz="914098" rtl="0" eaLnBrk="1" latinLnBrk="0" hangingPunct="1">
              <a:defRPr sz="1765" kern="1200">
                <a:solidFill>
                  <a:schemeClr val="tx1"/>
                </a:solidFill>
                <a:latin typeface="+mn-lt"/>
                <a:ea typeface="+mn-ea"/>
                <a:cs typeface="+mn-cs"/>
              </a:defRPr>
            </a:lvl5pPr>
            <a:lvl6pPr marL="2285246" algn="l" defTabSz="914098" rtl="0" eaLnBrk="1" latinLnBrk="0" hangingPunct="1">
              <a:defRPr sz="1765" kern="1200">
                <a:solidFill>
                  <a:schemeClr val="tx1"/>
                </a:solidFill>
                <a:latin typeface="+mn-lt"/>
                <a:ea typeface="+mn-ea"/>
                <a:cs typeface="+mn-cs"/>
              </a:defRPr>
            </a:lvl6pPr>
            <a:lvl7pPr marL="2742295" algn="l" defTabSz="914098" rtl="0" eaLnBrk="1" latinLnBrk="0" hangingPunct="1">
              <a:defRPr sz="1765" kern="1200">
                <a:solidFill>
                  <a:schemeClr val="tx1"/>
                </a:solidFill>
                <a:latin typeface="+mn-lt"/>
                <a:ea typeface="+mn-ea"/>
                <a:cs typeface="+mn-cs"/>
              </a:defRPr>
            </a:lvl7pPr>
            <a:lvl8pPr marL="3199344" algn="l" defTabSz="914098" rtl="0" eaLnBrk="1" latinLnBrk="0" hangingPunct="1">
              <a:defRPr sz="1765" kern="1200">
                <a:solidFill>
                  <a:schemeClr val="tx1"/>
                </a:solidFill>
                <a:latin typeface="+mn-lt"/>
                <a:ea typeface="+mn-ea"/>
                <a:cs typeface="+mn-cs"/>
              </a:defRPr>
            </a:lvl8pPr>
            <a:lvl9pPr marL="3656394" algn="l" defTabSz="914098" rtl="0" eaLnBrk="1" latinLnBrk="0" hangingPunct="1">
              <a:defRPr sz="1765" kern="1200">
                <a:solidFill>
                  <a:schemeClr val="tx1"/>
                </a:solidFill>
                <a:latin typeface="+mn-lt"/>
                <a:ea typeface="+mn-ea"/>
                <a:cs typeface="+mn-cs"/>
              </a:defRPr>
            </a:lvl9pPr>
          </a:lstStyle>
          <a:p>
            <a:pPr>
              <a:defRPr/>
            </a:pPr>
            <a:r>
              <a:rPr lang="en-US" sz="2353" kern="0" dirty="0">
                <a:solidFill>
                  <a:srgbClr val="FFFFFF">
                    <a:lumMod val="50000"/>
                  </a:srgbClr>
                </a:solidFill>
                <a:latin typeface="Segoe UI Light"/>
                <a:cs typeface="Arial" pitchFamily="34" charset="0"/>
              </a:rPr>
              <a:t>Develop + Test</a:t>
            </a:r>
          </a:p>
        </p:txBody>
      </p:sp>
      <p:sp>
        <p:nvSpPr>
          <p:cNvPr id="38" name="TextBox 37"/>
          <p:cNvSpPr txBox="1"/>
          <p:nvPr/>
        </p:nvSpPr>
        <p:spPr>
          <a:xfrm>
            <a:off x="1762440" y="5214143"/>
            <a:ext cx="586481" cy="965524"/>
          </a:xfrm>
          <a:prstGeom prst="rect">
            <a:avLst/>
          </a:prstGeom>
          <a:noFill/>
        </p:spPr>
        <p:txBody>
          <a:bodyPr wrap="square" rtlCol="0">
            <a:spAutoFit/>
          </a:bodyPr>
          <a:lstStyle>
            <a:defPPr>
              <a:defRPr lang="en-US"/>
            </a:defPPr>
            <a:lvl1pPr marL="0" algn="l" defTabSz="914098" rtl="0" eaLnBrk="1" latinLnBrk="0" hangingPunct="1">
              <a:defRPr sz="1765" kern="1200">
                <a:solidFill>
                  <a:schemeClr val="tx1"/>
                </a:solidFill>
                <a:latin typeface="+mn-lt"/>
                <a:ea typeface="+mn-ea"/>
                <a:cs typeface="+mn-cs"/>
              </a:defRPr>
            </a:lvl1pPr>
            <a:lvl2pPr marL="457050" algn="l" defTabSz="914098" rtl="0" eaLnBrk="1" latinLnBrk="0" hangingPunct="1">
              <a:defRPr sz="1765" kern="1200">
                <a:solidFill>
                  <a:schemeClr val="tx1"/>
                </a:solidFill>
                <a:latin typeface="+mn-lt"/>
                <a:ea typeface="+mn-ea"/>
                <a:cs typeface="+mn-cs"/>
              </a:defRPr>
            </a:lvl2pPr>
            <a:lvl3pPr marL="914098" algn="l" defTabSz="914098" rtl="0" eaLnBrk="1" latinLnBrk="0" hangingPunct="1">
              <a:defRPr sz="1765" kern="1200">
                <a:solidFill>
                  <a:schemeClr val="tx1"/>
                </a:solidFill>
                <a:latin typeface="+mn-lt"/>
                <a:ea typeface="+mn-ea"/>
                <a:cs typeface="+mn-cs"/>
              </a:defRPr>
            </a:lvl3pPr>
            <a:lvl4pPr marL="1371148" algn="l" defTabSz="914098" rtl="0" eaLnBrk="1" latinLnBrk="0" hangingPunct="1">
              <a:defRPr sz="1765" kern="1200">
                <a:solidFill>
                  <a:schemeClr val="tx1"/>
                </a:solidFill>
                <a:latin typeface="+mn-lt"/>
                <a:ea typeface="+mn-ea"/>
                <a:cs typeface="+mn-cs"/>
              </a:defRPr>
            </a:lvl4pPr>
            <a:lvl5pPr marL="1828197" algn="l" defTabSz="914098" rtl="0" eaLnBrk="1" latinLnBrk="0" hangingPunct="1">
              <a:defRPr sz="1765" kern="1200">
                <a:solidFill>
                  <a:schemeClr val="tx1"/>
                </a:solidFill>
                <a:latin typeface="+mn-lt"/>
                <a:ea typeface="+mn-ea"/>
                <a:cs typeface="+mn-cs"/>
              </a:defRPr>
            </a:lvl5pPr>
            <a:lvl6pPr marL="2285246" algn="l" defTabSz="914098" rtl="0" eaLnBrk="1" latinLnBrk="0" hangingPunct="1">
              <a:defRPr sz="1765" kern="1200">
                <a:solidFill>
                  <a:schemeClr val="tx1"/>
                </a:solidFill>
                <a:latin typeface="+mn-lt"/>
                <a:ea typeface="+mn-ea"/>
                <a:cs typeface="+mn-cs"/>
              </a:defRPr>
            </a:lvl6pPr>
            <a:lvl7pPr marL="2742295" algn="l" defTabSz="914098" rtl="0" eaLnBrk="1" latinLnBrk="0" hangingPunct="1">
              <a:defRPr sz="1765" kern="1200">
                <a:solidFill>
                  <a:schemeClr val="tx1"/>
                </a:solidFill>
                <a:latin typeface="+mn-lt"/>
                <a:ea typeface="+mn-ea"/>
                <a:cs typeface="+mn-cs"/>
              </a:defRPr>
            </a:lvl7pPr>
            <a:lvl8pPr marL="3199344" algn="l" defTabSz="914098" rtl="0" eaLnBrk="1" latinLnBrk="0" hangingPunct="1">
              <a:defRPr sz="1765" kern="1200">
                <a:solidFill>
                  <a:schemeClr val="tx1"/>
                </a:solidFill>
                <a:latin typeface="+mn-lt"/>
                <a:ea typeface="+mn-ea"/>
                <a:cs typeface="+mn-cs"/>
              </a:defRPr>
            </a:lvl8pPr>
            <a:lvl9pPr marL="3656394" algn="l" defTabSz="914098" rtl="0" eaLnBrk="1" latinLnBrk="0" hangingPunct="1">
              <a:defRPr sz="1765" kern="1200">
                <a:solidFill>
                  <a:schemeClr val="tx1"/>
                </a:solidFill>
                <a:latin typeface="+mn-lt"/>
                <a:ea typeface="+mn-ea"/>
                <a:cs typeface="+mn-cs"/>
              </a:defRPr>
            </a:lvl9pPr>
          </a:lstStyle>
          <a:p>
            <a:r>
              <a:rPr lang="en-US" sz="5686" dirty="0">
                <a:solidFill>
                  <a:srgbClr val="505050"/>
                </a:solidFill>
                <a:latin typeface="Arial" pitchFamily="34" charset="0"/>
                <a:cs typeface="Arial" pitchFamily="34" charset="0"/>
              </a:rPr>
              <a:t>2</a:t>
            </a:r>
          </a:p>
        </p:txBody>
      </p:sp>
      <p:sp>
        <p:nvSpPr>
          <p:cNvPr id="39" name="TextBox 38"/>
          <p:cNvSpPr txBox="1"/>
          <p:nvPr/>
        </p:nvSpPr>
        <p:spPr>
          <a:xfrm>
            <a:off x="807152" y="3352203"/>
            <a:ext cx="2049952" cy="380175"/>
          </a:xfrm>
          <a:prstGeom prst="rect">
            <a:avLst/>
          </a:prstGeom>
          <a:noFill/>
        </p:spPr>
        <p:txBody>
          <a:bodyPr wrap="square" lIns="0" tIns="0" rIns="0" bIns="0" rtlCol="0">
            <a:spAutoFit/>
          </a:bodyPr>
          <a:lstStyle>
            <a:defPPr>
              <a:defRPr lang="en-US"/>
            </a:defPPr>
            <a:lvl1pPr marL="0" algn="l" defTabSz="914098" rtl="0" eaLnBrk="1" latinLnBrk="0" hangingPunct="1">
              <a:defRPr sz="1765" kern="1200">
                <a:solidFill>
                  <a:schemeClr val="tx1"/>
                </a:solidFill>
                <a:latin typeface="+mn-lt"/>
                <a:ea typeface="+mn-ea"/>
                <a:cs typeface="+mn-cs"/>
              </a:defRPr>
            </a:lvl1pPr>
            <a:lvl2pPr marL="457050" algn="l" defTabSz="914098" rtl="0" eaLnBrk="1" latinLnBrk="0" hangingPunct="1">
              <a:defRPr sz="1765" kern="1200">
                <a:solidFill>
                  <a:schemeClr val="tx1"/>
                </a:solidFill>
                <a:latin typeface="+mn-lt"/>
                <a:ea typeface="+mn-ea"/>
                <a:cs typeface="+mn-cs"/>
              </a:defRPr>
            </a:lvl2pPr>
            <a:lvl3pPr marL="914098" algn="l" defTabSz="914098" rtl="0" eaLnBrk="1" latinLnBrk="0" hangingPunct="1">
              <a:defRPr sz="1765" kern="1200">
                <a:solidFill>
                  <a:schemeClr val="tx1"/>
                </a:solidFill>
                <a:latin typeface="+mn-lt"/>
                <a:ea typeface="+mn-ea"/>
                <a:cs typeface="+mn-cs"/>
              </a:defRPr>
            </a:lvl3pPr>
            <a:lvl4pPr marL="1371148" algn="l" defTabSz="914098" rtl="0" eaLnBrk="1" latinLnBrk="0" hangingPunct="1">
              <a:defRPr sz="1765" kern="1200">
                <a:solidFill>
                  <a:schemeClr val="tx1"/>
                </a:solidFill>
                <a:latin typeface="+mn-lt"/>
                <a:ea typeface="+mn-ea"/>
                <a:cs typeface="+mn-cs"/>
              </a:defRPr>
            </a:lvl4pPr>
            <a:lvl5pPr marL="1828197" algn="l" defTabSz="914098" rtl="0" eaLnBrk="1" latinLnBrk="0" hangingPunct="1">
              <a:defRPr sz="1765" kern="1200">
                <a:solidFill>
                  <a:schemeClr val="tx1"/>
                </a:solidFill>
                <a:latin typeface="+mn-lt"/>
                <a:ea typeface="+mn-ea"/>
                <a:cs typeface="+mn-cs"/>
              </a:defRPr>
            </a:lvl5pPr>
            <a:lvl6pPr marL="2285246" algn="l" defTabSz="914098" rtl="0" eaLnBrk="1" latinLnBrk="0" hangingPunct="1">
              <a:defRPr sz="1765" kern="1200">
                <a:solidFill>
                  <a:schemeClr val="tx1"/>
                </a:solidFill>
                <a:latin typeface="+mn-lt"/>
                <a:ea typeface="+mn-ea"/>
                <a:cs typeface="+mn-cs"/>
              </a:defRPr>
            </a:lvl6pPr>
            <a:lvl7pPr marL="2742295" algn="l" defTabSz="914098" rtl="0" eaLnBrk="1" latinLnBrk="0" hangingPunct="1">
              <a:defRPr sz="1765" kern="1200">
                <a:solidFill>
                  <a:schemeClr val="tx1"/>
                </a:solidFill>
                <a:latin typeface="+mn-lt"/>
                <a:ea typeface="+mn-ea"/>
                <a:cs typeface="+mn-cs"/>
              </a:defRPr>
            </a:lvl7pPr>
            <a:lvl8pPr marL="3199344" algn="l" defTabSz="914098" rtl="0" eaLnBrk="1" latinLnBrk="0" hangingPunct="1">
              <a:defRPr sz="1765" kern="1200">
                <a:solidFill>
                  <a:schemeClr val="tx1"/>
                </a:solidFill>
                <a:latin typeface="+mn-lt"/>
                <a:ea typeface="+mn-ea"/>
                <a:cs typeface="+mn-cs"/>
              </a:defRPr>
            </a:lvl8pPr>
            <a:lvl9pPr marL="3656394" algn="l" defTabSz="914098" rtl="0" eaLnBrk="1" latinLnBrk="0" hangingPunct="1">
              <a:defRPr sz="1765" kern="1200">
                <a:solidFill>
                  <a:schemeClr val="tx1"/>
                </a:solidFill>
                <a:latin typeface="+mn-lt"/>
                <a:ea typeface="+mn-ea"/>
                <a:cs typeface="+mn-cs"/>
              </a:defRPr>
            </a:lvl9pPr>
          </a:lstStyle>
          <a:p>
            <a:pPr algn="r" defTabSz="1242922">
              <a:lnSpc>
                <a:spcPct val="90000"/>
              </a:lnSpc>
              <a:defRPr/>
            </a:pPr>
            <a:r>
              <a:rPr lang="en-US" sz="2745" dirty="0">
                <a:solidFill>
                  <a:srgbClr val="818181"/>
                </a:solidFill>
                <a:latin typeface="Segoe UI Semilight" panose="020B0402040204020203" pitchFamily="34" charset="0"/>
                <a:cs typeface="Segoe UI Semilight" panose="020B0402040204020203" pitchFamily="34" charset="0"/>
              </a:rPr>
              <a:t>Development</a:t>
            </a:r>
          </a:p>
        </p:txBody>
      </p:sp>
      <p:sp>
        <p:nvSpPr>
          <p:cNvPr id="40" name="TextBox 39"/>
          <p:cNvSpPr txBox="1"/>
          <p:nvPr/>
        </p:nvSpPr>
        <p:spPr>
          <a:xfrm>
            <a:off x="9042368" y="3352203"/>
            <a:ext cx="1693148" cy="380175"/>
          </a:xfrm>
          <a:prstGeom prst="rect">
            <a:avLst/>
          </a:prstGeom>
          <a:noFill/>
        </p:spPr>
        <p:txBody>
          <a:bodyPr wrap="square" lIns="0" tIns="0" rIns="0" bIns="0" rtlCol="0">
            <a:spAutoFit/>
          </a:bodyPr>
          <a:lstStyle>
            <a:defPPr>
              <a:defRPr lang="en-US"/>
            </a:defPPr>
            <a:lvl1pPr marL="0" algn="l" defTabSz="914098" rtl="0" eaLnBrk="1" latinLnBrk="0" hangingPunct="1">
              <a:defRPr sz="1765" kern="1200">
                <a:solidFill>
                  <a:schemeClr val="tx1"/>
                </a:solidFill>
                <a:latin typeface="+mn-lt"/>
                <a:ea typeface="+mn-ea"/>
                <a:cs typeface="+mn-cs"/>
              </a:defRPr>
            </a:lvl1pPr>
            <a:lvl2pPr marL="457050" algn="l" defTabSz="914098" rtl="0" eaLnBrk="1" latinLnBrk="0" hangingPunct="1">
              <a:defRPr sz="1765" kern="1200">
                <a:solidFill>
                  <a:schemeClr val="tx1"/>
                </a:solidFill>
                <a:latin typeface="+mn-lt"/>
                <a:ea typeface="+mn-ea"/>
                <a:cs typeface="+mn-cs"/>
              </a:defRPr>
            </a:lvl2pPr>
            <a:lvl3pPr marL="914098" algn="l" defTabSz="914098" rtl="0" eaLnBrk="1" latinLnBrk="0" hangingPunct="1">
              <a:defRPr sz="1765" kern="1200">
                <a:solidFill>
                  <a:schemeClr val="tx1"/>
                </a:solidFill>
                <a:latin typeface="+mn-lt"/>
                <a:ea typeface="+mn-ea"/>
                <a:cs typeface="+mn-cs"/>
              </a:defRPr>
            </a:lvl3pPr>
            <a:lvl4pPr marL="1371148" algn="l" defTabSz="914098" rtl="0" eaLnBrk="1" latinLnBrk="0" hangingPunct="1">
              <a:defRPr sz="1765" kern="1200">
                <a:solidFill>
                  <a:schemeClr val="tx1"/>
                </a:solidFill>
                <a:latin typeface="+mn-lt"/>
                <a:ea typeface="+mn-ea"/>
                <a:cs typeface="+mn-cs"/>
              </a:defRPr>
            </a:lvl4pPr>
            <a:lvl5pPr marL="1828197" algn="l" defTabSz="914098" rtl="0" eaLnBrk="1" latinLnBrk="0" hangingPunct="1">
              <a:defRPr sz="1765" kern="1200">
                <a:solidFill>
                  <a:schemeClr val="tx1"/>
                </a:solidFill>
                <a:latin typeface="+mn-lt"/>
                <a:ea typeface="+mn-ea"/>
                <a:cs typeface="+mn-cs"/>
              </a:defRPr>
            </a:lvl5pPr>
            <a:lvl6pPr marL="2285246" algn="l" defTabSz="914098" rtl="0" eaLnBrk="1" latinLnBrk="0" hangingPunct="1">
              <a:defRPr sz="1765" kern="1200">
                <a:solidFill>
                  <a:schemeClr val="tx1"/>
                </a:solidFill>
                <a:latin typeface="+mn-lt"/>
                <a:ea typeface="+mn-ea"/>
                <a:cs typeface="+mn-cs"/>
              </a:defRPr>
            </a:lvl6pPr>
            <a:lvl7pPr marL="2742295" algn="l" defTabSz="914098" rtl="0" eaLnBrk="1" latinLnBrk="0" hangingPunct="1">
              <a:defRPr sz="1765" kern="1200">
                <a:solidFill>
                  <a:schemeClr val="tx1"/>
                </a:solidFill>
                <a:latin typeface="+mn-lt"/>
                <a:ea typeface="+mn-ea"/>
                <a:cs typeface="+mn-cs"/>
              </a:defRPr>
            </a:lvl7pPr>
            <a:lvl8pPr marL="3199344" algn="l" defTabSz="914098" rtl="0" eaLnBrk="1" latinLnBrk="0" hangingPunct="1">
              <a:defRPr sz="1765" kern="1200">
                <a:solidFill>
                  <a:schemeClr val="tx1"/>
                </a:solidFill>
                <a:latin typeface="+mn-lt"/>
                <a:ea typeface="+mn-ea"/>
                <a:cs typeface="+mn-cs"/>
              </a:defRPr>
            </a:lvl8pPr>
            <a:lvl9pPr marL="3656394" algn="l" defTabSz="914098" rtl="0" eaLnBrk="1" latinLnBrk="0" hangingPunct="1">
              <a:defRPr sz="1765" kern="1200">
                <a:solidFill>
                  <a:schemeClr val="tx1"/>
                </a:solidFill>
                <a:latin typeface="+mn-lt"/>
                <a:ea typeface="+mn-ea"/>
                <a:cs typeface="+mn-cs"/>
              </a:defRPr>
            </a:lvl9pPr>
          </a:lstStyle>
          <a:p>
            <a:pPr defTabSz="1242922">
              <a:lnSpc>
                <a:spcPct val="90000"/>
              </a:lnSpc>
              <a:defRPr/>
            </a:pPr>
            <a:r>
              <a:rPr lang="en-US" sz="2745" dirty="0">
                <a:solidFill>
                  <a:srgbClr val="818181"/>
                </a:solidFill>
                <a:latin typeface="Segoe UI Semilight" panose="020B0402040204020203" pitchFamily="34" charset="0"/>
                <a:cs typeface="Segoe UI Semilight" panose="020B0402040204020203" pitchFamily="34" charset="0"/>
              </a:rPr>
              <a:t>Production</a:t>
            </a:r>
          </a:p>
        </p:txBody>
      </p:sp>
      <p:sp>
        <p:nvSpPr>
          <p:cNvPr id="216" name="Title 18"/>
          <p:cNvSpPr txBox="1">
            <a:spLocks/>
          </p:cNvSpPr>
          <p:nvPr/>
        </p:nvSpPr>
        <p:spPr>
          <a:xfrm>
            <a:off x="268928" y="291548"/>
            <a:ext cx="11655840" cy="899537"/>
          </a:xfrm>
          <a:prstGeom prst="rect">
            <a:avLst/>
          </a:prstGeom>
          <a:ln>
            <a:noFill/>
          </a:ln>
        </p:spPr>
        <p:txBody>
          <a:bodyPr vert="horz" wrap="square" lIns="143428" tIns="89642" rIns="143428" bIns="89642" rtlCol="0" anchor="t">
            <a:noAutofit/>
          </a:bodyPr>
          <a:lstStyle>
            <a:defPPr>
              <a:defRPr lang="en-US"/>
            </a:defPPr>
            <a:lvl1pPr marL="0" algn="l" defTabSz="914098" rtl="0" eaLnBrk="1" latinLnBrk="0" hangingPunct="1">
              <a:defRPr sz="1765" kern="1200">
                <a:solidFill>
                  <a:schemeClr val="tx1"/>
                </a:solidFill>
                <a:latin typeface="+mn-lt"/>
                <a:ea typeface="+mn-ea"/>
                <a:cs typeface="+mn-cs"/>
              </a:defRPr>
            </a:lvl1pPr>
            <a:lvl2pPr marL="457050" algn="l" defTabSz="914098" rtl="0" eaLnBrk="1" latinLnBrk="0" hangingPunct="1">
              <a:defRPr sz="1765" kern="1200">
                <a:solidFill>
                  <a:schemeClr val="tx1"/>
                </a:solidFill>
                <a:latin typeface="+mn-lt"/>
                <a:ea typeface="+mn-ea"/>
                <a:cs typeface="+mn-cs"/>
              </a:defRPr>
            </a:lvl2pPr>
            <a:lvl3pPr marL="914098" algn="l" defTabSz="914098" rtl="0" eaLnBrk="1" latinLnBrk="0" hangingPunct="1">
              <a:defRPr sz="1765" kern="1200">
                <a:solidFill>
                  <a:schemeClr val="tx1"/>
                </a:solidFill>
                <a:latin typeface="+mn-lt"/>
                <a:ea typeface="+mn-ea"/>
                <a:cs typeface="+mn-cs"/>
              </a:defRPr>
            </a:lvl3pPr>
            <a:lvl4pPr marL="1371148" algn="l" defTabSz="914098" rtl="0" eaLnBrk="1" latinLnBrk="0" hangingPunct="1">
              <a:defRPr sz="1765" kern="1200">
                <a:solidFill>
                  <a:schemeClr val="tx1"/>
                </a:solidFill>
                <a:latin typeface="+mn-lt"/>
                <a:ea typeface="+mn-ea"/>
                <a:cs typeface="+mn-cs"/>
              </a:defRPr>
            </a:lvl4pPr>
            <a:lvl5pPr marL="1828197" algn="l" defTabSz="914098" rtl="0" eaLnBrk="1" latinLnBrk="0" hangingPunct="1">
              <a:defRPr sz="1765" kern="1200">
                <a:solidFill>
                  <a:schemeClr val="tx1"/>
                </a:solidFill>
                <a:latin typeface="+mn-lt"/>
                <a:ea typeface="+mn-ea"/>
                <a:cs typeface="+mn-cs"/>
              </a:defRPr>
            </a:lvl5pPr>
            <a:lvl6pPr marL="2285246" algn="l" defTabSz="914098" rtl="0" eaLnBrk="1" latinLnBrk="0" hangingPunct="1">
              <a:defRPr sz="1765" kern="1200">
                <a:solidFill>
                  <a:schemeClr val="tx1"/>
                </a:solidFill>
                <a:latin typeface="+mn-lt"/>
                <a:ea typeface="+mn-ea"/>
                <a:cs typeface="+mn-cs"/>
              </a:defRPr>
            </a:lvl6pPr>
            <a:lvl7pPr marL="2742295" algn="l" defTabSz="914098" rtl="0" eaLnBrk="1" latinLnBrk="0" hangingPunct="1">
              <a:defRPr sz="1765" kern="1200">
                <a:solidFill>
                  <a:schemeClr val="tx1"/>
                </a:solidFill>
                <a:latin typeface="+mn-lt"/>
                <a:ea typeface="+mn-ea"/>
                <a:cs typeface="+mn-cs"/>
              </a:defRPr>
            </a:lvl7pPr>
            <a:lvl8pPr marL="3199344" algn="l" defTabSz="914098" rtl="0" eaLnBrk="1" latinLnBrk="0" hangingPunct="1">
              <a:defRPr sz="1765" kern="1200">
                <a:solidFill>
                  <a:schemeClr val="tx1"/>
                </a:solidFill>
                <a:latin typeface="+mn-lt"/>
                <a:ea typeface="+mn-ea"/>
                <a:cs typeface="+mn-cs"/>
              </a:defRPr>
            </a:lvl8pPr>
            <a:lvl9pPr marL="3656394" algn="l" defTabSz="914098" rtl="0" eaLnBrk="1" latinLnBrk="0" hangingPunct="1">
              <a:defRPr sz="1765" kern="1200">
                <a:solidFill>
                  <a:schemeClr val="tx1"/>
                </a:solidFill>
                <a:latin typeface="+mn-lt"/>
                <a:ea typeface="+mn-ea"/>
                <a:cs typeface="+mn-cs"/>
              </a:defRPr>
            </a:lvl9pPr>
          </a:lstStyle>
          <a:p>
            <a:r>
              <a:rPr sz="1730" dirty="0">
                <a:gradFill>
                  <a:gsLst>
                    <a:gs pos="1250">
                      <a:schemeClr val="tx2"/>
                    </a:gs>
                    <a:gs pos="100000">
                      <a:schemeClr val="tx2"/>
                    </a:gs>
                  </a:gsLst>
                  <a:lin ang="5400000" scaled="0"/>
                </a:gradFill>
              </a:rPr>
              <a:t>DevOps</a:t>
            </a:r>
          </a:p>
        </p:txBody>
      </p:sp>
      <p:sp>
        <p:nvSpPr>
          <p:cNvPr id="31" name="TextBox 30"/>
          <p:cNvSpPr txBox="1"/>
          <p:nvPr/>
        </p:nvSpPr>
        <p:spPr>
          <a:xfrm>
            <a:off x="8150618" y="1224195"/>
            <a:ext cx="586481" cy="965524"/>
          </a:xfrm>
          <a:prstGeom prst="rect">
            <a:avLst/>
          </a:prstGeom>
          <a:noFill/>
        </p:spPr>
        <p:txBody>
          <a:bodyPr wrap="square" rtlCol="0">
            <a:spAutoFit/>
          </a:bodyPr>
          <a:lstStyle>
            <a:defPPr>
              <a:defRPr lang="en-US"/>
            </a:defPPr>
            <a:lvl1pPr marL="0" algn="l" defTabSz="914098" rtl="0" eaLnBrk="1" latinLnBrk="0" hangingPunct="1">
              <a:defRPr sz="1765" kern="1200">
                <a:solidFill>
                  <a:schemeClr val="tx1"/>
                </a:solidFill>
                <a:latin typeface="+mn-lt"/>
                <a:ea typeface="+mn-ea"/>
                <a:cs typeface="+mn-cs"/>
              </a:defRPr>
            </a:lvl1pPr>
            <a:lvl2pPr marL="457050" algn="l" defTabSz="914098" rtl="0" eaLnBrk="1" latinLnBrk="0" hangingPunct="1">
              <a:defRPr sz="1765" kern="1200">
                <a:solidFill>
                  <a:schemeClr val="tx1"/>
                </a:solidFill>
                <a:latin typeface="+mn-lt"/>
                <a:ea typeface="+mn-ea"/>
                <a:cs typeface="+mn-cs"/>
              </a:defRPr>
            </a:lvl2pPr>
            <a:lvl3pPr marL="914098" algn="l" defTabSz="914098" rtl="0" eaLnBrk="1" latinLnBrk="0" hangingPunct="1">
              <a:defRPr sz="1765" kern="1200">
                <a:solidFill>
                  <a:schemeClr val="tx1"/>
                </a:solidFill>
                <a:latin typeface="+mn-lt"/>
                <a:ea typeface="+mn-ea"/>
                <a:cs typeface="+mn-cs"/>
              </a:defRPr>
            </a:lvl3pPr>
            <a:lvl4pPr marL="1371148" algn="l" defTabSz="914098" rtl="0" eaLnBrk="1" latinLnBrk="0" hangingPunct="1">
              <a:defRPr sz="1765" kern="1200">
                <a:solidFill>
                  <a:schemeClr val="tx1"/>
                </a:solidFill>
                <a:latin typeface="+mn-lt"/>
                <a:ea typeface="+mn-ea"/>
                <a:cs typeface="+mn-cs"/>
              </a:defRPr>
            </a:lvl4pPr>
            <a:lvl5pPr marL="1828197" algn="l" defTabSz="914098" rtl="0" eaLnBrk="1" latinLnBrk="0" hangingPunct="1">
              <a:defRPr sz="1765" kern="1200">
                <a:solidFill>
                  <a:schemeClr val="tx1"/>
                </a:solidFill>
                <a:latin typeface="+mn-lt"/>
                <a:ea typeface="+mn-ea"/>
                <a:cs typeface="+mn-cs"/>
              </a:defRPr>
            </a:lvl5pPr>
            <a:lvl6pPr marL="2285246" algn="l" defTabSz="914098" rtl="0" eaLnBrk="1" latinLnBrk="0" hangingPunct="1">
              <a:defRPr sz="1765" kern="1200">
                <a:solidFill>
                  <a:schemeClr val="tx1"/>
                </a:solidFill>
                <a:latin typeface="+mn-lt"/>
                <a:ea typeface="+mn-ea"/>
                <a:cs typeface="+mn-cs"/>
              </a:defRPr>
            </a:lvl6pPr>
            <a:lvl7pPr marL="2742295" algn="l" defTabSz="914098" rtl="0" eaLnBrk="1" latinLnBrk="0" hangingPunct="1">
              <a:defRPr sz="1765" kern="1200">
                <a:solidFill>
                  <a:schemeClr val="tx1"/>
                </a:solidFill>
                <a:latin typeface="+mn-lt"/>
                <a:ea typeface="+mn-ea"/>
                <a:cs typeface="+mn-cs"/>
              </a:defRPr>
            </a:lvl7pPr>
            <a:lvl8pPr marL="3199344" algn="l" defTabSz="914098" rtl="0" eaLnBrk="1" latinLnBrk="0" hangingPunct="1">
              <a:defRPr sz="1765" kern="1200">
                <a:solidFill>
                  <a:schemeClr val="tx1"/>
                </a:solidFill>
                <a:latin typeface="+mn-lt"/>
                <a:ea typeface="+mn-ea"/>
                <a:cs typeface="+mn-cs"/>
              </a:defRPr>
            </a:lvl8pPr>
            <a:lvl9pPr marL="3656394" algn="l" defTabSz="914098" rtl="0" eaLnBrk="1" latinLnBrk="0" hangingPunct="1">
              <a:defRPr sz="1765" kern="1200">
                <a:solidFill>
                  <a:schemeClr val="tx1"/>
                </a:solidFill>
                <a:latin typeface="+mn-lt"/>
                <a:ea typeface="+mn-ea"/>
                <a:cs typeface="+mn-cs"/>
              </a:defRPr>
            </a:lvl9pPr>
          </a:lstStyle>
          <a:p>
            <a:r>
              <a:rPr lang="en-US" sz="5686" dirty="0">
                <a:solidFill>
                  <a:srgbClr val="505050"/>
                </a:solidFill>
                <a:latin typeface="Arial" pitchFamily="34" charset="0"/>
                <a:cs typeface="Arial" pitchFamily="34" charset="0"/>
              </a:rPr>
              <a:t>4</a:t>
            </a:r>
          </a:p>
        </p:txBody>
      </p:sp>
      <p:sp>
        <p:nvSpPr>
          <p:cNvPr id="36" name="TextBox 35"/>
          <p:cNvSpPr txBox="1"/>
          <p:nvPr/>
        </p:nvSpPr>
        <p:spPr>
          <a:xfrm>
            <a:off x="8329905" y="5147886"/>
            <a:ext cx="586481" cy="965524"/>
          </a:xfrm>
          <a:prstGeom prst="rect">
            <a:avLst/>
          </a:prstGeom>
          <a:noFill/>
        </p:spPr>
        <p:txBody>
          <a:bodyPr wrap="square" rtlCol="0">
            <a:spAutoFit/>
          </a:bodyPr>
          <a:lstStyle>
            <a:defPPr>
              <a:defRPr lang="en-US"/>
            </a:defPPr>
            <a:lvl1pPr marL="0" algn="l" defTabSz="914098" rtl="0" eaLnBrk="1" latinLnBrk="0" hangingPunct="1">
              <a:defRPr sz="1765" kern="1200">
                <a:solidFill>
                  <a:schemeClr val="tx1"/>
                </a:solidFill>
                <a:latin typeface="+mn-lt"/>
                <a:ea typeface="+mn-ea"/>
                <a:cs typeface="+mn-cs"/>
              </a:defRPr>
            </a:lvl1pPr>
            <a:lvl2pPr marL="457050" algn="l" defTabSz="914098" rtl="0" eaLnBrk="1" latinLnBrk="0" hangingPunct="1">
              <a:defRPr sz="1765" kern="1200">
                <a:solidFill>
                  <a:schemeClr val="tx1"/>
                </a:solidFill>
                <a:latin typeface="+mn-lt"/>
                <a:ea typeface="+mn-ea"/>
                <a:cs typeface="+mn-cs"/>
              </a:defRPr>
            </a:lvl2pPr>
            <a:lvl3pPr marL="914098" algn="l" defTabSz="914098" rtl="0" eaLnBrk="1" latinLnBrk="0" hangingPunct="1">
              <a:defRPr sz="1765" kern="1200">
                <a:solidFill>
                  <a:schemeClr val="tx1"/>
                </a:solidFill>
                <a:latin typeface="+mn-lt"/>
                <a:ea typeface="+mn-ea"/>
                <a:cs typeface="+mn-cs"/>
              </a:defRPr>
            </a:lvl3pPr>
            <a:lvl4pPr marL="1371148" algn="l" defTabSz="914098" rtl="0" eaLnBrk="1" latinLnBrk="0" hangingPunct="1">
              <a:defRPr sz="1765" kern="1200">
                <a:solidFill>
                  <a:schemeClr val="tx1"/>
                </a:solidFill>
                <a:latin typeface="+mn-lt"/>
                <a:ea typeface="+mn-ea"/>
                <a:cs typeface="+mn-cs"/>
              </a:defRPr>
            </a:lvl4pPr>
            <a:lvl5pPr marL="1828197" algn="l" defTabSz="914098" rtl="0" eaLnBrk="1" latinLnBrk="0" hangingPunct="1">
              <a:defRPr sz="1765" kern="1200">
                <a:solidFill>
                  <a:schemeClr val="tx1"/>
                </a:solidFill>
                <a:latin typeface="+mn-lt"/>
                <a:ea typeface="+mn-ea"/>
                <a:cs typeface="+mn-cs"/>
              </a:defRPr>
            </a:lvl5pPr>
            <a:lvl6pPr marL="2285246" algn="l" defTabSz="914098" rtl="0" eaLnBrk="1" latinLnBrk="0" hangingPunct="1">
              <a:defRPr sz="1765" kern="1200">
                <a:solidFill>
                  <a:schemeClr val="tx1"/>
                </a:solidFill>
                <a:latin typeface="+mn-lt"/>
                <a:ea typeface="+mn-ea"/>
                <a:cs typeface="+mn-cs"/>
              </a:defRPr>
            </a:lvl6pPr>
            <a:lvl7pPr marL="2742295" algn="l" defTabSz="914098" rtl="0" eaLnBrk="1" latinLnBrk="0" hangingPunct="1">
              <a:defRPr sz="1765" kern="1200">
                <a:solidFill>
                  <a:schemeClr val="tx1"/>
                </a:solidFill>
                <a:latin typeface="+mn-lt"/>
                <a:ea typeface="+mn-ea"/>
                <a:cs typeface="+mn-cs"/>
              </a:defRPr>
            </a:lvl7pPr>
            <a:lvl8pPr marL="3199344" algn="l" defTabSz="914098" rtl="0" eaLnBrk="1" latinLnBrk="0" hangingPunct="1">
              <a:defRPr sz="1765" kern="1200">
                <a:solidFill>
                  <a:schemeClr val="tx1"/>
                </a:solidFill>
                <a:latin typeface="+mn-lt"/>
                <a:ea typeface="+mn-ea"/>
                <a:cs typeface="+mn-cs"/>
              </a:defRPr>
            </a:lvl8pPr>
            <a:lvl9pPr marL="3656394" algn="l" defTabSz="914098" rtl="0" eaLnBrk="1" latinLnBrk="0" hangingPunct="1">
              <a:defRPr sz="1765" kern="1200">
                <a:solidFill>
                  <a:schemeClr val="tx1"/>
                </a:solidFill>
                <a:latin typeface="+mn-lt"/>
                <a:ea typeface="+mn-ea"/>
                <a:cs typeface="+mn-cs"/>
              </a:defRPr>
            </a:lvl9pPr>
          </a:lstStyle>
          <a:p>
            <a:r>
              <a:rPr lang="en-US" sz="5686" dirty="0">
                <a:solidFill>
                  <a:srgbClr val="505050"/>
                </a:solidFill>
                <a:latin typeface="Arial" pitchFamily="34" charset="0"/>
                <a:cs typeface="Arial" pitchFamily="34" charset="0"/>
              </a:rPr>
              <a:t>3</a:t>
            </a:r>
          </a:p>
        </p:txBody>
      </p:sp>
      <p:sp>
        <p:nvSpPr>
          <p:cNvPr id="44" name="Freeform 8"/>
          <p:cNvSpPr>
            <a:spLocks/>
          </p:cNvSpPr>
          <p:nvPr/>
        </p:nvSpPr>
        <p:spPr bwMode="auto">
          <a:xfrm>
            <a:off x="3689997" y="1299858"/>
            <a:ext cx="2259738" cy="2259738"/>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 name="T12" fmla="*/ 80 w 2679"/>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lnTo>
                  <a:pt x="80" y="2678"/>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US"/>
            </a:defPPr>
            <a:lvl1pPr marL="0" algn="l" defTabSz="914098" rtl="0" eaLnBrk="1" latinLnBrk="0" hangingPunct="1">
              <a:defRPr sz="1765" kern="1200">
                <a:solidFill>
                  <a:schemeClr val="tx1"/>
                </a:solidFill>
                <a:latin typeface="+mn-lt"/>
                <a:ea typeface="+mn-ea"/>
                <a:cs typeface="+mn-cs"/>
              </a:defRPr>
            </a:lvl1pPr>
            <a:lvl2pPr marL="457050" algn="l" defTabSz="914098" rtl="0" eaLnBrk="1" latinLnBrk="0" hangingPunct="1">
              <a:defRPr sz="1765" kern="1200">
                <a:solidFill>
                  <a:schemeClr val="tx1"/>
                </a:solidFill>
                <a:latin typeface="+mn-lt"/>
                <a:ea typeface="+mn-ea"/>
                <a:cs typeface="+mn-cs"/>
              </a:defRPr>
            </a:lvl2pPr>
            <a:lvl3pPr marL="914098" algn="l" defTabSz="914098" rtl="0" eaLnBrk="1" latinLnBrk="0" hangingPunct="1">
              <a:defRPr sz="1765" kern="1200">
                <a:solidFill>
                  <a:schemeClr val="tx1"/>
                </a:solidFill>
                <a:latin typeface="+mn-lt"/>
                <a:ea typeface="+mn-ea"/>
                <a:cs typeface="+mn-cs"/>
              </a:defRPr>
            </a:lvl3pPr>
            <a:lvl4pPr marL="1371148" algn="l" defTabSz="914098" rtl="0" eaLnBrk="1" latinLnBrk="0" hangingPunct="1">
              <a:defRPr sz="1765" kern="1200">
                <a:solidFill>
                  <a:schemeClr val="tx1"/>
                </a:solidFill>
                <a:latin typeface="+mn-lt"/>
                <a:ea typeface="+mn-ea"/>
                <a:cs typeface="+mn-cs"/>
              </a:defRPr>
            </a:lvl4pPr>
            <a:lvl5pPr marL="1828197" algn="l" defTabSz="914098" rtl="0" eaLnBrk="1" latinLnBrk="0" hangingPunct="1">
              <a:defRPr sz="1765" kern="1200">
                <a:solidFill>
                  <a:schemeClr val="tx1"/>
                </a:solidFill>
                <a:latin typeface="+mn-lt"/>
                <a:ea typeface="+mn-ea"/>
                <a:cs typeface="+mn-cs"/>
              </a:defRPr>
            </a:lvl5pPr>
            <a:lvl6pPr marL="2285246" algn="l" defTabSz="914098" rtl="0" eaLnBrk="1" latinLnBrk="0" hangingPunct="1">
              <a:defRPr sz="1765" kern="1200">
                <a:solidFill>
                  <a:schemeClr val="tx1"/>
                </a:solidFill>
                <a:latin typeface="+mn-lt"/>
                <a:ea typeface="+mn-ea"/>
                <a:cs typeface="+mn-cs"/>
              </a:defRPr>
            </a:lvl6pPr>
            <a:lvl7pPr marL="2742295" algn="l" defTabSz="914098" rtl="0" eaLnBrk="1" latinLnBrk="0" hangingPunct="1">
              <a:defRPr sz="1765" kern="1200">
                <a:solidFill>
                  <a:schemeClr val="tx1"/>
                </a:solidFill>
                <a:latin typeface="+mn-lt"/>
                <a:ea typeface="+mn-ea"/>
                <a:cs typeface="+mn-cs"/>
              </a:defRPr>
            </a:lvl7pPr>
            <a:lvl8pPr marL="3199344" algn="l" defTabSz="914098" rtl="0" eaLnBrk="1" latinLnBrk="0" hangingPunct="1">
              <a:defRPr sz="1765" kern="1200">
                <a:solidFill>
                  <a:schemeClr val="tx1"/>
                </a:solidFill>
                <a:latin typeface="+mn-lt"/>
                <a:ea typeface="+mn-ea"/>
                <a:cs typeface="+mn-cs"/>
              </a:defRPr>
            </a:lvl8pPr>
            <a:lvl9pPr marL="3656394" algn="l" defTabSz="914098" rtl="0" eaLnBrk="1" latinLnBrk="0" hangingPunct="1">
              <a:defRPr sz="1765" kern="1200">
                <a:solidFill>
                  <a:schemeClr val="tx1"/>
                </a:solidFill>
                <a:latin typeface="+mn-lt"/>
                <a:ea typeface="+mn-ea"/>
                <a:cs typeface="+mn-cs"/>
              </a:defRPr>
            </a:lvl9pPr>
          </a:lstStyle>
          <a:p>
            <a:endParaRPr lang="en-US" sz="1730">
              <a:solidFill>
                <a:srgbClr val="404040"/>
              </a:solidFill>
            </a:endParaRPr>
          </a:p>
        </p:txBody>
      </p:sp>
      <p:sp>
        <p:nvSpPr>
          <p:cNvPr id="46" name="Freeform 10"/>
          <p:cNvSpPr>
            <a:spLocks/>
          </p:cNvSpPr>
          <p:nvPr/>
        </p:nvSpPr>
        <p:spPr bwMode="auto">
          <a:xfrm>
            <a:off x="3689997" y="3559596"/>
            <a:ext cx="2259738" cy="2261294"/>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 name="T12" fmla="*/ 2679 w 2679"/>
              <a:gd name="T13" fmla="*/ 2679 h 2679"/>
            </a:gdLst>
            <a:ahLst/>
            <a:cxnLst>
              <a:cxn ang="0">
                <a:pos x="T0" y="T1"/>
              </a:cxn>
              <a:cxn ang="0">
                <a:pos x="T2" y="T3"/>
              </a:cxn>
              <a:cxn ang="0">
                <a:pos x="T4" y="T5"/>
              </a:cxn>
              <a:cxn ang="0">
                <a:pos x="T6" y="T7"/>
              </a:cxn>
              <a:cxn ang="0">
                <a:pos x="T8" y="T9"/>
              </a:cxn>
              <a:cxn ang="0">
                <a:pos x="T10" y="T11"/>
              </a:cxn>
              <a:cxn ang="0">
                <a:pos x="T12" y="T13"/>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lnTo>
                  <a:pt x="2679" y="2679"/>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US"/>
            </a:defPPr>
            <a:lvl1pPr marL="0" algn="l" defTabSz="914098" rtl="0" eaLnBrk="1" latinLnBrk="0" hangingPunct="1">
              <a:defRPr sz="1765" kern="1200">
                <a:solidFill>
                  <a:schemeClr val="tx1"/>
                </a:solidFill>
                <a:latin typeface="+mn-lt"/>
                <a:ea typeface="+mn-ea"/>
                <a:cs typeface="+mn-cs"/>
              </a:defRPr>
            </a:lvl1pPr>
            <a:lvl2pPr marL="457050" algn="l" defTabSz="914098" rtl="0" eaLnBrk="1" latinLnBrk="0" hangingPunct="1">
              <a:defRPr sz="1765" kern="1200">
                <a:solidFill>
                  <a:schemeClr val="tx1"/>
                </a:solidFill>
                <a:latin typeface="+mn-lt"/>
                <a:ea typeface="+mn-ea"/>
                <a:cs typeface="+mn-cs"/>
              </a:defRPr>
            </a:lvl2pPr>
            <a:lvl3pPr marL="914098" algn="l" defTabSz="914098" rtl="0" eaLnBrk="1" latinLnBrk="0" hangingPunct="1">
              <a:defRPr sz="1765" kern="1200">
                <a:solidFill>
                  <a:schemeClr val="tx1"/>
                </a:solidFill>
                <a:latin typeface="+mn-lt"/>
                <a:ea typeface="+mn-ea"/>
                <a:cs typeface="+mn-cs"/>
              </a:defRPr>
            </a:lvl3pPr>
            <a:lvl4pPr marL="1371148" algn="l" defTabSz="914098" rtl="0" eaLnBrk="1" latinLnBrk="0" hangingPunct="1">
              <a:defRPr sz="1765" kern="1200">
                <a:solidFill>
                  <a:schemeClr val="tx1"/>
                </a:solidFill>
                <a:latin typeface="+mn-lt"/>
                <a:ea typeface="+mn-ea"/>
                <a:cs typeface="+mn-cs"/>
              </a:defRPr>
            </a:lvl4pPr>
            <a:lvl5pPr marL="1828197" algn="l" defTabSz="914098" rtl="0" eaLnBrk="1" latinLnBrk="0" hangingPunct="1">
              <a:defRPr sz="1765" kern="1200">
                <a:solidFill>
                  <a:schemeClr val="tx1"/>
                </a:solidFill>
                <a:latin typeface="+mn-lt"/>
                <a:ea typeface="+mn-ea"/>
                <a:cs typeface="+mn-cs"/>
              </a:defRPr>
            </a:lvl5pPr>
            <a:lvl6pPr marL="2285246" algn="l" defTabSz="914098" rtl="0" eaLnBrk="1" latinLnBrk="0" hangingPunct="1">
              <a:defRPr sz="1765" kern="1200">
                <a:solidFill>
                  <a:schemeClr val="tx1"/>
                </a:solidFill>
                <a:latin typeface="+mn-lt"/>
                <a:ea typeface="+mn-ea"/>
                <a:cs typeface="+mn-cs"/>
              </a:defRPr>
            </a:lvl6pPr>
            <a:lvl7pPr marL="2742295" algn="l" defTabSz="914098" rtl="0" eaLnBrk="1" latinLnBrk="0" hangingPunct="1">
              <a:defRPr sz="1765" kern="1200">
                <a:solidFill>
                  <a:schemeClr val="tx1"/>
                </a:solidFill>
                <a:latin typeface="+mn-lt"/>
                <a:ea typeface="+mn-ea"/>
                <a:cs typeface="+mn-cs"/>
              </a:defRPr>
            </a:lvl7pPr>
            <a:lvl8pPr marL="3199344" algn="l" defTabSz="914098" rtl="0" eaLnBrk="1" latinLnBrk="0" hangingPunct="1">
              <a:defRPr sz="1765" kern="1200">
                <a:solidFill>
                  <a:schemeClr val="tx1"/>
                </a:solidFill>
                <a:latin typeface="+mn-lt"/>
                <a:ea typeface="+mn-ea"/>
                <a:cs typeface="+mn-cs"/>
              </a:defRPr>
            </a:lvl8pPr>
            <a:lvl9pPr marL="3656394" algn="l" defTabSz="914098" rtl="0" eaLnBrk="1" latinLnBrk="0" hangingPunct="1">
              <a:defRPr sz="1765" kern="1200">
                <a:solidFill>
                  <a:schemeClr val="tx1"/>
                </a:solidFill>
                <a:latin typeface="+mn-lt"/>
                <a:ea typeface="+mn-ea"/>
                <a:cs typeface="+mn-cs"/>
              </a:defRPr>
            </a:lvl9pPr>
          </a:lstStyle>
          <a:p>
            <a:endParaRPr lang="en-US" sz="1730">
              <a:solidFill>
                <a:srgbClr val="404040"/>
              </a:solidFill>
            </a:endParaRPr>
          </a:p>
        </p:txBody>
      </p:sp>
      <p:sp>
        <p:nvSpPr>
          <p:cNvPr id="48" name="Freeform 13"/>
          <p:cNvSpPr>
            <a:spLocks/>
          </p:cNvSpPr>
          <p:nvPr/>
        </p:nvSpPr>
        <p:spPr bwMode="auto">
          <a:xfrm>
            <a:off x="5949735" y="1299858"/>
            <a:ext cx="2259738" cy="2259738"/>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Lst>
            <a:ahLst/>
            <a:cxnLst>
              <a:cxn ang="0">
                <a:pos x="T0" y="T1"/>
              </a:cxn>
              <a:cxn ang="0">
                <a:pos x="T2" y="T3"/>
              </a:cxn>
              <a:cxn ang="0">
                <a:pos x="T4" y="T5"/>
              </a:cxn>
              <a:cxn ang="0">
                <a:pos x="T6" y="T7"/>
              </a:cxn>
              <a:cxn ang="0">
                <a:pos x="T8" y="T9"/>
              </a:cxn>
              <a:cxn ang="0">
                <a:pos x="T10" y="T11"/>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close/>
              </a:path>
            </a:pathLst>
          </a:custGeom>
          <a:solidFill>
            <a:srgbClr val="F6931A"/>
          </a:solidFill>
          <a:ln w="0">
            <a:noFill/>
            <a:prstDash val="solid"/>
            <a:round/>
            <a:headEnd/>
            <a:tailEnd/>
          </a:ln>
        </p:spPr>
        <p:txBody>
          <a:bodyPr vert="horz" wrap="square" lIns="89642" tIns="44821" rIns="89642" bIns="44821" numCol="1" anchor="t" anchorCtr="0" compatLnSpc="1">
            <a:prstTxWarp prst="textNoShape">
              <a:avLst/>
            </a:prstTxWarp>
          </a:bodyPr>
          <a:lstStyle>
            <a:defPPr>
              <a:defRPr lang="en-US"/>
            </a:defPPr>
            <a:lvl1pPr marL="0" algn="l" defTabSz="914098" rtl="0" eaLnBrk="1" latinLnBrk="0" hangingPunct="1">
              <a:defRPr sz="1765" kern="1200">
                <a:solidFill>
                  <a:schemeClr val="tx1"/>
                </a:solidFill>
                <a:latin typeface="+mn-lt"/>
                <a:ea typeface="+mn-ea"/>
                <a:cs typeface="+mn-cs"/>
              </a:defRPr>
            </a:lvl1pPr>
            <a:lvl2pPr marL="457050" algn="l" defTabSz="914098" rtl="0" eaLnBrk="1" latinLnBrk="0" hangingPunct="1">
              <a:defRPr sz="1765" kern="1200">
                <a:solidFill>
                  <a:schemeClr val="tx1"/>
                </a:solidFill>
                <a:latin typeface="+mn-lt"/>
                <a:ea typeface="+mn-ea"/>
                <a:cs typeface="+mn-cs"/>
              </a:defRPr>
            </a:lvl2pPr>
            <a:lvl3pPr marL="914098" algn="l" defTabSz="914098" rtl="0" eaLnBrk="1" latinLnBrk="0" hangingPunct="1">
              <a:defRPr sz="1765" kern="1200">
                <a:solidFill>
                  <a:schemeClr val="tx1"/>
                </a:solidFill>
                <a:latin typeface="+mn-lt"/>
                <a:ea typeface="+mn-ea"/>
                <a:cs typeface="+mn-cs"/>
              </a:defRPr>
            </a:lvl3pPr>
            <a:lvl4pPr marL="1371148" algn="l" defTabSz="914098" rtl="0" eaLnBrk="1" latinLnBrk="0" hangingPunct="1">
              <a:defRPr sz="1765" kern="1200">
                <a:solidFill>
                  <a:schemeClr val="tx1"/>
                </a:solidFill>
                <a:latin typeface="+mn-lt"/>
                <a:ea typeface="+mn-ea"/>
                <a:cs typeface="+mn-cs"/>
              </a:defRPr>
            </a:lvl4pPr>
            <a:lvl5pPr marL="1828197" algn="l" defTabSz="914098" rtl="0" eaLnBrk="1" latinLnBrk="0" hangingPunct="1">
              <a:defRPr sz="1765" kern="1200">
                <a:solidFill>
                  <a:schemeClr val="tx1"/>
                </a:solidFill>
                <a:latin typeface="+mn-lt"/>
                <a:ea typeface="+mn-ea"/>
                <a:cs typeface="+mn-cs"/>
              </a:defRPr>
            </a:lvl5pPr>
            <a:lvl6pPr marL="2285246" algn="l" defTabSz="914098" rtl="0" eaLnBrk="1" latinLnBrk="0" hangingPunct="1">
              <a:defRPr sz="1765" kern="1200">
                <a:solidFill>
                  <a:schemeClr val="tx1"/>
                </a:solidFill>
                <a:latin typeface="+mn-lt"/>
                <a:ea typeface="+mn-ea"/>
                <a:cs typeface="+mn-cs"/>
              </a:defRPr>
            </a:lvl6pPr>
            <a:lvl7pPr marL="2742295" algn="l" defTabSz="914098" rtl="0" eaLnBrk="1" latinLnBrk="0" hangingPunct="1">
              <a:defRPr sz="1765" kern="1200">
                <a:solidFill>
                  <a:schemeClr val="tx1"/>
                </a:solidFill>
                <a:latin typeface="+mn-lt"/>
                <a:ea typeface="+mn-ea"/>
                <a:cs typeface="+mn-cs"/>
              </a:defRPr>
            </a:lvl7pPr>
            <a:lvl8pPr marL="3199344" algn="l" defTabSz="914098" rtl="0" eaLnBrk="1" latinLnBrk="0" hangingPunct="1">
              <a:defRPr sz="1765" kern="1200">
                <a:solidFill>
                  <a:schemeClr val="tx1"/>
                </a:solidFill>
                <a:latin typeface="+mn-lt"/>
                <a:ea typeface="+mn-ea"/>
                <a:cs typeface="+mn-cs"/>
              </a:defRPr>
            </a:lvl8pPr>
            <a:lvl9pPr marL="3656394" algn="l" defTabSz="914098" rtl="0" eaLnBrk="1" latinLnBrk="0" hangingPunct="1">
              <a:defRPr sz="1765" kern="1200">
                <a:solidFill>
                  <a:schemeClr val="tx1"/>
                </a:solidFill>
                <a:latin typeface="+mn-lt"/>
                <a:ea typeface="+mn-ea"/>
                <a:cs typeface="+mn-cs"/>
              </a:defRPr>
            </a:lvl9pPr>
          </a:lstStyle>
          <a:p>
            <a:endParaRPr lang="en-US" sz="1730">
              <a:solidFill>
                <a:srgbClr val="404040"/>
              </a:solidFill>
            </a:endParaRPr>
          </a:p>
        </p:txBody>
      </p:sp>
      <p:sp>
        <p:nvSpPr>
          <p:cNvPr id="43" name="Freeform 7"/>
          <p:cNvSpPr>
            <a:spLocks/>
          </p:cNvSpPr>
          <p:nvPr/>
        </p:nvSpPr>
        <p:spPr bwMode="auto">
          <a:xfrm>
            <a:off x="3689997" y="1299858"/>
            <a:ext cx="2259738" cy="2259738"/>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Lst>
            <a:ahLst/>
            <a:cxnLst>
              <a:cxn ang="0">
                <a:pos x="T0" y="T1"/>
              </a:cxn>
              <a:cxn ang="0">
                <a:pos x="T2" y="T3"/>
              </a:cxn>
              <a:cxn ang="0">
                <a:pos x="T4" y="T5"/>
              </a:cxn>
              <a:cxn ang="0">
                <a:pos x="T6" y="T7"/>
              </a:cxn>
              <a:cxn ang="0">
                <a:pos x="T8" y="T9"/>
              </a:cxn>
              <a:cxn ang="0">
                <a:pos x="T10" y="T11"/>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close/>
              </a:path>
            </a:pathLst>
          </a:custGeom>
          <a:solidFill>
            <a:srgbClr val="B92B9C"/>
          </a:solidFill>
          <a:ln w="0">
            <a:noFill/>
            <a:prstDash val="solid"/>
            <a:round/>
            <a:headEnd/>
            <a:tailEnd/>
          </a:ln>
        </p:spPr>
        <p:txBody>
          <a:bodyPr vert="horz" wrap="square" lIns="89642" tIns="44821" rIns="89642" bIns="44821" numCol="1" anchor="t" anchorCtr="0" compatLnSpc="1">
            <a:prstTxWarp prst="textNoShape">
              <a:avLst/>
            </a:prstTxWarp>
          </a:bodyPr>
          <a:lstStyle>
            <a:defPPr>
              <a:defRPr lang="en-US"/>
            </a:defPPr>
            <a:lvl1pPr marL="0" algn="l" defTabSz="914098" rtl="0" eaLnBrk="1" latinLnBrk="0" hangingPunct="1">
              <a:defRPr sz="1765" kern="1200">
                <a:solidFill>
                  <a:schemeClr val="tx1"/>
                </a:solidFill>
                <a:latin typeface="+mn-lt"/>
                <a:ea typeface="+mn-ea"/>
                <a:cs typeface="+mn-cs"/>
              </a:defRPr>
            </a:lvl1pPr>
            <a:lvl2pPr marL="457050" algn="l" defTabSz="914098" rtl="0" eaLnBrk="1" latinLnBrk="0" hangingPunct="1">
              <a:defRPr sz="1765" kern="1200">
                <a:solidFill>
                  <a:schemeClr val="tx1"/>
                </a:solidFill>
                <a:latin typeface="+mn-lt"/>
                <a:ea typeface="+mn-ea"/>
                <a:cs typeface="+mn-cs"/>
              </a:defRPr>
            </a:lvl2pPr>
            <a:lvl3pPr marL="914098" algn="l" defTabSz="914098" rtl="0" eaLnBrk="1" latinLnBrk="0" hangingPunct="1">
              <a:defRPr sz="1765" kern="1200">
                <a:solidFill>
                  <a:schemeClr val="tx1"/>
                </a:solidFill>
                <a:latin typeface="+mn-lt"/>
                <a:ea typeface="+mn-ea"/>
                <a:cs typeface="+mn-cs"/>
              </a:defRPr>
            </a:lvl3pPr>
            <a:lvl4pPr marL="1371148" algn="l" defTabSz="914098" rtl="0" eaLnBrk="1" latinLnBrk="0" hangingPunct="1">
              <a:defRPr sz="1765" kern="1200">
                <a:solidFill>
                  <a:schemeClr val="tx1"/>
                </a:solidFill>
                <a:latin typeface="+mn-lt"/>
                <a:ea typeface="+mn-ea"/>
                <a:cs typeface="+mn-cs"/>
              </a:defRPr>
            </a:lvl4pPr>
            <a:lvl5pPr marL="1828197" algn="l" defTabSz="914098" rtl="0" eaLnBrk="1" latinLnBrk="0" hangingPunct="1">
              <a:defRPr sz="1765" kern="1200">
                <a:solidFill>
                  <a:schemeClr val="tx1"/>
                </a:solidFill>
                <a:latin typeface="+mn-lt"/>
                <a:ea typeface="+mn-ea"/>
                <a:cs typeface="+mn-cs"/>
              </a:defRPr>
            </a:lvl5pPr>
            <a:lvl6pPr marL="2285246" algn="l" defTabSz="914098" rtl="0" eaLnBrk="1" latinLnBrk="0" hangingPunct="1">
              <a:defRPr sz="1765" kern="1200">
                <a:solidFill>
                  <a:schemeClr val="tx1"/>
                </a:solidFill>
                <a:latin typeface="+mn-lt"/>
                <a:ea typeface="+mn-ea"/>
                <a:cs typeface="+mn-cs"/>
              </a:defRPr>
            </a:lvl6pPr>
            <a:lvl7pPr marL="2742295" algn="l" defTabSz="914098" rtl="0" eaLnBrk="1" latinLnBrk="0" hangingPunct="1">
              <a:defRPr sz="1765" kern="1200">
                <a:solidFill>
                  <a:schemeClr val="tx1"/>
                </a:solidFill>
                <a:latin typeface="+mn-lt"/>
                <a:ea typeface="+mn-ea"/>
                <a:cs typeface="+mn-cs"/>
              </a:defRPr>
            </a:lvl7pPr>
            <a:lvl8pPr marL="3199344" algn="l" defTabSz="914098" rtl="0" eaLnBrk="1" latinLnBrk="0" hangingPunct="1">
              <a:defRPr sz="1765" kern="1200">
                <a:solidFill>
                  <a:schemeClr val="tx1"/>
                </a:solidFill>
                <a:latin typeface="+mn-lt"/>
                <a:ea typeface="+mn-ea"/>
                <a:cs typeface="+mn-cs"/>
              </a:defRPr>
            </a:lvl8pPr>
            <a:lvl9pPr marL="3656394" algn="l" defTabSz="914098" rtl="0" eaLnBrk="1" latinLnBrk="0" hangingPunct="1">
              <a:defRPr sz="1765" kern="1200">
                <a:solidFill>
                  <a:schemeClr val="tx1"/>
                </a:solidFill>
                <a:latin typeface="+mn-lt"/>
                <a:ea typeface="+mn-ea"/>
                <a:cs typeface="+mn-cs"/>
              </a:defRPr>
            </a:lvl9pPr>
          </a:lstStyle>
          <a:p>
            <a:endParaRPr lang="en-US" sz="1730">
              <a:solidFill>
                <a:srgbClr val="404040"/>
              </a:solidFill>
            </a:endParaRPr>
          </a:p>
        </p:txBody>
      </p:sp>
      <p:sp>
        <p:nvSpPr>
          <p:cNvPr id="45" name="Freeform 9"/>
          <p:cNvSpPr>
            <a:spLocks/>
          </p:cNvSpPr>
          <p:nvPr/>
        </p:nvSpPr>
        <p:spPr bwMode="auto">
          <a:xfrm>
            <a:off x="3689997" y="3559596"/>
            <a:ext cx="2259738" cy="2261294"/>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Lst>
            <a:ahLst/>
            <a:cxnLst>
              <a:cxn ang="0">
                <a:pos x="T0" y="T1"/>
              </a:cxn>
              <a:cxn ang="0">
                <a:pos x="T2" y="T3"/>
              </a:cxn>
              <a:cxn ang="0">
                <a:pos x="T4" y="T5"/>
              </a:cxn>
              <a:cxn ang="0">
                <a:pos x="T6" y="T7"/>
              </a:cxn>
              <a:cxn ang="0">
                <a:pos x="T8" y="T9"/>
              </a:cxn>
              <a:cxn ang="0">
                <a:pos x="T10" y="T11"/>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close/>
              </a:path>
            </a:pathLst>
          </a:custGeom>
          <a:solidFill>
            <a:srgbClr val="C92424"/>
          </a:solidFill>
          <a:ln w="0">
            <a:noFill/>
            <a:prstDash val="solid"/>
            <a:round/>
            <a:headEnd/>
            <a:tailEnd/>
          </a:ln>
        </p:spPr>
        <p:txBody>
          <a:bodyPr vert="horz" wrap="square" lIns="89642" tIns="44821" rIns="89642" bIns="44821" numCol="1" anchor="t" anchorCtr="0" compatLnSpc="1">
            <a:prstTxWarp prst="textNoShape">
              <a:avLst/>
            </a:prstTxWarp>
          </a:bodyPr>
          <a:lstStyle>
            <a:defPPr>
              <a:defRPr lang="en-US"/>
            </a:defPPr>
            <a:lvl1pPr marL="0" algn="l" defTabSz="914098" rtl="0" eaLnBrk="1" latinLnBrk="0" hangingPunct="1">
              <a:defRPr sz="1765" kern="1200">
                <a:solidFill>
                  <a:schemeClr val="tx1"/>
                </a:solidFill>
                <a:latin typeface="+mn-lt"/>
                <a:ea typeface="+mn-ea"/>
                <a:cs typeface="+mn-cs"/>
              </a:defRPr>
            </a:lvl1pPr>
            <a:lvl2pPr marL="457050" algn="l" defTabSz="914098" rtl="0" eaLnBrk="1" latinLnBrk="0" hangingPunct="1">
              <a:defRPr sz="1765" kern="1200">
                <a:solidFill>
                  <a:schemeClr val="tx1"/>
                </a:solidFill>
                <a:latin typeface="+mn-lt"/>
                <a:ea typeface="+mn-ea"/>
                <a:cs typeface="+mn-cs"/>
              </a:defRPr>
            </a:lvl2pPr>
            <a:lvl3pPr marL="914098" algn="l" defTabSz="914098" rtl="0" eaLnBrk="1" latinLnBrk="0" hangingPunct="1">
              <a:defRPr sz="1765" kern="1200">
                <a:solidFill>
                  <a:schemeClr val="tx1"/>
                </a:solidFill>
                <a:latin typeface="+mn-lt"/>
                <a:ea typeface="+mn-ea"/>
                <a:cs typeface="+mn-cs"/>
              </a:defRPr>
            </a:lvl3pPr>
            <a:lvl4pPr marL="1371148" algn="l" defTabSz="914098" rtl="0" eaLnBrk="1" latinLnBrk="0" hangingPunct="1">
              <a:defRPr sz="1765" kern="1200">
                <a:solidFill>
                  <a:schemeClr val="tx1"/>
                </a:solidFill>
                <a:latin typeface="+mn-lt"/>
                <a:ea typeface="+mn-ea"/>
                <a:cs typeface="+mn-cs"/>
              </a:defRPr>
            </a:lvl4pPr>
            <a:lvl5pPr marL="1828197" algn="l" defTabSz="914098" rtl="0" eaLnBrk="1" latinLnBrk="0" hangingPunct="1">
              <a:defRPr sz="1765" kern="1200">
                <a:solidFill>
                  <a:schemeClr val="tx1"/>
                </a:solidFill>
                <a:latin typeface="+mn-lt"/>
                <a:ea typeface="+mn-ea"/>
                <a:cs typeface="+mn-cs"/>
              </a:defRPr>
            </a:lvl5pPr>
            <a:lvl6pPr marL="2285246" algn="l" defTabSz="914098" rtl="0" eaLnBrk="1" latinLnBrk="0" hangingPunct="1">
              <a:defRPr sz="1765" kern="1200">
                <a:solidFill>
                  <a:schemeClr val="tx1"/>
                </a:solidFill>
                <a:latin typeface="+mn-lt"/>
                <a:ea typeface="+mn-ea"/>
                <a:cs typeface="+mn-cs"/>
              </a:defRPr>
            </a:lvl6pPr>
            <a:lvl7pPr marL="2742295" algn="l" defTabSz="914098" rtl="0" eaLnBrk="1" latinLnBrk="0" hangingPunct="1">
              <a:defRPr sz="1765" kern="1200">
                <a:solidFill>
                  <a:schemeClr val="tx1"/>
                </a:solidFill>
                <a:latin typeface="+mn-lt"/>
                <a:ea typeface="+mn-ea"/>
                <a:cs typeface="+mn-cs"/>
              </a:defRPr>
            </a:lvl7pPr>
            <a:lvl8pPr marL="3199344" algn="l" defTabSz="914098" rtl="0" eaLnBrk="1" latinLnBrk="0" hangingPunct="1">
              <a:defRPr sz="1765" kern="1200">
                <a:solidFill>
                  <a:schemeClr val="tx1"/>
                </a:solidFill>
                <a:latin typeface="+mn-lt"/>
                <a:ea typeface="+mn-ea"/>
                <a:cs typeface="+mn-cs"/>
              </a:defRPr>
            </a:lvl8pPr>
            <a:lvl9pPr marL="3656394" algn="l" defTabSz="914098" rtl="0" eaLnBrk="1" latinLnBrk="0" hangingPunct="1">
              <a:defRPr sz="1765" kern="1200">
                <a:solidFill>
                  <a:schemeClr val="tx1"/>
                </a:solidFill>
                <a:latin typeface="+mn-lt"/>
                <a:ea typeface="+mn-ea"/>
                <a:cs typeface="+mn-cs"/>
              </a:defRPr>
            </a:lvl9pPr>
          </a:lstStyle>
          <a:p>
            <a:endParaRPr lang="en-US" sz="1730">
              <a:solidFill>
                <a:srgbClr val="404040"/>
              </a:solidFill>
            </a:endParaRPr>
          </a:p>
        </p:txBody>
      </p:sp>
      <p:sp>
        <p:nvSpPr>
          <p:cNvPr id="47" name="Freeform 11"/>
          <p:cNvSpPr>
            <a:spLocks/>
          </p:cNvSpPr>
          <p:nvPr/>
        </p:nvSpPr>
        <p:spPr bwMode="auto">
          <a:xfrm>
            <a:off x="5949735" y="3559596"/>
            <a:ext cx="2259738" cy="2261294"/>
          </a:xfrm>
          <a:custGeom>
            <a:avLst/>
            <a:gdLst>
              <a:gd name="T0" fmla="*/ 0 w 2678"/>
              <a:gd name="T1" fmla="*/ 2679 h 2679"/>
              <a:gd name="T2" fmla="*/ 0 w 2678"/>
              <a:gd name="T3" fmla="*/ 2679 h 2679"/>
              <a:gd name="T4" fmla="*/ 0 w 2678"/>
              <a:gd name="T5" fmla="*/ 2599 h 2679"/>
              <a:gd name="T6" fmla="*/ 2598 w 2678"/>
              <a:gd name="T7" fmla="*/ 0 h 2679"/>
              <a:gd name="T8" fmla="*/ 2678 w 2678"/>
              <a:gd name="T9" fmla="*/ 0 h 2679"/>
              <a:gd name="T10" fmla="*/ 0 w 2678"/>
              <a:gd name="T11" fmla="*/ 2679 h 2679"/>
            </a:gdLst>
            <a:ahLst/>
            <a:cxnLst>
              <a:cxn ang="0">
                <a:pos x="T0" y="T1"/>
              </a:cxn>
              <a:cxn ang="0">
                <a:pos x="T2" y="T3"/>
              </a:cxn>
              <a:cxn ang="0">
                <a:pos x="T4" y="T5"/>
              </a:cxn>
              <a:cxn ang="0">
                <a:pos x="T6" y="T7"/>
              </a:cxn>
              <a:cxn ang="0">
                <a:pos x="T8" y="T9"/>
              </a:cxn>
              <a:cxn ang="0">
                <a:pos x="T10" y="T11"/>
              </a:cxn>
            </a:cxnLst>
            <a:rect l="0" t="0" r="r" b="b"/>
            <a:pathLst>
              <a:path w="2678" h="2679">
                <a:moveTo>
                  <a:pt x="0" y="2679"/>
                </a:moveTo>
                <a:lnTo>
                  <a:pt x="0" y="2679"/>
                </a:lnTo>
                <a:lnTo>
                  <a:pt x="0" y="2599"/>
                </a:lnTo>
                <a:cubicBezTo>
                  <a:pt x="1432" y="2599"/>
                  <a:pt x="2598" y="1433"/>
                  <a:pt x="2598" y="0"/>
                </a:cubicBezTo>
                <a:lnTo>
                  <a:pt x="2678" y="0"/>
                </a:lnTo>
                <a:cubicBezTo>
                  <a:pt x="2678" y="1477"/>
                  <a:pt x="1477" y="2679"/>
                  <a:pt x="0" y="2679"/>
                </a:cubicBezTo>
                <a:close/>
              </a:path>
            </a:pathLst>
          </a:custGeom>
          <a:solidFill>
            <a:srgbClr val="3D85CD"/>
          </a:solidFill>
          <a:ln w="0">
            <a:noFill/>
            <a:prstDash val="solid"/>
            <a:round/>
            <a:headEnd/>
            <a:tailEnd/>
          </a:ln>
        </p:spPr>
        <p:txBody>
          <a:bodyPr vert="horz" wrap="square" lIns="89642" tIns="44821" rIns="89642" bIns="44821" numCol="1" anchor="t" anchorCtr="0" compatLnSpc="1">
            <a:prstTxWarp prst="textNoShape">
              <a:avLst/>
            </a:prstTxWarp>
          </a:bodyPr>
          <a:lstStyle>
            <a:defPPr>
              <a:defRPr lang="en-US"/>
            </a:defPPr>
            <a:lvl1pPr marL="0" algn="l" defTabSz="914098" rtl="0" eaLnBrk="1" latinLnBrk="0" hangingPunct="1">
              <a:defRPr sz="1765" kern="1200">
                <a:solidFill>
                  <a:schemeClr val="tx1"/>
                </a:solidFill>
                <a:latin typeface="+mn-lt"/>
                <a:ea typeface="+mn-ea"/>
                <a:cs typeface="+mn-cs"/>
              </a:defRPr>
            </a:lvl1pPr>
            <a:lvl2pPr marL="457050" algn="l" defTabSz="914098" rtl="0" eaLnBrk="1" latinLnBrk="0" hangingPunct="1">
              <a:defRPr sz="1765" kern="1200">
                <a:solidFill>
                  <a:schemeClr val="tx1"/>
                </a:solidFill>
                <a:latin typeface="+mn-lt"/>
                <a:ea typeface="+mn-ea"/>
                <a:cs typeface="+mn-cs"/>
              </a:defRPr>
            </a:lvl2pPr>
            <a:lvl3pPr marL="914098" algn="l" defTabSz="914098" rtl="0" eaLnBrk="1" latinLnBrk="0" hangingPunct="1">
              <a:defRPr sz="1765" kern="1200">
                <a:solidFill>
                  <a:schemeClr val="tx1"/>
                </a:solidFill>
                <a:latin typeface="+mn-lt"/>
                <a:ea typeface="+mn-ea"/>
                <a:cs typeface="+mn-cs"/>
              </a:defRPr>
            </a:lvl3pPr>
            <a:lvl4pPr marL="1371148" algn="l" defTabSz="914098" rtl="0" eaLnBrk="1" latinLnBrk="0" hangingPunct="1">
              <a:defRPr sz="1765" kern="1200">
                <a:solidFill>
                  <a:schemeClr val="tx1"/>
                </a:solidFill>
                <a:latin typeface="+mn-lt"/>
                <a:ea typeface="+mn-ea"/>
                <a:cs typeface="+mn-cs"/>
              </a:defRPr>
            </a:lvl4pPr>
            <a:lvl5pPr marL="1828197" algn="l" defTabSz="914098" rtl="0" eaLnBrk="1" latinLnBrk="0" hangingPunct="1">
              <a:defRPr sz="1765" kern="1200">
                <a:solidFill>
                  <a:schemeClr val="tx1"/>
                </a:solidFill>
                <a:latin typeface="+mn-lt"/>
                <a:ea typeface="+mn-ea"/>
                <a:cs typeface="+mn-cs"/>
              </a:defRPr>
            </a:lvl5pPr>
            <a:lvl6pPr marL="2285246" algn="l" defTabSz="914098" rtl="0" eaLnBrk="1" latinLnBrk="0" hangingPunct="1">
              <a:defRPr sz="1765" kern="1200">
                <a:solidFill>
                  <a:schemeClr val="tx1"/>
                </a:solidFill>
                <a:latin typeface="+mn-lt"/>
                <a:ea typeface="+mn-ea"/>
                <a:cs typeface="+mn-cs"/>
              </a:defRPr>
            </a:lvl6pPr>
            <a:lvl7pPr marL="2742295" algn="l" defTabSz="914098" rtl="0" eaLnBrk="1" latinLnBrk="0" hangingPunct="1">
              <a:defRPr sz="1765" kern="1200">
                <a:solidFill>
                  <a:schemeClr val="tx1"/>
                </a:solidFill>
                <a:latin typeface="+mn-lt"/>
                <a:ea typeface="+mn-ea"/>
                <a:cs typeface="+mn-cs"/>
              </a:defRPr>
            </a:lvl7pPr>
            <a:lvl8pPr marL="3199344" algn="l" defTabSz="914098" rtl="0" eaLnBrk="1" latinLnBrk="0" hangingPunct="1">
              <a:defRPr sz="1765" kern="1200">
                <a:solidFill>
                  <a:schemeClr val="tx1"/>
                </a:solidFill>
                <a:latin typeface="+mn-lt"/>
                <a:ea typeface="+mn-ea"/>
                <a:cs typeface="+mn-cs"/>
              </a:defRPr>
            </a:lvl8pPr>
            <a:lvl9pPr marL="3656394" algn="l" defTabSz="914098" rtl="0" eaLnBrk="1" latinLnBrk="0" hangingPunct="1">
              <a:defRPr sz="1765" kern="1200">
                <a:solidFill>
                  <a:schemeClr val="tx1"/>
                </a:solidFill>
                <a:latin typeface="+mn-lt"/>
                <a:ea typeface="+mn-ea"/>
                <a:cs typeface="+mn-cs"/>
              </a:defRPr>
            </a:lvl9pPr>
          </a:lstStyle>
          <a:p>
            <a:endParaRPr lang="en-US" sz="1730">
              <a:solidFill>
                <a:srgbClr val="404040"/>
              </a:solidFill>
            </a:endParaRPr>
          </a:p>
        </p:txBody>
      </p:sp>
      <p:sp>
        <p:nvSpPr>
          <p:cNvPr id="49" name="Freeform 14"/>
          <p:cNvSpPr>
            <a:spLocks/>
          </p:cNvSpPr>
          <p:nvPr/>
        </p:nvSpPr>
        <p:spPr bwMode="auto">
          <a:xfrm>
            <a:off x="5949735" y="1299858"/>
            <a:ext cx="2259738" cy="2259738"/>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 name="T12" fmla="*/ 2678 w 2678"/>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lnTo>
                  <a:pt x="2678" y="2678"/>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US"/>
            </a:defPPr>
            <a:lvl1pPr marL="0" algn="l" defTabSz="914098" rtl="0" eaLnBrk="1" latinLnBrk="0" hangingPunct="1">
              <a:defRPr sz="1765" kern="1200">
                <a:solidFill>
                  <a:schemeClr val="tx1"/>
                </a:solidFill>
                <a:latin typeface="+mn-lt"/>
                <a:ea typeface="+mn-ea"/>
                <a:cs typeface="+mn-cs"/>
              </a:defRPr>
            </a:lvl1pPr>
            <a:lvl2pPr marL="457050" algn="l" defTabSz="914098" rtl="0" eaLnBrk="1" latinLnBrk="0" hangingPunct="1">
              <a:defRPr sz="1765" kern="1200">
                <a:solidFill>
                  <a:schemeClr val="tx1"/>
                </a:solidFill>
                <a:latin typeface="+mn-lt"/>
                <a:ea typeface="+mn-ea"/>
                <a:cs typeface="+mn-cs"/>
              </a:defRPr>
            </a:lvl2pPr>
            <a:lvl3pPr marL="914098" algn="l" defTabSz="914098" rtl="0" eaLnBrk="1" latinLnBrk="0" hangingPunct="1">
              <a:defRPr sz="1765" kern="1200">
                <a:solidFill>
                  <a:schemeClr val="tx1"/>
                </a:solidFill>
                <a:latin typeface="+mn-lt"/>
                <a:ea typeface="+mn-ea"/>
                <a:cs typeface="+mn-cs"/>
              </a:defRPr>
            </a:lvl3pPr>
            <a:lvl4pPr marL="1371148" algn="l" defTabSz="914098" rtl="0" eaLnBrk="1" latinLnBrk="0" hangingPunct="1">
              <a:defRPr sz="1765" kern="1200">
                <a:solidFill>
                  <a:schemeClr val="tx1"/>
                </a:solidFill>
                <a:latin typeface="+mn-lt"/>
                <a:ea typeface="+mn-ea"/>
                <a:cs typeface="+mn-cs"/>
              </a:defRPr>
            </a:lvl4pPr>
            <a:lvl5pPr marL="1828197" algn="l" defTabSz="914098" rtl="0" eaLnBrk="1" latinLnBrk="0" hangingPunct="1">
              <a:defRPr sz="1765" kern="1200">
                <a:solidFill>
                  <a:schemeClr val="tx1"/>
                </a:solidFill>
                <a:latin typeface="+mn-lt"/>
                <a:ea typeface="+mn-ea"/>
                <a:cs typeface="+mn-cs"/>
              </a:defRPr>
            </a:lvl5pPr>
            <a:lvl6pPr marL="2285246" algn="l" defTabSz="914098" rtl="0" eaLnBrk="1" latinLnBrk="0" hangingPunct="1">
              <a:defRPr sz="1765" kern="1200">
                <a:solidFill>
                  <a:schemeClr val="tx1"/>
                </a:solidFill>
                <a:latin typeface="+mn-lt"/>
                <a:ea typeface="+mn-ea"/>
                <a:cs typeface="+mn-cs"/>
              </a:defRPr>
            </a:lvl6pPr>
            <a:lvl7pPr marL="2742295" algn="l" defTabSz="914098" rtl="0" eaLnBrk="1" latinLnBrk="0" hangingPunct="1">
              <a:defRPr sz="1765" kern="1200">
                <a:solidFill>
                  <a:schemeClr val="tx1"/>
                </a:solidFill>
                <a:latin typeface="+mn-lt"/>
                <a:ea typeface="+mn-ea"/>
                <a:cs typeface="+mn-cs"/>
              </a:defRPr>
            </a:lvl7pPr>
            <a:lvl8pPr marL="3199344" algn="l" defTabSz="914098" rtl="0" eaLnBrk="1" latinLnBrk="0" hangingPunct="1">
              <a:defRPr sz="1765" kern="1200">
                <a:solidFill>
                  <a:schemeClr val="tx1"/>
                </a:solidFill>
                <a:latin typeface="+mn-lt"/>
                <a:ea typeface="+mn-ea"/>
                <a:cs typeface="+mn-cs"/>
              </a:defRPr>
            </a:lvl8pPr>
            <a:lvl9pPr marL="3656394" algn="l" defTabSz="914098" rtl="0" eaLnBrk="1" latinLnBrk="0" hangingPunct="1">
              <a:defRPr sz="1765" kern="1200">
                <a:solidFill>
                  <a:schemeClr val="tx1"/>
                </a:solidFill>
                <a:latin typeface="+mn-lt"/>
                <a:ea typeface="+mn-ea"/>
                <a:cs typeface="+mn-cs"/>
              </a:defRPr>
            </a:lvl9pPr>
          </a:lstStyle>
          <a:p>
            <a:endParaRPr lang="en-US" sz="1730">
              <a:solidFill>
                <a:srgbClr val="404040"/>
              </a:solidFill>
            </a:endParaRPr>
          </a:p>
        </p:txBody>
      </p:sp>
    </p:spTree>
    <p:extLst>
      <p:ext uri="{BB962C8B-B14F-4D97-AF65-F5344CB8AC3E}">
        <p14:creationId xmlns:p14="http://schemas.microsoft.com/office/powerpoint/2010/main" val="40543723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cBhvr>
                                        <p:cTn id="7" dur="500" fill="hold"/>
                                        <p:tgtEl>
                                          <p:spTgt spid="43"/>
                                        </p:tgtEl>
                                        <p:attrNameLst>
                                          <p:attrName>ppt_w</p:attrName>
                                        </p:attrNameLst>
                                      </p:cBhvr>
                                      <p:tavLst>
                                        <p:tav tm="0">
                                          <p:val>
                                            <p:fltVal val="0"/>
                                          </p:val>
                                        </p:tav>
                                        <p:tav tm="100000">
                                          <p:val>
                                            <p:strVal val="#ppt_w"/>
                                          </p:val>
                                        </p:tav>
                                      </p:tavLst>
                                    </p:anim>
                                    <p:anim calcmode="lin" valueType="num">
                                      <p:cBhvr>
                                        <p:cTn id="8" dur="500" fill="hold"/>
                                        <p:tgtEl>
                                          <p:spTgt spid="43"/>
                                        </p:tgtEl>
                                        <p:attrNameLst>
                                          <p:attrName>ppt_h</p:attrName>
                                        </p:attrNameLst>
                                      </p:cBhvr>
                                      <p:tavLst>
                                        <p:tav tm="0">
                                          <p:val>
                                            <p:fltVal val="0"/>
                                          </p:val>
                                        </p:tav>
                                        <p:tav tm="100000">
                                          <p:val>
                                            <p:strVal val="#ppt_h"/>
                                          </p:val>
                                        </p:tav>
                                      </p:tavLst>
                                    </p:anim>
                                  </p:childTnLst>
                                </p:cTn>
                              </p:par>
                              <p:par>
                                <p:cTn id="9" presetID="23" presetClass="entr" presetSubtype="16"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p:cTn id="11" dur="500" fill="hold"/>
                                        <p:tgtEl>
                                          <p:spTgt spid="28"/>
                                        </p:tgtEl>
                                        <p:attrNameLst>
                                          <p:attrName>ppt_w</p:attrName>
                                        </p:attrNameLst>
                                      </p:cBhvr>
                                      <p:tavLst>
                                        <p:tav tm="0">
                                          <p:val>
                                            <p:fltVal val="0"/>
                                          </p:val>
                                        </p:tav>
                                        <p:tav tm="100000">
                                          <p:val>
                                            <p:strVal val="#ppt_w"/>
                                          </p:val>
                                        </p:tav>
                                      </p:tavLst>
                                    </p:anim>
                                    <p:anim calcmode="lin" valueType="num">
                                      <p:cBhvr>
                                        <p:cTn id="12" dur="500" fill="hold"/>
                                        <p:tgtEl>
                                          <p:spTgt spid="28"/>
                                        </p:tgtEl>
                                        <p:attrNameLst>
                                          <p:attrName>ppt_h</p:attrName>
                                        </p:attrNameLst>
                                      </p:cBhvr>
                                      <p:tavLst>
                                        <p:tav tm="0">
                                          <p:val>
                                            <p:fltVal val="0"/>
                                          </p:val>
                                        </p:tav>
                                        <p:tav tm="100000">
                                          <p:val>
                                            <p:strVal val="#ppt_h"/>
                                          </p:val>
                                        </p:tav>
                                      </p:tavLst>
                                    </p:anim>
                                  </p:childTnLst>
                                </p:cTn>
                              </p:par>
                              <p:par>
                                <p:cTn id="13" presetID="23" presetClass="entr" presetSubtype="16" fill="hold" grpId="0" nodeType="withEffect">
                                  <p:stCondLst>
                                    <p:cond delay="0"/>
                                  </p:stCondLst>
                                  <p:childTnLst>
                                    <p:set>
                                      <p:cBhvr>
                                        <p:cTn id="14" dur="1" fill="hold">
                                          <p:stCondLst>
                                            <p:cond delay="0"/>
                                          </p:stCondLst>
                                        </p:cTn>
                                        <p:tgtEl>
                                          <p:spTgt spid="27"/>
                                        </p:tgtEl>
                                        <p:attrNameLst>
                                          <p:attrName>style.visibility</p:attrName>
                                        </p:attrNameLst>
                                      </p:cBhvr>
                                      <p:to>
                                        <p:strVal val="visible"/>
                                      </p:to>
                                    </p:set>
                                    <p:anim calcmode="lin" valueType="num">
                                      <p:cBhvr>
                                        <p:cTn id="15" dur="500" fill="hold"/>
                                        <p:tgtEl>
                                          <p:spTgt spid="27"/>
                                        </p:tgtEl>
                                        <p:attrNameLst>
                                          <p:attrName>ppt_w</p:attrName>
                                        </p:attrNameLst>
                                      </p:cBhvr>
                                      <p:tavLst>
                                        <p:tav tm="0">
                                          <p:val>
                                            <p:fltVal val="0"/>
                                          </p:val>
                                        </p:tav>
                                        <p:tav tm="100000">
                                          <p:val>
                                            <p:strVal val="#ppt_w"/>
                                          </p:val>
                                        </p:tav>
                                      </p:tavLst>
                                    </p:anim>
                                    <p:anim calcmode="lin" valueType="num">
                                      <p:cBhvr>
                                        <p:cTn id="16" dur="500" fill="hold"/>
                                        <p:tgtEl>
                                          <p:spTgt spid="27"/>
                                        </p:tgtEl>
                                        <p:attrNameLst>
                                          <p:attrName>ppt_h</p:attrName>
                                        </p:attrNameLst>
                                      </p:cBhvr>
                                      <p:tavLst>
                                        <p:tav tm="0">
                                          <p:val>
                                            <p:fltVal val="0"/>
                                          </p:val>
                                        </p:tav>
                                        <p:tav tm="100000">
                                          <p:val>
                                            <p:strVal val="#ppt_h"/>
                                          </p:val>
                                        </p:tav>
                                      </p:tavLst>
                                    </p:anim>
                                  </p:childTnLst>
                                </p:cTn>
                              </p:par>
                            </p:childTnLst>
                          </p:cTn>
                        </p:par>
                        <p:par>
                          <p:cTn id="17" fill="hold">
                            <p:stCondLst>
                              <p:cond delay="500"/>
                            </p:stCondLst>
                            <p:childTnLst>
                              <p:par>
                                <p:cTn id="18" presetID="23" presetClass="entr" presetSubtype="16" fill="hold" grpId="0" nodeType="afterEffect">
                                  <p:stCondLst>
                                    <p:cond delay="0"/>
                                  </p:stCondLst>
                                  <p:childTnLst>
                                    <p:set>
                                      <p:cBhvr>
                                        <p:cTn id="19" dur="1" fill="hold">
                                          <p:stCondLst>
                                            <p:cond delay="0"/>
                                          </p:stCondLst>
                                        </p:cTn>
                                        <p:tgtEl>
                                          <p:spTgt spid="45"/>
                                        </p:tgtEl>
                                        <p:attrNameLst>
                                          <p:attrName>style.visibility</p:attrName>
                                        </p:attrNameLst>
                                      </p:cBhvr>
                                      <p:to>
                                        <p:strVal val="visible"/>
                                      </p:to>
                                    </p:set>
                                    <p:anim calcmode="lin" valueType="num">
                                      <p:cBhvr>
                                        <p:cTn id="20" dur="500" fill="hold"/>
                                        <p:tgtEl>
                                          <p:spTgt spid="45"/>
                                        </p:tgtEl>
                                        <p:attrNameLst>
                                          <p:attrName>ppt_w</p:attrName>
                                        </p:attrNameLst>
                                      </p:cBhvr>
                                      <p:tavLst>
                                        <p:tav tm="0">
                                          <p:val>
                                            <p:fltVal val="0"/>
                                          </p:val>
                                        </p:tav>
                                        <p:tav tm="100000">
                                          <p:val>
                                            <p:strVal val="#ppt_w"/>
                                          </p:val>
                                        </p:tav>
                                      </p:tavLst>
                                    </p:anim>
                                    <p:anim calcmode="lin" valueType="num">
                                      <p:cBhvr>
                                        <p:cTn id="21" dur="500" fill="hold"/>
                                        <p:tgtEl>
                                          <p:spTgt spid="45"/>
                                        </p:tgtEl>
                                        <p:attrNameLst>
                                          <p:attrName>ppt_h</p:attrName>
                                        </p:attrNameLst>
                                      </p:cBhvr>
                                      <p:tavLst>
                                        <p:tav tm="0">
                                          <p:val>
                                            <p:fltVal val="0"/>
                                          </p:val>
                                        </p:tav>
                                        <p:tav tm="100000">
                                          <p:val>
                                            <p:strVal val="#ppt_h"/>
                                          </p:val>
                                        </p:tav>
                                      </p:tavLst>
                                    </p:anim>
                                  </p:childTnLst>
                                </p:cTn>
                              </p:par>
                              <p:par>
                                <p:cTn id="22" presetID="23" presetClass="entr" presetSubtype="16" fill="hold" grpId="0" nodeType="withEffect">
                                  <p:stCondLst>
                                    <p:cond delay="0"/>
                                  </p:stCondLst>
                                  <p:childTnLst>
                                    <p:set>
                                      <p:cBhvr>
                                        <p:cTn id="23" dur="1" fill="hold">
                                          <p:stCondLst>
                                            <p:cond delay="0"/>
                                          </p:stCondLst>
                                        </p:cTn>
                                        <p:tgtEl>
                                          <p:spTgt spid="38"/>
                                        </p:tgtEl>
                                        <p:attrNameLst>
                                          <p:attrName>style.visibility</p:attrName>
                                        </p:attrNameLst>
                                      </p:cBhvr>
                                      <p:to>
                                        <p:strVal val="visible"/>
                                      </p:to>
                                    </p:set>
                                    <p:anim calcmode="lin" valueType="num">
                                      <p:cBhvr>
                                        <p:cTn id="24" dur="500" fill="hold"/>
                                        <p:tgtEl>
                                          <p:spTgt spid="38"/>
                                        </p:tgtEl>
                                        <p:attrNameLst>
                                          <p:attrName>ppt_w</p:attrName>
                                        </p:attrNameLst>
                                      </p:cBhvr>
                                      <p:tavLst>
                                        <p:tav tm="0">
                                          <p:val>
                                            <p:fltVal val="0"/>
                                          </p:val>
                                        </p:tav>
                                        <p:tav tm="100000">
                                          <p:val>
                                            <p:strVal val="#ppt_w"/>
                                          </p:val>
                                        </p:tav>
                                      </p:tavLst>
                                    </p:anim>
                                    <p:anim calcmode="lin" valueType="num">
                                      <p:cBhvr>
                                        <p:cTn id="25" dur="500" fill="hold"/>
                                        <p:tgtEl>
                                          <p:spTgt spid="38"/>
                                        </p:tgtEl>
                                        <p:attrNameLst>
                                          <p:attrName>ppt_h</p:attrName>
                                        </p:attrNameLst>
                                      </p:cBhvr>
                                      <p:tavLst>
                                        <p:tav tm="0">
                                          <p:val>
                                            <p:fltVal val="0"/>
                                          </p:val>
                                        </p:tav>
                                        <p:tav tm="100000">
                                          <p:val>
                                            <p:strVal val="#ppt_h"/>
                                          </p:val>
                                        </p:tav>
                                      </p:tavLst>
                                    </p:anim>
                                  </p:childTnLst>
                                </p:cTn>
                              </p:par>
                              <p:par>
                                <p:cTn id="26" presetID="23" presetClass="entr" presetSubtype="16" fill="hold" grpId="0" nodeType="withEffect">
                                  <p:stCondLst>
                                    <p:cond delay="0"/>
                                  </p:stCondLst>
                                  <p:childTnLst>
                                    <p:set>
                                      <p:cBhvr>
                                        <p:cTn id="27" dur="1" fill="hold">
                                          <p:stCondLst>
                                            <p:cond delay="0"/>
                                          </p:stCondLst>
                                        </p:cTn>
                                        <p:tgtEl>
                                          <p:spTgt spid="37"/>
                                        </p:tgtEl>
                                        <p:attrNameLst>
                                          <p:attrName>style.visibility</p:attrName>
                                        </p:attrNameLst>
                                      </p:cBhvr>
                                      <p:to>
                                        <p:strVal val="visible"/>
                                      </p:to>
                                    </p:set>
                                    <p:anim calcmode="lin" valueType="num">
                                      <p:cBhvr>
                                        <p:cTn id="28" dur="500" fill="hold"/>
                                        <p:tgtEl>
                                          <p:spTgt spid="37"/>
                                        </p:tgtEl>
                                        <p:attrNameLst>
                                          <p:attrName>ppt_w</p:attrName>
                                        </p:attrNameLst>
                                      </p:cBhvr>
                                      <p:tavLst>
                                        <p:tav tm="0">
                                          <p:val>
                                            <p:fltVal val="0"/>
                                          </p:val>
                                        </p:tav>
                                        <p:tav tm="100000">
                                          <p:val>
                                            <p:strVal val="#ppt_w"/>
                                          </p:val>
                                        </p:tav>
                                      </p:tavLst>
                                    </p:anim>
                                    <p:anim calcmode="lin" valueType="num">
                                      <p:cBhvr>
                                        <p:cTn id="29" dur="500" fill="hold"/>
                                        <p:tgtEl>
                                          <p:spTgt spid="37"/>
                                        </p:tgtEl>
                                        <p:attrNameLst>
                                          <p:attrName>ppt_h</p:attrName>
                                        </p:attrNameLst>
                                      </p:cBhvr>
                                      <p:tavLst>
                                        <p:tav tm="0">
                                          <p:val>
                                            <p:fltVal val="0"/>
                                          </p:val>
                                        </p:tav>
                                        <p:tav tm="100000">
                                          <p:val>
                                            <p:strVal val="#ppt_h"/>
                                          </p:val>
                                        </p:tav>
                                      </p:tavLst>
                                    </p:anim>
                                  </p:childTnLst>
                                </p:cTn>
                              </p:par>
                            </p:childTnLst>
                          </p:cTn>
                        </p:par>
                        <p:par>
                          <p:cTn id="30" fill="hold">
                            <p:stCondLst>
                              <p:cond delay="1000"/>
                            </p:stCondLst>
                            <p:childTnLst>
                              <p:par>
                                <p:cTn id="31" presetID="23" presetClass="entr" presetSubtype="16" fill="hold" grpId="0" nodeType="afterEffect">
                                  <p:stCondLst>
                                    <p:cond delay="0"/>
                                  </p:stCondLst>
                                  <p:childTnLst>
                                    <p:set>
                                      <p:cBhvr>
                                        <p:cTn id="32" dur="1" fill="hold">
                                          <p:stCondLst>
                                            <p:cond delay="0"/>
                                          </p:stCondLst>
                                        </p:cTn>
                                        <p:tgtEl>
                                          <p:spTgt spid="47"/>
                                        </p:tgtEl>
                                        <p:attrNameLst>
                                          <p:attrName>style.visibility</p:attrName>
                                        </p:attrNameLst>
                                      </p:cBhvr>
                                      <p:to>
                                        <p:strVal val="visible"/>
                                      </p:to>
                                    </p:set>
                                    <p:anim calcmode="lin" valueType="num">
                                      <p:cBhvr>
                                        <p:cTn id="33" dur="500" fill="hold"/>
                                        <p:tgtEl>
                                          <p:spTgt spid="47"/>
                                        </p:tgtEl>
                                        <p:attrNameLst>
                                          <p:attrName>ppt_w</p:attrName>
                                        </p:attrNameLst>
                                      </p:cBhvr>
                                      <p:tavLst>
                                        <p:tav tm="0">
                                          <p:val>
                                            <p:fltVal val="0"/>
                                          </p:val>
                                        </p:tav>
                                        <p:tav tm="100000">
                                          <p:val>
                                            <p:strVal val="#ppt_w"/>
                                          </p:val>
                                        </p:tav>
                                      </p:tavLst>
                                    </p:anim>
                                    <p:anim calcmode="lin" valueType="num">
                                      <p:cBhvr>
                                        <p:cTn id="34" dur="500" fill="hold"/>
                                        <p:tgtEl>
                                          <p:spTgt spid="47"/>
                                        </p:tgtEl>
                                        <p:attrNameLst>
                                          <p:attrName>ppt_h</p:attrName>
                                        </p:attrNameLst>
                                      </p:cBhvr>
                                      <p:tavLst>
                                        <p:tav tm="0">
                                          <p:val>
                                            <p:fltVal val="0"/>
                                          </p:val>
                                        </p:tav>
                                        <p:tav tm="100000">
                                          <p:val>
                                            <p:strVal val="#ppt_h"/>
                                          </p:val>
                                        </p:tav>
                                      </p:tavLst>
                                    </p:anim>
                                  </p:childTnLst>
                                </p:cTn>
                              </p:par>
                              <p:par>
                                <p:cTn id="35" presetID="23" presetClass="entr" presetSubtype="16" fill="hold" grpId="0" nodeType="withEffect">
                                  <p:stCondLst>
                                    <p:cond delay="0"/>
                                  </p:stCondLst>
                                  <p:childTnLst>
                                    <p:set>
                                      <p:cBhvr>
                                        <p:cTn id="36" dur="1" fill="hold">
                                          <p:stCondLst>
                                            <p:cond delay="0"/>
                                          </p:stCondLst>
                                        </p:cTn>
                                        <p:tgtEl>
                                          <p:spTgt spid="36"/>
                                        </p:tgtEl>
                                        <p:attrNameLst>
                                          <p:attrName>style.visibility</p:attrName>
                                        </p:attrNameLst>
                                      </p:cBhvr>
                                      <p:to>
                                        <p:strVal val="visible"/>
                                      </p:to>
                                    </p:set>
                                    <p:anim calcmode="lin" valueType="num">
                                      <p:cBhvr>
                                        <p:cTn id="37" dur="500" fill="hold"/>
                                        <p:tgtEl>
                                          <p:spTgt spid="36"/>
                                        </p:tgtEl>
                                        <p:attrNameLst>
                                          <p:attrName>ppt_w</p:attrName>
                                        </p:attrNameLst>
                                      </p:cBhvr>
                                      <p:tavLst>
                                        <p:tav tm="0">
                                          <p:val>
                                            <p:fltVal val="0"/>
                                          </p:val>
                                        </p:tav>
                                        <p:tav tm="100000">
                                          <p:val>
                                            <p:strVal val="#ppt_w"/>
                                          </p:val>
                                        </p:tav>
                                      </p:tavLst>
                                    </p:anim>
                                    <p:anim calcmode="lin" valueType="num">
                                      <p:cBhvr>
                                        <p:cTn id="38" dur="500" fill="hold"/>
                                        <p:tgtEl>
                                          <p:spTgt spid="36"/>
                                        </p:tgtEl>
                                        <p:attrNameLst>
                                          <p:attrName>ppt_h</p:attrName>
                                        </p:attrNameLst>
                                      </p:cBhvr>
                                      <p:tavLst>
                                        <p:tav tm="0">
                                          <p:val>
                                            <p:fltVal val="0"/>
                                          </p:val>
                                        </p:tav>
                                        <p:tav tm="100000">
                                          <p:val>
                                            <p:strVal val="#ppt_h"/>
                                          </p:val>
                                        </p:tav>
                                      </p:tavLst>
                                    </p:anim>
                                  </p:childTnLst>
                                </p:cTn>
                              </p:par>
                              <p:par>
                                <p:cTn id="39" presetID="23" presetClass="entr" presetSubtype="16" fill="hold" grpId="0" nodeType="withEffect">
                                  <p:stCondLst>
                                    <p:cond delay="0"/>
                                  </p:stCondLst>
                                  <p:childTnLst>
                                    <p:set>
                                      <p:cBhvr>
                                        <p:cTn id="40" dur="1" fill="hold">
                                          <p:stCondLst>
                                            <p:cond delay="0"/>
                                          </p:stCondLst>
                                        </p:cTn>
                                        <p:tgtEl>
                                          <p:spTgt spid="35"/>
                                        </p:tgtEl>
                                        <p:attrNameLst>
                                          <p:attrName>style.visibility</p:attrName>
                                        </p:attrNameLst>
                                      </p:cBhvr>
                                      <p:to>
                                        <p:strVal val="visible"/>
                                      </p:to>
                                    </p:set>
                                    <p:anim calcmode="lin" valueType="num">
                                      <p:cBhvr>
                                        <p:cTn id="41" dur="500" fill="hold"/>
                                        <p:tgtEl>
                                          <p:spTgt spid="35"/>
                                        </p:tgtEl>
                                        <p:attrNameLst>
                                          <p:attrName>ppt_w</p:attrName>
                                        </p:attrNameLst>
                                      </p:cBhvr>
                                      <p:tavLst>
                                        <p:tav tm="0">
                                          <p:val>
                                            <p:fltVal val="0"/>
                                          </p:val>
                                        </p:tav>
                                        <p:tav tm="100000">
                                          <p:val>
                                            <p:strVal val="#ppt_w"/>
                                          </p:val>
                                        </p:tav>
                                      </p:tavLst>
                                    </p:anim>
                                    <p:anim calcmode="lin" valueType="num">
                                      <p:cBhvr>
                                        <p:cTn id="42" dur="500" fill="hold"/>
                                        <p:tgtEl>
                                          <p:spTgt spid="35"/>
                                        </p:tgtEl>
                                        <p:attrNameLst>
                                          <p:attrName>ppt_h</p:attrName>
                                        </p:attrNameLst>
                                      </p:cBhvr>
                                      <p:tavLst>
                                        <p:tav tm="0">
                                          <p:val>
                                            <p:fltVal val="0"/>
                                          </p:val>
                                        </p:tav>
                                        <p:tav tm="100000">
                                          <p:val>
                                            <p:strVal val="#ppt_h"/>
                                          </p:val>
                                        </p:tav>
                                      </p:tavLst>
                                    </p:anim>
                                  </p:childTnLst>
                                </p:cTn>
                              </p:par>
                            </p:childTnLst>
                          </p:cTn>
                        </p:par>
                        <p:par>
                          <p:cTn id="43" fill="hold">
                            <p:stCondLst>
                              <p:cond delay="1500"/>
                            </p:stCondLst>
                            <p:childTnLst>
                              <p:par>
                                <p:cTn id="44" presetID="23" presetClass="entr" presetSubtype="16" fill="hold" grpId="0" nodeType="afterEffect">
                                  <p:stCondLst>
                                    <p:cond delay="0"/>
                                  </p:stCondLst>
                                  <p:childTnLst>
                                    <p:set>
                                      <p:cBhvr>
                                        <p:cTn id="45" dur="1" fill="hold">
                                          <p:stCondLst>
                                            <p:cond delay="0"/>
                                          </p:stCondLst>
                                        </p:cTn>
                                        <p:tgtEl>
                                          <p:spTgt spid="48"/>
                                        </p:tgtEl>
                                        <p:attrNameLst>
                                          <p:attrName>style.visibility</p:attrName>
                                        </p:attrNameLst>
                                      </p:cBhvr>
                                      <p:to>
                                        <p:strVal val="visible"/>
                                      </p:to>
                                    </p:set>
                                    <p:anim calcmode="lin" valueType="num">
                                      <p:cBhvr>
                                        <p:cTn id="46" dur="500" fill="hold"/>
                                        <p:tgtEl>
                                          <p:spTgt spid="48"/>
                                        </p:tgtEl>
                                        <p:attrNameLst>
                                          <p:attrName>ppt_w</p:attrName>
                                        </p:attrNameLst>
                                      </p:cBhvr>
                                      <p:tavLst>
                                        <p:tav tm="0">
                                          <p:val>
                                            <p:fltVal val="0"/>
                                          </p:val>
                                        </p:tav>
                                        <p:tav tm="100000">
                                          <p:val>
                                            <p:strVal val="#ppt_w"/>
                                          </p:val>
                                        </p:tav>
                                      </p:tavLst>
                                    </p:anim>
                                    <p:anim calcmode="lin" valueType="num">
                                      <p:cBhvr>
                                        <p:cTn id="47" dur="500" fill="hold"/>
                                        <p:tgtEl>
                                          <p:spTgt spid="48"/>
                                        </p:tgtEl>
                                        <p:attrNameLst>
                                          <p:attrName>ppt_h</p:attrName>
                                        </p:attrNameLst>
                                      </p:cBhvr>
                                      <p:tavLst>
                                        <p:tav tm="0">
                                          <p:val>
                                            <p:fltVal val="0"/>
                                          </p:val>
                                        </p:tav>
                                        <p:tav tm="100000">
                                          <p:val>
                                            <p:strVal val="#ppt_h"/>
                                          </p:val>
                                        </p:tav>
                                      </p:tavLst>
                                    </p:anim>
                                  </p:childTnLst>
                                </p:cTn>
                              </p:par>
                              <p:par>
                                <p:cTn id="48" presetID="23" presetClass="entr" presetSubtype="16" fill="hold" grpId="0" nodeType="withEffect">
                                  <p:stCondLst>
                                    <p:cond delay="0"/>
                                  </p:stCondLst>
                                  <p:childTnLst>
                                    <p:set>
                                      <p:cBhvr>
                                        <p:cTn id="49" dur="1" fill="hold">
                                          <p:stCondLst>
                                            <p:cond delay="0"/>
                                          </p:stCondLst>
                                        </p:cTn>
                                        <p:tgtEl>
                                          <p:spTgt spid="31"/>
                                        </p:tgtEl>
                                        <p:attrNameLst>
                                          <p:attrName>style.visibility</p:attrName>
                                        </p:attrNameLst>
                                      </p:cBhvr>
                                      <p:to>
                                        <p:strVal val="visible"/>
                                      </p:to>
                                    </p:set>
                                    <p:anim calcmode="lin" valueType="num">
                                      <p:cBhvr>
                                        <p:cTn id="50" dur="500" fill="hold"/>
                                        <p:tgtEl>
                                          <p:spTgt spid="31"/>
                                        </p:tgtEl>
                                        <p:attrNameLst>
                                          <p:attrName>ppt_w</p:attrName>
                                        </p:attrNameLst>
                                      </p:cBhvr>
                                      <p:tavLst>
                                        <p:tav tm="0">
                                          <p:val>
                                            <p:fltVal val="0"/>
                                          </p:val>
                                        </p:tav>
                                        <p:tav tm="100000">
                                          <p:val>
                                            <p:strVal val="#ppt_w"/>
                                          </p:val>
                                        </p:tav>
                                      </p:tavLst>
                                    </p:anim>
                                    <p:anim calcmode="lin" valueType="num">
                                      <p:cBhvr>
                                        <p:cTn id="51" dur="500" fill="hold"/>
                                        <p:tgtEl>
                                          <p:spTgt spid="31"/>
                                        </p:tgtEl>
                                        <p:attrNameLst>
                                          <p:attrName>ppt_h</p:attrName>
                                        </p:attrNameLst>
                                      </p:cBhvr>
                                      <p:tavLst>
                                        <p:tav tm="0">
                                          <p:val>
                                            <p:fltVal val="0"/>
                                          </p:val>
                                        </p:tav>
                                        <p:tav tm="100000">
                                          <p:val>
                                            <p:strVal val="#ppt_h"/>
                                          </p:val>
                                        </p:tav>
                                      </p:tavLst>
                                    </p:anim>
                                  </p:childTnLst>
                                </p:cTn>
                              </p:par>
                              <p:par>
                                <p:cTn id="52" presetID="23" presetClass="entr" presetSubtype="16" fill="hold" grpId="0" nodeType="withEffect">
                                  <p:stCondLst>
                                    <p:cond delay="0"/>
                                  </p:stCondLst>
                                  <p:childTnLst>
                                    <p:set>
                                      <p:cBhvr>
                                        <p:cTn id="53" dur="1" fill="hold">
                                          <p:stCondLst>
                                            <p:cond delay="0"/>
                                          </p:stCondLst>
                                        </p:cTn>
                                        <p:tgtEl>
                                          <p:spTgt spid="30"/>
                                        </p:tgtEl>
                                        <p:attrNameLst>
                                          <p:attrName>style.visibility</p:attrName>
                                        </p:attrNameLst>
                                      </p:cBhvr>
                                      <p:to>
                                        <p:strVal val="visible"/>
                                      </p:to>
                                    </p:set>
                                    <p:anim calcmode="lin" valueType="num">
                                      <p:cBhvr>
                                        <p:cTn id="54" dur="500" fill="hold"/>
                                        <p:tgtEl>
                                          <p:spTgt spid="30"/>
                                        </p:tgtEl>
                                        <p:attrNameLst>
                                          <p:attrName>ppt_w</p:attrName>
                                        </p:attrNameLst>
                                      </p:cBhvr>
                                      <p:tavLst>
                                        <p:tav tm="0">
                                          <p:val>
                                            <p:fltVal val="0"/>
                                          </p:val>
                                        </p:tav>
                                        <p:tav tm="100000">
                                          <p:val>
                                            <p:strVal val="#ppt_w"/>
                                          </p:val>
                                        </p:tav>
                                      </p:tavLst>
                                    </p:anim>
                                    <p:anim calcmode="lin" valueType="num">
                                      <p:cBhvr>
                                        <p:cTn id="55" dur="500" fill="hold"/>
                                        <p:tgtEl>
                                          <p:spTgt spid="30"/>
                                        </p:tgtEl>
                                        <p:attrNameLst>
                                          <p:attrName>ppt_h</p:attrName>
                                        </p:attrNameLst>
                                      </p:cBhvr>
                                      <p:tavLst>
                                        <p:tav tm="0">
                                          <p:val>
                                            <p:fltVal val="0"/>
                                          </p:val>
                                        </p:tav>
                                        <p:tav tm="100000">
                                          <p:val>
                                            <p:strVal val="#ppt_h"/>
                                          </p:val>
                                        </p:tav>
                                      </p:tavLst>
                                    </p:anim>
                                  </p:childTnLst>
                                </p:cTn>
                              </p:par>
                            </p:childTnLst>
                          </p:cTn>
                        </p:par>
                        <p:par>
                          <p:cTn id="56" fill="hold">
                            <p:stCondLst>
                              <p:cond delay="2000"/>
                            </p:stCondLst>
                            <p:childTnLst>
                              <p:par>
                                <p:cTn id="57" presetID="8" presetClass="emph" presetSubtype="0" fill="hold" nodeType="afterEffect">
                                  <p:stCondLst>
                                    <p:cond delay="250"/>
                                  </p:stCondLst>
                                  <p:childTnLst>
                                    <p:animRot by="-10800000">
                                      <p:cBhvr>
                                        <p:cTn id="58" dur="1000" fill="hold"/>
                                        <p:tgtEl>
                                          <p:spTgt spid="42"/>
                                        </p:tgtEl>
                                        <p:attrNameLst>
                                          <p:attrName>r</p:attrName>
                                        </p:attrNameLst>
                                      </p:cBhvr>
                                    </p:animRot>
                                  </p:childTnLst>
                                </p:cTn>
                              </p:par>
                              <p:par>
                                <p:cTn id="59" presetID="10" presetClass="entr" presetSubtype="0" fill="hold" nodeType="withEffect">
                                  <p:stCondLst>
                                    <p:cond delay="500"/>
                                  </p:stCondLst>
                                  <p:childTnLst>
                                    <p:set>
                                      <p:cBhvr>
                                        <p:cTn id="60" dur="1" fill="hold">
                                          <p:stCondLst>
                                            <p:cond delay="0"/>
                                          </p:stCondLst>
                                        </p:cTn>
                                        <p:tgtEl>
                                          <p:spTgt spid="32"/>
                                        </p:tgtEl>
                                        <p:attrNameLst>
                                          <p:attrName>style.visibility</p:attrName>
                                        </p:attrNameLst>
                                      </p:cBhvr>
                                      <p:to>
                                        <p:strVal val="visible"/>
                                      </p:to>
                                    </p:set>
                                    <p:animEffect transition="in" filter="fade">
                                      <p:cBhvr>
                                        <p:cTn id="61" dur="600"/>
                                        <p:tgtEl>
                                          <p:spTgt spid="32"/>
                                        </p:tgtEl>
                                      </p:cBhvr>
                                    </p:animEffect>
                                  </p:childTnLst>
                                </p:cTn>
                              </p:par>
                              <p:par>
                                <p:cTn id="62" presetID="35" presetClass="path" presetSubtype="0" decel="100000" fill="hold" nodeType="withEffect">
                                  <p:stCondLst>
                                    <p:cond delay="500"/>
                                  </p:stCondLst>
                                  <p:childTnLst>
                                    <p:animMotion origin="layout" path="M 0.05565 0.00023 L 4.76385E-6 0.00023 " pathEditMode="relative" rAng="0" ptsTypes="AA">
                                      <p:cBhvr>
                                        <p:cTn id="63" dur="800" fill="hold"/>
                                        <p:tgtEl>
                                          <p:spTgt spid="32"/>
                                        </p:tgtEl>
                                        <p:attrNameLst>
                                          <p:attrName>ppt_x</p:attrName>
                                          <p:attrName>ppt_y</p:attrName>
                                        </p:attrNameLst>
                                      </p:cBhvr>
                                      <p:rCtr x="-2783" y="0"/>
                                    </p:animMotion>
                                  </p:childTnLst>
                                </p:cTn>
                              </p:par>
                              <p:par>
                                <p:cTn id="64" presetID="10" presetClass="entr" presetSubtype="0" fill="hold" nodeType="withEffect">
                                  <p:stCondLst>
                                    <p:cond delay="500"/>
                                  </p:stCondLst>
                                  <p:childTnLst>
                                    <p:set>
                                      <p:cBhvr>
                                        <p:cTn id="65" dur="1" fill="hold">
                                          <p:stCondLst>
                                            <p:cond delay="0"/>
                                          </p:stCondLst>
                                        </p:cTn>
                                        <p:tgtEl>
                                          <p:spTgt spid="33"/>
                                        </p:tgtEl>
                                        <p:attrNameLst>
                                          <p:attrName>style.visibility</p:attrName>
                                        </p:attrNameLst>
                                      </p:cBhvr>
                                      <p:to>
                                        <p:strVal val="visible"/>
                                      </p:to>
                                    </p:set>
                                    <p:animEffect transition="in" filter="fade">
                                      <p:cBhvr>
                                        <p:cTn id="66" dur="600"/>
                                        <p:tgtEl>
                                          <p:spTgt spid="33"/>
                                        </p:tgtEl>
                                      </p:cBhvr>
                                    </p:animEffect>
                                  </p:childTnLst>
                                </p:cTn>
                              </p:par>
                              <p:par>
                                <p:cTn id="67" presetID="35" presetClass="path" presetSubtype="0" decel="100000" fill="hold" nodeType="withEffect">
                                  <p:stCondLst>
                                    <p:cond delay="500"/>
                                  </p:stCondLst>
                                  <p:childTnLst>
                                    <p:animMotion origin="layout" path="M -0.04557 0.00023 L -1.87388E-6 0.00023 " pathEditMode="relative" rAng="0" ptsTypes="AA">
                                      <p:cBhvr>
                                        <p:cTn id="68" dur="800" fill="hold"/>
                                        <p:tgtEl>
                                          <p:spTgt spid="33"/>
                                        </p:tgtEl>
                                        <p:attrNameLst>
                                          <p:attrName>ppt_x</p:attrName>
                                          <p:attrName>ppt_y</p:attrName>
                                        </p:attrNameLst>
                                      </p:cBhvr>
                                      <p:rCtr x="2272" y="0"/>
                                    </p:animMotion>
                                  </p:childTnLst>
                                </p:cTn>
                              </p:par>
                              <p:par>
                                <p:cTn id="69" presetID="10" presetClass="entr" presetSubtype="0" fill="hold" nodeType="withEffect">
                                  <p:stCondLst>
                                    <p:cond delay="500"/>
                                  </p:stCondLst>
                                  <p:childTnLst>
                                    <p:set>
                                      <p:cBhvr>
                                        <p:cTn id="70" dur="1" fill="hold">
                                          <p:stCondLst>
                                            <p:cond delay="0"/>
                                          </p:stCondLst>
                                        </p:cTn>
                                        <p:tgtEl>
                                          <p:spTgt spid="53"/>
                                        </p:tgtEl>
                                        <p:attrNameLst>
                                          <p:attrName>style.visibility</p:attrName>
                                        </p:attrNameLst>
                                      </p:cBhvr>
                                      <p:to>
                                        <p:strVal val="visible"/>
                                      </p:to>
                                    </p:set>
                                    <p:animEffect transition="in" filter="fade">
                                      <p:cBhvr>
                                        <p:cTn id="71" dur="600"/>
                                        <p:tgtEl>
                                          <p:spTgt spid="53"/>
                                        </p:tgtEl>
                                      </p:cBhvr>
                                    </p:animEffect>
                                  </p:childTnLst>
                                </p:cTn>
                              </p:par>
                              <p:par>
                                <p:cTn id="72" presetID="35" presetClass="path" presetSubtype="0" decel="100000" fill="hold" nodeType="withEffect">
                                  <p:stCondLst>
                                    <p:cond delay="500"/>
                                  </p:stCondLst>
                                  <p:childTnLst>
                                    <p:animMotion origin="layout" path="M 0.05565 0.00023 L 4.76385E-6 0.00023 " pathEditMode="relative" rAng="0" ptsTypes="AA">
                                      <p:cBhvr>
                                        <p:cTn id="73" dur="800" fill="hold"/>
                                        <p:tgtEl>
                                          <p:spTgt spid="53"/>
                                        </p:tgtEl>
                                        <p:attrNameLst>
                                          <p:attrName>ppt_x</p:attrName>
                                          <p:attrName>ppt_y</p:attrName>
                                        </p:attrNameLst>
                                      </p:cBhvr>
                                      <p:rCtr x="-278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P spid="30" grpId="0"/>
      <p:bldP spid="35" grpId="0"/>
      <p:bldP spid="37" grpId="0"/>
      <p:bldP spid="38" grpId="0"/>
      <p:bldP spid="31" grpId="0"/>
      <p:bldP spid="36" grpId="0"/>
      <p:bldP spid="48" grpId="0" animBg="1"/>
      <p:bldP spid="43" grpId="0" animBg="1"/>
      <p:bldP spid="45" grpId="0" animBg="1"/>
      <p:bldP spid="4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alphaModFix amt="35000"/>
            <a:extLst/>
          </a:blip>
          <a:srcRect t="14552" b="13813"/>
          <a:stretch/>
        </p:blipFill>
        <p:spPr>
          <a:xfrm>
            <a:off x="-8" y="-7"/>
            <a:ext cx="12192000" cy="6855958"/>
          </a:xfrm>
          <a:prstGeom prst="rect">
            <a:avLst/>
          </a:prstGeom>
        </p:spPr>
      </p:pic>
      <p:sp>
        <p:nvSpPr>
          <p:cNvPr id="2" name="Title 1"/>
          <p:cNvSpPr>
            <a:spLocks noGrp="1"/>
          </p:cNvSpPr>
          <p:nvPr>
            <p:ph type="title"/>
          </p:nvPr>
        </p:nvSpPr>
        <p:spPr>
          <a:xfrm>
            <a:off x="804672" y="4007335"/>
            <a:ext cx="6455833" cy="1497998"/>
          </a:xfrm>
        </p:spPr>
        <p:txBody>
          <a:bodyPr vert="horz" lIns="91440" tIns="45720" rIns="91440" bIns="45720" rtlCol="0" anchor="t">
            <a:normAutofit/>
          </a:bodyPr>
          <a:lstStyle>
            <a:defPPr>
              <a:defRPr lang="en-US"/>
            </a:defPPr>
            <a:lvl1pPr marL="0" algn="l" defTabSz="914098" rtl="0" eaLnBrk="1" latinLnBrk="0" hangingPunct="1">
              <a:defRPr sz="1765" kern="1200">
                <a:solidFill>
                  <a:schemeClr val="tx1"/>
                </a:solidFill>
                <a:latin typeface="+mn-lt"/>
                <a:ea typeface="+mn-ea"/>
                <a:cs typeface="+mn-cs"/>
              </a:defRPr>
            </a:lvl1pPr>
            <a:lvl2pPr marL="457050" algn="l" defTabSz="914098" rtl="0" eaLnBrk="1" latinLnBrk="0" hangingPunct="1">
              <a:defRPr sz="1765" kern="1200">
                <a:solidFill>
                  <a:schemeClr val="tx1"/>
                </a:solidFill>
                <a:latin typeface="+mn-lt"/>
                <a:ea typeface="+mn-ea"/>
                <a:cs typeface="+mn-cs"/>
              </a:defRPr>
            </a:lvl2pPr>
            <a:lvl3pPr marL="914098" algn="l" defTabSz="914098" rtl="0" eaLnBrk="1" latinLnBrk="0" hangingPunct="1">
              <a:defRPr sz="1765" kern="1200">
                <a:solidFill>
                  <a:schemeClr val="tx1"/>
                </a:solidFill>
                <a:latin typeface="+mn-lt"/>
                <a:ea typeface="+mn-ea"/>
                <a:cs typeface="+mn-cs"/>
              </a:defRPr>
            </a:lvl3pPr>
            <a:lvl4pPr marL="1371148" algn="l" defTabSz="914098" rtl="0" eaLnBrk="1" latinLnBrk="0" hangingPunct="1">
              <a:defRPr sz="1765" kern="1200">
                <a:solidFill>
                  <a:schemeClr val="tx1"/>
                </a:solidFill>
                <a:latin typeface="+mn-lt"/>
                <a:ea typeface="+mn-ea"/>
                <a:cs typeface="+mn-cs"/>
              </a:defRPr>
            </a:lvl4pPr>
            <a:lvl5pPr marL="1828197" algn="l" defTabSz="914098" rtl="0" eaLnBrk="1" latinLnBrk="0" hangingPunct="1">
              <a:defRPr sz="1765" kern="1200">
                <a:solidFill>
                  <a:schemeClr val="tx1"/>
                </a:solidFill>
                <a:latin typeface="+mn-lt"/>
                <a:ea typeface="+mn-ea"/>
                <a:cs typeface="+mn-cs"/>
              </a:defRPr>
            </a:lvl5pPr>
            <a:lvl6pPr marL="2285246" algn="l" defTabSz="914098" rtl="0" eaLnBrk="1" latinLnBrk="0" hangingPunct="1">
              <a:defRPr sz="1765" kern="1200">
                <a:solidFill>
                  <a:schemeClr val="tx1"/>
                </a:solidFill>
                <a:latin typeface="+mn-lt"/>
                <a:ea typeface="+mn-ea"/>
                <a:cs typeface="+mn-cs"/>
              </a:defRPr>
            </a:lvl6pPr>
            <a:lvl7pPr marL="2742295" algn="l" defTabSz="914098" rtl="0" eaLnBrk="1" latinLnBrk="0" hangingPunct="1">
              <a:defRPr sz="1765" kern="1200">
                <a:solidFill>
                  <a:schemeClr val="tx1"/>
                </a:solidFill>
                <a:latin typeface="+mn-lt"/>
                <a:ea typeface="+mn-ea"/>
                <a:cs typeface="+mn-cs"/>
              </a:defRPr>
            </a:lvl7pPr>
            <a:lvl8pPr marL="3199344" algn="l" defTabSz="914098" rtl="0" eaLnBrk="1" latinLnBrk="0" hangingPunct="1">
              <a:defRPr sz="1765" kern="1200">
                <a:solidFill>
                  <a:schemeClr val="tx1"/>
                </a:solidFill>
                <a:latin typeface="+mn-lt"/>
                <a:ea typeface="+mn-ea"/>
                <a:cs typeface="+mn-cs"/>
              </a:defRPr>
            </a:lvl8pPr>
            <a:lvl9pPr marL="3656394" algn="l" defTabSz="914098" rtl="0" eaLnBrk="1" latinLnBrk="0" hangingPunct="1">
              <a:defRPr sz="1765" kern="1200">
                <a:solidFill>
                  <a:schemeClr val="tx1"/>
                </a:solidFill>
                <a:latin typeface="+mn-lt"/>
                <a:ea typeface="+mn-ea"/>
                <a:cs typeface="+mn-cs"/>
              </a:defRPr>
            </a:lvl9pPr>
          </a:lstStyle>
          <a:p>
            <a:pPr defTabSz="914400"/>
            <a:r>
              <a:rPr lang="en-US" sz="4800" kern="1200">
                <a:solidFill>
                  <a:schemeClr val="tx1"/>
                </a:solidFill>
                <a:latin typeface="+mj-lt"/>
                <a:ea typeface="+mj-ea"/>
                <a:cs typeface="+mj-cs"/>
              </a:rPr>
              <a:t>Native cross platform</a:t>
            </a:r>
          </a:p>
        </p:txBody>
      </p:sp>
      <p:sp>
        <p:nvSpPr>
          <p:cNvPr id="21" name="Freeform: Shape 20">
            <a:extLst>
              <a:ext uri="{FF2B5EF4-FFF2-40B4-BE49-F238E27FC236}">
                <a16:creationId xmlns:a16="http://schemas.microsoft.com/office/drawing/2014/main" id="{E26B9EF5-5D92-4AC7-BC55-FC5C4C98ED4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76199" y="548"/>
            <a:ext cx="4349752" cy="3142889"/>
          </a:xfrm>
          <a:custGeom>
            <a:avLst/>
            <a:gdLst>
              <a:gd name="connsiteX0" fmla="*/ 229420 w 4349752"/>
              <a:gd name="connsiteY0" fmla="*/ 0 h 3142889"/>
              <a:gd name="connsiteX1" fmla="*/ 4120333 w 4349752"/>
              <a:gd name="connsiteY1" fmla="*/ 0 h 3142889"/>
              <a:gd name="connsiteX2" fmla="*/ 4178840 w 4349752"/>
              <a:gd name="connsiteY2" fmla="*/ 121453 h 3142889"/>
              <a:gd name="connsiteX3" fmla="*/ 4349752 w 4349752"/>
              <a:gd name="connsiteY3" fmla="*/ 968013 h 3142889"/>
              <a:gd name="connsiteX4" fmla="*/ 2174876 w 4349752"/>
              <a:gd name="connsiteY4" fmla="*/ 3142889 h 3142889"/>
              <a:gd name="connsiteX5" fmla="*/ 0 w 4349752"/>
              <a:gd name="connsiteY5" fmla="*/ 968013 h 3142889"/>
              <a:gd name="connsiteX6" fmla="*/ 170913 w 4349752"/>
              <a:gd name="connsiteY6" fmla="*/ 121453 h 314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49752" h="3142889">
                <a:moveTo>
                  <a:pt x="229420" y="0"/>
                </a:moveTo>
                <a:lnTo>
                  <a:pt x="4120333" y="0"/>
                </a:lnTo>
                <a:lnTo>
                  <a:pt x="4178840" y="121453"/>
                </a:lnTo>
                <a:cubicBezTo>
                  <a:pt x="4288894" y="381652"/>
                  <a:pt x="4349752" y="667725"/>
                  <a:pt x="4349752" y="968013"/>
                </a:cubicBezTo>
                <a:cubicBezTo>
                  <a:pt x="4349752" y="2169164"/>
                  <a:pt x="3376027" y="3142889"/>
                  <a:pt x="2174876" y="3142889"/>
                </a:cubicBezTo>
                <a:cubicBezTo>
                  <a:pt x="973725" y="3142889"/>
                  <a:pt x="0" y="2169164"/>
                  <a:pt x="0" y="968013"/>
                </a:cubicBezTo>
                <a:cubicBezTo>
                  <a:pt x="0" y="667725"/>
                  <a:pt x="60858" y="381652"/>
                  <a:pt x="170913" y="121453"/>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Freeform: Shape 22">
            <a:extLst>
              <a:ext uri="{FF2B5EF4-FFF2-40B4-BE49-F238E27FC236}">
                <a16:creationId xmlns:a16="http://schemas.microsoft.com/office/drawing/2014/main" id="{F05C5575-0F07-43D0-AE78-81EAA8E671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653759" y="1421356"/>
            <a:ext cx="4538241" cy="5436644"/>
          </a:xfrm>
          <a:custGeom>
            <a:avLst/>
            <a:gdLst>
              <a:gd name="connsiteX0" fmla="*/ 3084645 w 4538241"/>
              <a:gd name="connsiteY0" fmla="*/ 0 h 5436644"/>
              <a:gd name="connsiteX1" fmla="*/ 4285328 w 4538241"/>
              <a:gd name="connsiteY1" fmla="*/ 242407 h 5436644"/>
              <a:gd name="connsiteX2" fmla="*/ 4538241 w 4538241"/>
              <a:gd name="connsiteY2" fmla="*/ 364242 h 5436644"/>
              <a:gd name="connsiteX3" fmla="*/ 4538241 w 4538241"/>
              <a:gd name="connsiteY3" fmla="*/ 5436644 h 5436644"/>
              <a:gd name="connsiteX4" fmla="*/ 1091428 w 4538241"/>
              <a:gd name="connsiteY4" fmla="*/ 5436644 h 5436644"/>
              <a:gd name="connsiteX5" fmla="*/ 903472 w 4538241"/>
              <a:gd name="connsiteY5" fmla="*/ 5265818 h 5436644"/>
              <a:gd name="connsiteX6" fmla="*/ 0 w 4538241"/>
              <a:gd name="connsiteY6" fmla="*/ 3084645 h 5436644"/>
              <a:gd name="connsiteX7" fmla="*/ 3084645 w 4538241"/>
              <a:gd name="connsiteY7" fmla="*/ 0 h 5436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38241" h="5436644">
                <a:moveTo>
                  <a:pt x="3084645" y="0"/>
                </a:moveTo>
                <a:cubicBezTo>
                  <a:pt x="3510546" y="0"/>
                  <a:pt x="3916286" y="86315"/>
                  <a:pt x="4285328" y="242407"/>
                </a:cubicBezTo>
                <a:lnTo>
                  <a:pt x="4538241" y="364242"/>
                </a:lnTo>
                <a:lnTo>
                  <a:pt x="4538241" y="5436644"/>
                </a:lnTo>
                <a:lnTo>
                  <a:pt x="1091428" y="5436644"/>
                </a:lnTo>
                <a:lnTo>
                  <a:pt x="903472" y="5265818"/>
                </a:lnTo>
                <a:cubicBezTo>
                  <a:pt x="345261" y="4707608"/>
                  <a:pt x="0" y="3936446"/>
                  <a:pt x="0" y="3084645"/>
                </a:cubicBezTo>
                <a:cubicBezTo>
                  <a:pt x="0" y="1381043"/>
                  <a:pt x="1381043" y="0"/>
                  <a:pt x="3084645" y="0"/>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4" name="Picture 3"/>
          <p:cNvPicPr>
            <a:picLocks noChangeAspect="1"/>
          </p:cNvPicPr>
          <p:nvPr/>
        </p:nvPicPr>
        <p:blipFill rotWithShape="1">
          <a:blip r:embed="rId4"/>
          <a:srcRect l="4797" r="16227"/>
          <a:stretch/>
        </p:blipFill>
        <p:spPr>
          <a:xfrm>
            <a:off x="3639395" y="10"/>
            <a:ext cx="4023360" cy="2980230"/>
          </a:xfrm>
          <a:custGeom>
            <a:avLst/>
            <a:gdLst>
              <a:gd name="connsiteX0" fmla="*/ 248676 w 4023360"/>
              <a:gd name="connsiteY0" fmla="*/ 0 h 2980240"/>
              <a:gd name="connsiteX1" fmla="*/ 3774684 w 4023360"/>
              <a:gd name="connsiteY1" fmla="*/ 0 h 2980240"/>
              <a:gd name="connsiteX2" fmla="*/ 3780561 w 4023360"/>
              <a:gd name="connsiteY2" fmla="*/ 9674 h 2980240"/>
              <a:gd name="connsiteX3" fmla="*/ 4023360 w 4023360"/>
              <a:gd name="connsiteY3" fmla="*/ 968560 h 2980240"/>
              <a:gd name="connsiteX4" fmla="*/ 2011680 w 4023360"/>
              <a:gd name="connsiteY4" fmla="*/ 2980240 h 2980240"/>
              <a:gd name="connsiteX5" fmla="*/ 0 w 4023360"/>
              <a:gd name="connsiteY5" fmla="*/ 968560 h 2980240"/>
              <a:gd name="connsiteX6" fmla="*/ 242799 w 4023360"/>
              <a:gd name="connsiteY6" fmla="*/ 9674 h 2980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23360" h="2980240">
                <a:moveTo>
                  <a:pt x="248676" y="0"/>
                </a:moveTo>
                <a:lnTo>
                  <a:pt x="3774684" y="0"/>
                </a:lnTo>
                <a:lnTo>
                  <a:pt x="3780561" y="9674"/>
                </a:lnTo>
                <a:cubicBezTo>
                  <a:pt x="3935405" y="294716"/>
                  <a:pt x="4023360" y="621366"/>
                  <a:pt x="4023360" y="968560"/>
                </a:cubicBezTo>
                <a:cubicBezTo>
                  <a:pt x="4023360" y="2079580"/>
                  <a:pt x="3122700" y="2980240"/>
                  <a:pt x="2011680" y="2980240"/>
                </a:cubicBezTo>
                <a:cubicBezTo>
                  <a:pt x="900660" y="2980240"/>
                  <a:pt x="0" y="2079580"/>
                  <a:pt x="0" y="968560"/>
                </a:cubicBezTo>
                <a:cubicBezTo>
                  <a:pt x="0" y="621366"/>
                  <a:pt x="87955" y="294716"/>
                  <a:pt x="242799" y="9674"/>
                </a:cubicBezTo>
                <a:close/>
              </a:path>
            </a:pathLst>
          </a:custGeom>
        </p:spPr>
      </p:pic>
      <p:pic>
        <p:nvPicPr>
          <p:cNvPr id="8" name="Picture 7"/>
          <p:cNvPicPr>
            <a:picLocks noChangeAspect="1"/>
          </p:cNvPicPr>
          <p:nvPr/>
        </p:nvPicPr>
        <p:blipFill rotWithShape="1">
          <a:blip r:embed="rId5"/>
          <a:srcRect r="345" b="2"/>
          <a:stretch/>
        </p:blipFill>
        <p:spPr>
          <a:xfrm>
            <a:off x="7816904" y="1584501"/>
            <a:ext cx="4375105" cy="5273507"/>
          </a:xfrm>
          <a:custGeom>
            <a:avLst/>
            <a:gdLst>
              <a:gd name="connsiteX0" fmla="*/ 2921508 w 4375105"/>
              <a:gd name="connsiteY0" fmla="*/ 0 h 5273507"/>
              <a:gd name="connsiteX1" fmla="*/ 4314072 w 4375105"/>
              <a:gd name="connsiteY1" fmla="*/ 352611 h 5273507"/>
              <a:gd name="connsiteX2" fmla="*/ 4375105 w 4375105"/>
              <a:gd name="connsiteY2" fmla="*/ 389689 h 5273507"/>
              <a:gd name="connsiteX3" fmla="*/ 4375105 w 4375105"/>
              <a:gd name="connsiteY3" fmla="*/ 5273507 h 5273507"/>
              <a:gd name="connsiteX4" fmla="*/ 1193705 w 4375105"/>
              <a:gd name="connsiteY4" fmla="*/ 5273507 h 5273507"/>
              <a:gd name="connsiteX5" fmla="*/ 1063158 w 4375105"/>
              <a:gd name="connsiteY5" fmla="*/ 5175886 h 5273507"/>
              <a:gd name="connsiteX6" fmla="*/ 0 w 4375105"/>
              <a:gd name="connsiteY6" fmla="*/ 2921508 h 5273507"/>
              <a:gd name="connsiteX7" fmla="*/ 2921508 w 4375105"/>
              <a:gd name="connsiteY7" fmla="*/ 0 h 5273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5105" h="5273507">
                <a:moveTo>
                  <a:pt x="2921508" y="0"/>
                </a:moveTo>
                <a:cubicBezTo>
                  <a:pt x="3425728" y="0"/>
                  <a:pt x="3900114" y="127735"/>
                  <a:pt x="4314072" y="352611"/>
                </a:cubicBezTo>
                <a:lnTo>
                  <a:pt x="4375105" y="389689"/>
                </a:lnTo>
                <a:lnTo>
                  <a:pt x="4375105" y="5273507"/>
                </a:lnTo>
                <a:lnTo>
                  <a:pt x="1193705" y="5273507"/>
                </a:lnTo>
                <a:lnTo>
                  <a:pt x="1063158" y="5175886"/>
                </a:lnTo>
                <a:cubicBezTo>
                  <a:pt x="413861" y="4640038"/>
                  <a:pt x="0" y="3829104"/>
                  <a:pt x="0" y="2921508"/>
                </a:cubicBezTo>
                <a:cubicBezTo>
                  <a:pt x="0" y="1308004"/>
                  <a:pt x="1308004" y="0"/>
                  <a:pt x="2921508" y="0"/>
                </a:cubicBezTo>
                <a:close/>
              </a:path>
            </a:pathLst>
          </a:custGeom>
        </p:spPr>
      </p:pic>
      <p:sp>
        <p:nvSpPr>
          <p:cNvPr id="16" name="Freeform 15"/>
          <p:cNvSpPr/>
          <p:nvPr/>
        </p:nvSpPr>
        <p:spPr bwMode="auto">
          <a:xfrm>
            <a:off x="9079867" y="3878704"/>
            <a:ext cx="289471" cy="9168"/>
          </a:xfrm>
          <a:custGeom>
            <a:avLst/>
            <a:gdLst>
              <a:gd name="connsiteX0" fmla="*/ 0 w 295275"/>
              <a:gd name="connsiteY0" fmla="*/ 0 h 9352"/>
              <a:gd name="connsiteX1" fmla="*/ 295275 w 295275"/>
              <a:gd name="connsiteY1" fmla="*/ 4762 h 9352"/>
            </a:gdLst>
            <a:ahLst/>
            <a:cxnLst>
              <a:cxn ang="0">
                <a:pos x="connsiteX0" y="connsiteY0"/>
              </a:cxn>
              <a:cxn ang="0">
                <a:pos x="connsiteX1" y="connsiteY1"/>
              </a:cxn>
            </a:cxnLst>
            <a:rect l="l" t="t" r="r" b="b"/>
            <a:pathLst>
              <a:path w="295275" h="9352">
                <a:moveTo>
                  <a:pt x="0" y="0"/>
                </a:moveTo>
                <a:cubicBezTo>
                  <a:pt x="138311" y="7143"/>
                  <a:pt x="276622" y="14287"/>
                  <a:pt x="295275" y="4762"/>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098" rtl="0" eaLnBrk="1" latinLnBrk="0" hangingPunct="1">
              <a:defRPr sz="1765" kern="1200">
                <a:solidFill>
                  <a:schemeClr val="tx1"/>
                </a:solidFill>
                <a:latin typeface="+mn-lt"/>
                <a:ea typeface="+mn-ea"/>
                <a:cs typeface="+mn-cs"/>
              </a:defRPr>
            </a:lvl1pPr>
            <a:lvl2pPr marL="457050" algn="l" defTabSz="914098" rtl="0" eaLnBrk="1" latinLnBrk="0" hangingPunct="1">
              <a:defRPr sz="1765" kern="1200">
                <a:solidFill>
                  <a:schemeClr val="tx1"/>
                </a:solidFill>
                <a:latin typeface="+mn-lt"/>
                <a:ea typeface="+mn-ea"/>
                <a:cs typeface="+mn-cs"/>
              </a:defRPr>
            </a:lvl2pPr>
            <a:lvl3pPr marL="914098" algn="l" defTabSz="914098" rtl="0" eaLnBrk="1" latinLnBrk="0" hangingPunct="1">
              <a:defRPr sz="1765" kern="1200">
                <a:solidFill>
                  <a:schemeClr val="tx1"/>
                </a:solidFill>
                <a:latin typeface="+mn-lt"/>
                <a:ea typeface="+mn-ea"/>
                <a:cs typeface="+mn-cs"/>
              </a:defRPr>
            </a:lvl3pPr>
            <a:lvl4pPr marL="1371148" algn="l" defTabSz="914098" rtl="0" eaLnBrk="1" latinLnBrk="0" hangingPunct="1">
              <a:defRPr sz="1765" kern="1200">
                <a:solidFill>
                  <a:schemeClr val="tx1"/>
                </a:solidFill>
                <a:latin typeface="+mn-lt"/>
                <a:ea typeface="+mn-ea"/>
                <a:cs typeface="+mn-cs"/>
              </a:defRPr>
            </a:lvl4pPr>
            <a:lvl5pPr marL="1828197" algn="l" defTabSz="914098" rtl="0" eaLnBrk="1" latinLnBrk="0" hangingPunct="1">
              <a:defRPr sz="1765" kern="1200">
                <a:solidFill>
                  <a:schemeClr val="tx1"/>
                </a:solidFill>
                <a:latin typeface="+mn-lt"/>
                <a:ea typeface="+mn-ea"/>
                <a:cs typeface="+mn-cs"/>
              </a:defRPr>
            </a:lvl5pPr>
            <a:lvl6pPr marL="2285246" algn="l" defTabSz="914098" rtl="0" eaLnBrk="1" latinLnBrk="0" hangingPunct="1">
              <a:defRPr sz="1765" kern="1200">
                <a:solidFill>
                  <a:schemeClr val="tx1"/>
                </a:solidFill>
                <a:latin typeface="+mn-lt"/>
                <a:ea typeface="+mn-ea"/>
                <a:cs typeface="+mn-cs"/>
              </a:defRPr>
            </a:lvl6pPr>
            <a:lvl7pPr marL="2742295" algn="l" defTabSz="914098" rtl="0" eaLnBrk="1" latinLnBrk="0" hangingPunct="1">
              <a:defRPr sz="1765" kern="1200">
                <a:solidFill>
                  <a:schemeClr val="tx1"/>
                </a:solidFill>
                <a:latin typeface="+mn-lt"/>
                <a:ea typeface="+mn-ea"/>
                <a:cs typeface="+mn-cs"/>
              </a:defRPr>
            </a:lvl7pPr>
            <a:lvl8pPr marL="3199344" algn="l" defTabSz="914098" rtl="0" eaLnBrk="1" latinLnBrk="0" hangingPunct="1">
              <a:defRPr sz="1765" kern="1200">
                <a:solidFill>
                  <a:schemeClr val="tx1"/>
                </a:solidFill>
                <a:latin typeface="+mn-lt"/>
                <a:ea typeface="+mn-ea"/>
                <a:cs typeface="+mn-cs"/>
              </a:defRPr>
            </a:lvl8pPr>
            <a:lvl9pPr marL="3656394" algn="l" defTabSz="914098" rtl="0" eaLnBrk="1" latinLnBrk="0" hangingPunct="1">
              <a:defRPr sz="1765" kern="1200">
                <a:solidFill>
                  <a:schemeClr val="tx1"/>
                </a:solidFill>
                <a:latin typeface="+mn-lt"/>
                <a:ea typeface="+mn-ea"/>
                <a:cs typeface="+mn-cs"/>
              </a:defRPr>
            </a:lvl9pPr>
          </a:lstStyle>
          <a:p>
            <a:pPr algn="ctr"/>
            <a:endParaRPr lang="en-US" sz="1730"/>
          </a:p>
        </p:txBody>
      </p:sp>
    </p:spTree>
    <p:extLst>
      <p:ext uri="{BB962C8B-B14F-4D97-AF65-F5344CB8AC3E}">
        <p14:creationId xmlns:p14="http://schemas.microsoft.com/office/powerpoint/2010/main" val="1928025133"/>
      </p:ext>
    </p:extLst>
  </p:cSld>
  <p:clrMapOvr>
    <a:overrideClrMapping bg1="dk1" tx1="lt1" bg2="dk2" tx2="lt2" accent1="accent1" accent2="accent2" accent3="accent3" accent4="accent4" accent5="accent5" accent6="accent6" hlink="hlink" folHlink="folHlink"/>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8986"/>
            <a:ext cx="10515600" cy="1325563"/>
          </a:xfrm>
        </p:spPr>
        <p:txBody>
          <a:bodyPr>
            <a:normAutofit fontScale="90000"/>
          </a:bodyPr>
          <a:lstStyle/>
          <a:p>
            <a:r>
              <a:rPr lang="en-US" sz="4400" dirty="0">
                <a:solidFill>
                  <a:schemeClr val="tx1"/>
                </a:solidFill>
                <a:latin typeface="Segoe UI Light" panose="020B0502040204020203" pitchFamily="34" charset="0"/>
                <a:cs typeface="Segoe UI Light" panose="020B0502040204020203" pitchFamily="34" charset="0"/>
              </a:rPr>
              <a:t>Challenge 2: Implementing DevOps Continuous Integration / Continuous Deployment (CI/CD)</a:t>
            </a:r>
          </a:p>
        </p:txBody>
      </p:sp>
      <p:sp>
        <p:nvSpPr>
          <p:cNvPr id="9" name="TextBox 8">
            <a:extLst>
              <a:ext uri="{FF2B5EF4-FFF2-40B4-BE49-F238E27FC236}">
                <a16:creationId xmlns:a16="http://schemas.microsoft.com/office/drawing/2014/main" id="{0F86F9F9-39B5-4CE6-AF48-9ADAE40EA728}"/>
              </a:ext>
            </a:extLst>
          </p:cNvPr>
          <p:cNvSpPr txBox="1"/>
          <p:nvPr/>
        </p:nvSpPr>
        <p:spPr>
          <a:xfrm>
            <a:off x="269240" y="2198446"/>
            <a:ext cx="7247965" cy="1945148"/>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Create a CI/CD pipeline for the web app which automatically kicks off on check-in’s</a:t>
            </a:r>
          </a:p>
          <a:p>
            <a:pPr>
              <a:lnSpc>
                <a:spcPct val="90000"/>
              </a:lnSpc>
              <a:spcAft>
                <a:spcPts val="600"/>
              </a:spcAft>
            </a:pPr>
            <a:endParaRPr lang="en-US" sz="2400" dirty="0"/>
          </a:p>
        </p:txBody>
      </p:sp>
      <p:sp>
        <p:nvSpPr>
          <p:cNvPr id="4" name="Rectangle 3">
            <a:extLst>
              <a:ext uri="{FF2B5EF4-FFF2-40B4-BE49-F238E27FC236}">
                <a16:creationId xmlns:a16="http://schemas.microsoft.com/office/drawing/2014/main" id="{5DE2FEB3-B3A2-004E-8474-5D5C449BBC33}"/>
              </a:ext>
            </a:extLst>
          </p:cNvPr>
          <p:cNvSpPr/>
          <p:nvPr/>
        </p:nvSpPr>
        <p:spPr>
          <a:xfrm>
            <a:off x="7815042" y="4528412"/>
            <a:ext cx="4110038" cy="2200602"/>
          </a:xfrm>
          <a:prstGeom prst="rect">
            <a:avLst/>
          </a:prstGeom>
        </p:spPr>
        <p:txBody>
          <a:bodyPr wrap="square">
            <a:spAutoFit/>
          </a:bodyPr>
          <a:lstStyle/>
          <a:p>
            <a:pPr marR="288290">
              <a:spcBef>
                <a:spcPts val="600"/>
              </a:spcBef>
            </a:pPr>
            <a:r>
              <a:rPr lang="en-US" sz="2400" dirty="0">
                <a:ea typeface="Segoe UI"/>
                <a:cs typeface="Segoe UI"/>
              </a:rPr>
              <a:t>Default Accounts</a:t>
            </a:r>
          </a:p>
          <a:p>
            <a:pPr marR="288290">
              <a:spcBef>
                <a:spcPts val="600"/>
              </a:spcBef>
            </a:pPr>
            <a:r>
              <a:rPr lang="en-US" dirty="0">
                <a:ea typeface="Segoe UI"/>
                <a:cs typeface="Segoe UI"/>
              </a:rPr>
              <a:t>Admin User Name: sysadmin</a:t>
            </a:r>
            <a:br>
              <a:rPr lang="en-US" dirty="0">
                <a:ea typeface="Segoe UI"/>
                <a:cs typeface="Segoe UI"/>
              </a:rPr>
            </a:br>
            <a:r>
              <a:rPr lang="en-US" dirty="0">
                <a:ea typeface="Segoe UI"/>
                <a:cs typeface="Segoe UI"/>
              </a:rPr>
              <a:t>Admin User Password: Password$123</a:t>
            </a:r>
          </a:p>
          <a:p>
            <a:pPr marR="288290"/>
            <a:r>
              <a:rPr lang="en-US" dirty="0" err="1">
                <a:ea typeface="Segoe UI"/>
                <a:cs typeface="Segoe UI"/>
              </a:rPr>
              <a:t>db</a:t>
            </a:r>
            <a:r>
              <a:rPr lang="en-US" dirty="0">
                <a:ea typeface="Segoe UI"/>
                <a:cs typeface="Segoe UI"/>
              </a:rPr>
              <a:t> Login Name: </a:t>
            </a:r>
            <a:r>
              <a:rPr lang="en-US" dirty="0" err="1">
                <a:ea typeface="Segoe UI"/>
                <a:cs typeface="Segoe UI"/>
              </a:rPr>
              <a:t>workshopServiceAcc</a:t>
            </a:r>
            <a:br>
              <a:rPr lang="en-US" dirty="0">
                <a:ea typeface="Segoe UI"/>
                <a:cs typeface="Segoe UI"/>
              </a:rPr>
            </a:br>
            <a:r>
              <a:rPr lang="en-US" dirty="0" err="1">
                <a:ea typeface="Segoe UI"/>
                <a:cs typeface="Segoe UI"/>
              </a:rPr>
              <a:t>db</a:t>
            </a:r>
            <a:r>
              <a:rPr lang="en-US" dirty="0">
                <a:ea typeface="Segoe UI"/>
                <a:cs typeface="Segoe UI"/>
              </a:rPr>
              <a:t> User Name: </a:t>
            </a:r>
            <a:r>
              <a:rPr lang="en-US" dirty="0" err="1">
                <a:ea typeface="Segoe UI"/>
                <a:cs typeface="Segoe UI"/>
              </a:rPr>
              <a:t>workshopServiceAcc</a:t>
            </a:r>
            <a:br>
              <a:rPr lang="en-US" dirty="0">
                <a:ea typeface="Segoe UI"/>
                <a:cs typeface="Segoe UI"/>
              </a:rPr>
            </a:br>
            <a:r>
              <a:rPr lang="en-US" dirty="0" err="1">
                <a:ea typeface="Segoe UI"/>
                <a:cs typeface="Segoe UI"/>
              </a:rPr>
              <a:t>db</a:t>
            </a:r>
            <a:r>
              <a:rPr lang="en-US" dirty="0">
                <a:ea typeface="Segoe UI"/>
                <a:cs typeface="Segoe UI"/>
              </a:rPr>
              <a:t> User Password: P2ssw0rd</a:t>
            </a:r>
          </a:p>
          <a:p>
            <a:pPr marR="288290">
              <a:spcAft>
                <a:spcPts val="600"/>
              </a:spcAft>
            </a:pPr>
            <a:r>
              <a:rPr lang="en-US" dirty="0">
                <a:ea typeface="Segoe UI"/>
                <a:cs typeface="Segoe UI"/>
              </a:rPr>
              <a:t>Database Name: </a:t>
            </a:r>
            <a:r>
              <a:rPr lang="en-US" dirty="0" err="1">
                <a:ea typeface="Segoe UI"/>
                <a:cs typeface="Segoe UI"/>
              </a:rPr>
              <a:t>partsUnlimitedDB</a:t>
            </a:r>
            <a:endParaRPr lang="en-US" dirty="0">
              <a:ea typeface="Segoe UI"/>
              <a:cs typeface="Segoe UI"/>
            </a:endParaRPr>
          </a:p>
        </p:txBody>
      </p:sp>
      <p:sp>
        <p:nvSpPr>
          <p:cNvPr id="3" name="Rectangle 2">
            <a:extLst>
              <a:ext uri="{FF2B5EF4-FFF2-40B4-BE49-F238E27FC236}">
                <a16:creationId xmlns:a16="http://schemas.microsoft.com/office/drawing/2014/main" id="{F21046CA-B128-F146-944D-638C03650E06}"/>
              </a:ext>
            </a:extLst>
          </p:cNvPr>
          <p:cNvSpPr/>
          <p:nvPr/>
        </p:nvSpPr>
        <p:spPr>
          <a:xfrm>
            <a:off x="266920" y="4159080"/>
            <a:ext cx="7247965" cy="2585323"/>
          </a:xfrm>
          <a:prstGeom prst="rect">
            <a:avLst/>
          </a:prstGeom>
        </p:spPr>
        <p:txBody>
          <a:bodyPr wrap="square">
            <a:spAutoFit/>
          </a:bodyPr>
          <a:lstStyle/>
          <a:p>
            <a:r>
              <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3"/>
              </a:rPr>
              <a:t>https://www.visualstudio.com/team-services/</a:t>
            </a:r>
            <a:endPar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endParaRPr>
          </a:p>
          <a:p>
            <a:endPar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endParaRPr>
          </a:p>
          <a:p>
            <a:r>
              <a:rPr lang="en-US" u="sng" dirty="0">
                <a:hlinkClick r:id="rId4"/>
              </a:rPr>
              <a:t>https://docs.microsoft.com/en-us/azure/virtual-machines/windows/tutorial-vsts-iis-cicd</a:t>
            </a:r>
            <a:endParaRPr lang="en-US" dirty="0"/>
          </a:p>
          <a:p>
            <a:endPar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endParaRPr>
          </a:p>
          <a:p>
            <a:r>
              <a:rPr lang="en-US" u="sng" dirty="0">
                <a:hlinkClick r:id="rId5"/>
              </a:rPr>
              <a:t>https://docs.microsoft.com/en-us/vsts/accounts/create-account-msa-or-work-student?view=vsts</a:t>
            </a:r>
            <a:endParaRPr lang="en-US" dirty="0"/>
          </a:p>
          <a:p>
            <a:endPar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endParaRPr>
          </a:p>
          <a:p>
            <a:r>
              <a:rPr lang="en-US" dirty="0">
                <a:latin typeface="Calibri" panose="020F0502020204030204" pitchFamily="34" charset="0"/>
                <a:ea typeface="Calibri" panose="020F0502020204030204" pitchFamily="34" charset="0"/>
                <a:cs typeface="Times New Roman" panose="02020603050405020304" pitchFamily="18" charset="0"/>
              </a:rPr>
              <a:t> </a:t>
            </a:r>
          </a:p>
        </p:txBody>
      </p:sp>
    </p:spTree>
    <p:extLst>
      <p:ext uri="{BB962C8B-B14F-4D97-AF65-F5344CB8AC3E}">
        <p14:creationId xmlns:p14="http://schemas.microsoft.com/office/powerpoint/2010/main" val="23660093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D2C4BFA1-2075-4901-9E24-E41D1FDD51F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55481" y="498348"/>
            <a:ext cx="9902663" cy="5861304"/>
            <a:chOff x="1155481" y="498348"/>
            <a:chExt cx="9902663" cy="5861304"/>
          </a:xfrm>
        </p:grpSpPr>
        <p:sp>
          <p:nvSpPr>
            <p:cNvPr id="10" name="Oval 5">
              <a:extLst>
                <a:ext uri="{FF2B5EF4-FFF2-40B4-BE49-F238E27FC236}">
                  <a16:creationId xmlns:a16="http://schemas.microsoft.com/office/drawing/2014/main" id="{985A7375-E3AF-4F5C-85AE-17E8832952CA}"/>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1155481" y="498348"/>
              <a:ext cx="5861304" cy="5861304"/>
            </a:xfrm>
            <a:prstGeom prst="ellipse">
              <a:avLst/>
            </a:prstGeom>
            <a:solidFill>
              <a:schemeClr val="accent1">
                <a:alpha val="55000"/>
              </a:schemeClr>
            </a:solidFill>
            <a:ln>
              <a:noFill/>
            </a:ln>
          </p:spPr>
        </p:sp>
        <p:sp>
          <p:nvSpPr>
            <p:cNvPr id="11" name="Oval 10">
              <a:extLst>
                <a:ext uri="{FF2B5EF4-FFF2-40B4-BE49-F238E27FC236}">
                  <a16:creationId xmlns:a16="http://schemas.microsoft.com/office/drawing/2014/main" id="{F0307F65-8304-4FA8-A841-D4D7625411BE}"/>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5196840" y="498348"/>
              <a:ext cx="5861304" cy="5861304"/>
            </a:xfrm>
            <a:prstGeom prst="ellipse">
              <a:avLst/>
            </a:prstGeom>
            <a:solidFill>
              <a:schemeClr val="accent1">
                <a:alpha val="55000"/>
              </a:schemeClr>
            </a:solidFill>
            <a:ln>
              <a:noFill/>
            </a:ln>
          </p:spPr>
        </p:sp>
        <p:sp>
          <p:nvSpPr>
            <p:cNvPr id="12" name="Oval 5">
              <a:extLst>
                <a:ext uri="{FF2B5EF4-FFF2-40B4-BE49-F238E27FC236}">
                  <a16:creationId xmlns:a16="http://schemas.microsoft.com/office/drawing/2014/main" id="{C8B8394C-136F-4E05-A002-D93A5E79CD50}"/>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3165348" y="498348"/>
              <a:ext cx="5861304" cy="5861304"/>
            </a:xfrm>
            <a:prstGeom prst="ellipse">
              <a:avLst/>
            </a:prstGeom>
            <a:solidFill>
              <a:schemeClr val="accent1">
                <a:alpha val="70000"/>
              </a:schemeClr>
            </a:solidFill>
            <a:ln>
              <a:noFill/>
            </a:ln>
          </p:spPr>
        </p:sp>
      </p:grpSp>
      <p:sp>
        <p:nvSpPr>
          <p:cNvPr id="14" name="Rectangle 13">
            <a:extLst>
              <a:ext uri="{FF2B5EF4-FFF2-40B4-BE49-F238E27FC236}">
                <a16:creationId xmlns:a16="http://schemas.microsoft.com/office/drawing/2014/main" id="{053FB2EE-284F-4C87-AB3D-BBF87A9FAB9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514600"/>
            <a:ext cx="12192000" cy="182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Title 3">
            <a:extLst>
              <a:ext uri="{FF2B5EF4-FFF2-40B4-BE49-F238E27FC236}">
                <a16:creationId xmlns:a16="http://schemas.microsoft.com/office/drawing/2014/main" id="{CBEDDC83-1318-B242-8578-917F59F3B304}"/>
              </a:ext>
            </a:extLst>
          </p:cNvPr>
          <p:cNvSpPr>
            <a:spLocks noGrp="1"/>
          </p:cNvSpPr>
          <p:nvPr>
            <p:ph type="title"/>
          </p:nvPr>
        </p:nvSpPr>
        <p:spPr>
          <a:xfrm>
            <a:off x="1524000" y="2776538"/>
            <a:ext cx="9144000" cy="1381188"/>
          </a:xfrm>
        </p:spPr>
        <p:txBody>
          <a:bodyPr vert="horz" lIns="91440" tIns="45720" rIns="91440" bIns="45720" rtlCol="0" anchor="ctr">
            <a:normAutofit/>
          </a:bodyPr>
          <a:lstStyle/>
          <a:p>
            <a:pPr algn="ctr"/>
            <a:r>
              <a:rPr lang="en-US" sz="4000" kern="1200" dirty="0">
                <a:solidFill>
                  <a:schemeClr val="bg2"/>
                </a:solidFill>
                <a:latin typeface="+mj-lt"/>
                <a:ea typeface="+mj-ea"/>
                <a:cs typeface="+mj-cs"/>
              </a:rPr>
              <a:t>Application Insights</a:t>
            </a:r>
          </a:p>
        </p:txBody>
      </p:sp>
    </p:spTree>
    <p:extLst>
      <p:ext uri="{BB962C8B-B14F-4D97-AF65-F5344CB8AC3E}">
        <p14:creationId xmlns:p14="http://schemas.microsoft.com/office/powerpoint/2010/main" val="293020092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038CB10-1F5C-4D54-9DF7-12586DE5B00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7546" y="4572000"/>
            <a:ext cx="7058307" cy="1964266"/>
          </a:xfrm>
          <a:prstGeom prst="rect">
            <a:avLst/>
          </a:prstGeom>
          <a:solidFill>
            <a:srgbClr val="3B4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itle 5">
            <a:extLst>
              <a:ext uri="{FF2B5EF4-FFF2-40B4-BE49-F238E27FC236}">
                <a16:creationId xmlns:a16="http://schemas.microsoft.com/office/drawing/2014/main" id="{03377F5C-6226-4457-B995-27D1A3F3F0FE}"/>
              </a:ext>
            </a:extLst>
          </p:cNvPr>
          <p:cNvSpPr>
            <a:spLocks noGrp="1"/>
          </p:cNvSpPr>
          <p:nvPr>
            <p:ph type="title"/>
          </p:nvPr>
        </p:nvSpPr>
        <p:spPr>
          <a:xfrm>
            <a:off x="524256" y="4767072"/>
            <a:ext cx="6594189" cy="1625210"/>
          </a:xfrm>
        </p:spPr>
        <p:txBody>
          <a:bodyPr vert="horz" lIns="91440" tIns="45720" rIns="91440" bIns="45720" rtlCol="0" anchor="ctr">
            <a:normAutofit/>
          </a:bodyPr>
          <a:lstStyle/>
          <a:p>
            <a:pPr algn="r">
              <a:lnSpc>
                <a:spcPct val="90000"/>
              </a:lnSpc>
              <a:spcBef>
                <a:spcPct val="0"/>
              </a:spcBef>
            </a:pPr>
            <a:r>
              <a:rPr lang="en-US" sz="4400">
                <a:solidFill>
                  <a:srgbClr val="FFFFFF"/>
                </a:solidFill>
              </a:rPr>
              <a:t>Included in App Service: Application Insights</a:t>
            </a:r>
          </a:p>
        </p:txBody>
      </p:sp>
      <p:pic>
        <p:nvPicPr>
          <p:cNvPr id="3" name="Picture 2">
            <a:extLst>
              <a:ext uri="{FF2B5EF4-FFF2-40B4-BE49-F238E27FC236}">
                <a16:creationId xmlns:a16="http://schemas.microsoft.com/office/drawing/2014/main" id="{FF5C757C-04AE-4AB7-A081-99AD3B7DAD82}"/>
              </a:ext>
            </a:extLst>
          </p:cNvPr>
          <p:cNvPicPr>
            <a:picLocks noChangeAspect="1"/>
          </p:cNvPicPr>
          <p:nvPr/>
        </p:nvPicPr>
        <p:blipFill rotWithShape="1">
          <a:blip r:embed="rId3"/>
          <a:srcRect r="14507" b="-1"/>
          <a:stretch/>
        </p:blipFill>
        <p:spPr>
          <a:xfrm>
            <a:off x="327547" y="321733"/>
            <a:ext cx="7058306" cy="4107392"/>
          </a:xfrm>
          <a:prstGeom prst="rect">
            <a:avLst/>
          </a:prstGeom>
        </p:spPr>
      </p:pic>
      <p:sp>
        <p:nvSpPr>
          <p:cNvPr id="15" name="Rectangle 14">
            <a:extLst>
              <a:ext uri="{FF2B5EF4-FFF2-40B4-BE49-F238E27FC236}">
                <a16:creationId xmlns:a16="http://schemas.microsoft.com/office/drawing/2014/main" id="{73ED6512-6858-4552-B699-9A97FE9A4E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34655" y="321732"/>
            <a:ext cx="4335613" cy="621453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 Placeholder 6">
            <a:extLst>
              <a:ext uri="{FF2B5EF4-FFF2-40B4-BE49-F238E27FC236}">
                <a16:creationId xmlns:a16="http://schemas.microsoft.com/office/drawing/2014/main" id="{08CFA31F-B8FF-4783-B104-0764B5593510}"/>
              </a:ext>
            </a:extLst>
          </p:cNvPr>
          <p:cNvSpPr txBox="1">
            <a:spLocks/>
          </p:cNvSpPr>
          <p:nvPr/>
        </p:nvSpPr>
        <p:spPr>
          <a:xfrm>
            <a:off x="8029319" y="917725"/>
            <a:ext cx="3424739" cy="4852362"/>
          </a:xfrm>
          <a:prstGeom prst="rect">
            <a:avLst/>
          </a:prstGeom>
        </p:spPr>
        <p:txBody>
          <a:bodyPr vert="horz" lIns="91440" tIns="45720" rIns="91440" bIns="45720" rtlCol="0" anchor="ctr">
            <a:normAutofit fontScale="92500" lnSpcReduction="20000"/>
          </a:bodyPr>
          <a:lstStyle>
            <a:lvl1pPr marL="336080" marR="0" indent="-33608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400">
              <a:buNone/>
            </a:pPr>
            <a:r>
              <a:rPr lang="en-US" sz="1900" dirty="0">
                <a:solidFill>
                  <a:srgbClr val="FFFFFF"/>
                </a:solidFill>
                <a:latin typeface="+mn-lt"/>
              </a:rPr>
              <a:t>Powerful insights with a single click</a:t>
            </a:r>
          </a:p>
          <a:p>
            <a:pPr marL="0" indent="0" defTabSz="914400">
              <a:buNone/>
            </a:pPr>
            <a:r>
              <a:rPr lang="en-US" sz="1900" dirty="0">
                <a:solidFill>
                  <a:srgbClr val="FFFFFF"/>
                </a:solidFill>
              </a:rPr>
              <a:t>Understand and optimize performance of your apps</a:t>
            </a:r>
          </a:p>
          <a:p>
            <a:pPr marL="0" indent="0" defTabSz="914400">
              <a:buNone/>
            </a:pPr>
            <a:endParaRPr lang="en-US" sz="1900" dirty="0">
              <a:solidFill>
                <a:srgbClr val="FFFFFF"/>
              </a:solidFill>
            </a:endParaRPr>
          </a:p>
          <a:p>
            <a:pPr marL="0" indent="0" defTabSz="914400">
              <a:buNone/>
            </a:pPr>
            <a:r>
              <a:rPr lang="en-US" sz="1900" dirty="0">
                <a:solidFill>
                  <a:srgbClr val="FFFFFF"/>
                </a:solidFill>
              </a:rPr>
              <a:t>Detect and debug errors in your apps</a:t>
            </a:r>
          </a:p>
          <a:p>
            <a:pPr marL="0" indent="0" defTabSz="914400">
              <a:buNone/>
            </a:pPr>
            <a:endParaRPr lang="en-US" sz="1900" dirty="0">
              <a:solidFill>
                <a:srgbClr val="FFFFFF"/>
              </a:solidFill>
            </a:endParaRPr>
          </a:p>
          <a:p>
            <a:pPr marL="0" indent="0" defTabSz="914400">
              <a:buNone/>
            </a:pPr>
            <a:r>
              <a:rPr lang="en-US" sz="1900" dirty="0">
                <a:solidFill>
                  <a:srgbClr val="FFFFFF"/>
                </a:solidFill>
              </a:rPr>
              <a:t>Diagnose problems across your apps, VMs, networks and PaaS services</a:t>
            </a:r>
          </a:p>
          <a:p>
            <a:pPr marL="0" indent="0" defTabSz="914400">
              <a:buNone/>
            </a:pPr>
            <a:endParaRPr lang="en-US" sz="1900" dirty="0">
              <a:solidFill>
                <a:srgbClr val="FFFFFF"/>
              </a:solidFill>
            </a:endParaRPr>
          </a:p>
          <a:p>
            <a:pPr marL="0" indent="0" defTabSz="914400">
              <a:buNone/>
            </a:pPr>
            <a:r>
              <a:rPr lang="en-US" sz="1900" dirty="0">
                <a:solidFill>
                  <a:srgbClr val="FFFFFF"/>
                </a:solidFill>
              </a:rPr>
              <a:t>Show exec dashboards of application SLAs and KPIs</a:t>
            </a:r>
          </a:p>
          <a:p>
            <a:pPr marL="0" indent="0" defTabSz="914400">
              <a:buNone/>
            </a:pPr>
            <a:endParaRPr lang="en-US" sz="1900" dirty="0">
              <a:solidFill>
                <a:srgbClr val="FFFFFF"/>
              </a:solidFill>
            </a:endParaRPr>
          </a:p>
          <a:p>
            <a:pPr marL="0" indent="0" defTabSz="914400">
              <a:buNone/>
            </a:pPr>
            <a:r>
              <a:rPr lang="en-US" sz="1900" dirty="0">
                <a:solidFill>
                  <a:srgbClr val="FFFFFF"/>
                </a:solidFill>
              </a:rPr>
              <a:t>Track usage, engagement and retention of your apps</a:t>
            </a:r>
          </a:p>
          <a:p>
            <a:pPr marL="0" indent="0" defTabSz="914400">
              <a:buNone/>
            </a:pPr>
            <a:endParaRPr lang="en-US" sz="1900" dirty="0">
              <a:solidFill>
                <a:srgbClr val="FFFFFF"/>
              </a:solidFill>
            </a:endParaRPr>
          </a:p>
          <a:p>
            <a:pPr marL="0" indent="0" defTabSz="914400">
              <a:buNone/>
            </a:pPr>
            <a:r>
              <a:rPr lang="en-US" sz="1900" dirty="0">
                <a:solidFill>
                  <a:srgbClr val="FFFFFF"/>
                </a:solidFill>
              </a:rPr>
              <a:t>Determine if there is a security threat</a:t>
            </a:r>
          </a:p>
        </p:txBody>
      </p:sp>
    </p:spTree>
    <p:extLst>
      <p:ext uri="{BB962C8B-B14F-4D97-AF65-F5344CB8AC3E}">
        <p14:creationId xmlns:p14="http://schemas.microsoft.com/office/powerpoint/2010/main" val="74857009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8986"/>
            <a:ext cx="10515600" cy="1325563"/>
          </a:xfrm>
        </p:spPr>
        <p:txBody>
          <a:bodyPr>
            <a:normAutofit fontScale="90000"/>
          </a:bodyPr>
          <a:lstStyle/>
          <a:p>
            <a:r>
              <a:rPr lang="en-US" sz="4400" dirty="0">
                <a:solidFill>
                  <a:schemeClr val="tx1"/>
                </a:solidFill>
                <a:latin typeface="Segoe UI Light" panose="020B0502040204020203" pitchFamily="34" charset="0"/>
                <a:cs typeface="Segoe UI Light" panose="020B0502040204020203" pitchFamily="34" charset="0"/>
              </a:rPr>
              <a:t>Challenge 3: Detect, Diagnose, Monitor Application Performance with Azure App Insights</a:t>
            </a:r>
          </a:p>
        </p:txBody>
      </p:sp>
      <p:sp>
        <p:nvSpPr>
          <p:cNvPr id="9" name="TextBox 8">
            <a:extLst>
              <a:ext uri="{FF2B5EF4-FFF2-40B4-BE49-F238E27FC236}">
                <a16:creationId xmlns:a16="http://schemas.microsoft.com/office/drawing/2014/main" id="{0F86F9F9-39B5-4CE6-AF48-9ADAE40EA728}"/>
              </a:ext>
            </a:extLst>
          </p:cNvPr>
          <p:cNvSpPr txBox="1"/>
          <p:nvPr/>
        </p:nvSpPr>
        <p:spPr>
          <a:xfrm>
            <a:off x="269240" y="2155584"/>
            <a:ext cx="7247965" cy="1612749"/>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Identify application issues and performance</a:t>
            </a:r>
          </a:p>
          <a:p>
            <a:pPr>
              <a:lnSpc>
                <a:spcPct val="90000"/>
              </a:lnSpc>
              <a:spcAft>
                <a:spcPts val="600"/>
              </a:spcAft>
            </a:pPr>
            <a:endParaRPr lang="en-US" sz="2400" dirty="0"/>
          </a:p>
        </p:txBody>
      </p:sp>
      <p:sp>
        <p:nvSpPr>
          <p:cNvPr id="4" name="Rectangle 3">
            <a:extLst>
              <a:ext uri="{FF2B5EF4-FFF2-40B4-BE49-F238E27FC236}">
                <a16:creationId xmlns:a16="http://schemas.microsoft.com/office/drawing/2014/main" id="{86EEBB02-129B-4E4C-B6E7-8BDB29D67E91}"/>
              </a:ext>
            </a:extLst>
          </p:cNvPr>
          <p:cNvSpPr/>
          <p:nvPr/>
        </p:nvSpPr>
        <p:spPr>
          <a:xfrm>
            <a:off x="7815042" y="4528412"/>
            <a:ext cx="4110038" cy="2200602"/>
          </a:xfrm>
          <a:prstGeom prst="rect">
            <a:avLst/>
          </a:prstGeom>
        </p:spPr>
        <p:txBody>
          <a:bodyPr wrap="square">
            <a:spAutoFit/>
          </a:bodyPr>
          <a:lstStyle/>
          <a:p>
            <a:pPr marR="288290">
              <a:spcBef>
                <a:spcPts val="600"/>
              </a:spcBef>
            </a:pPr>
            <a:r>
              <a:rPr lang="en-US" sz="2400" dirty="0">
                <a:ea typeface="Segoe UI"/>
                <a:cs typeface="Segoe UI"/>
              </a:rPr>
              <a:t>Default Accounts</a:t>
            </a:r>
          </a:p>
          <a:p>
            <a:pPr marR="288290">
              <a:spcBef>
                <a:spcPts val="600"/>
              </a:spcBef>
            </a:pPr>
            <a:r>
              <a:rPr lang="en-US" dirty="0">
                <a:ea typeface="Segoe UI"/>
                <a:cs typeface="Segoe UI"/>
              </a:rPr>
              <a:t>Admin User Name: sysadmin</a:t>
            </a:r>
            <a:br>
              <a:rPr lang="en-US" dirty="0">
                <a:ea typeface="Segoe UI"/>
                <a:cs typeface="Segoe UI"/>
              </a:rPr>
            </a:br>
            <a:r>
              <a:rPr lang="en-US" dirty="0">
                <a:ea typeface="Segoe UI"/>
                <a:cs typeface="Segoe UI"/>
              </a:rPr>
              <a:t>Admin User Password: Password$123</a:t>
            </a:r>
          </a:p>
          <a:p>
            <a:pPr marR="288290"/>
            <a:r>
              <a:rPr lang="en-US" dirty="0" err="1">
                <a:ea typeface="Segoe UI"/>
                <a:cs typeface="Segoe UI"/>
              </a:rPr>
              <a:t>db</a:t>
            </a:r>
            <a:r>
              <a:rPr lang="en-US" dirty="0">
                <a:ea typeface="Segoe UI"/>
                <a:cs typeface="Segoe UI"/>
              </a:rPr>
              <a:t> Login Name: </a:t>
            </a:r>
            <a:r>
              <a:rPr lang="en-US" dirty="0" err="1">
                <a:ea typeface="Segoe UI"/>
                <a:cs typeface="Segoe UI"/>
              </a:rPr>
              <a:t>workshopServiceAcc</a:t>
            </a:r>
            <a:br>
              <a:rPr lang="en-US" dirty="0">
                <a:ea typeface="Segoe UI"/>
                <a:cs typeface="Segoe UI"/>
              </a:rPr>
            </a:br>
            <a:r>
              <a:rPr lang="en-US" dirty="0" err="1">
                <a:ea typeface="Segoe UI"/>
                <a:cs typeface="Segoe UI"/>
              </a:rPr>
              <a:t>db</a:t>
            </a:r>
            <a:r>
              <a:rPr lang="en-US" dirty="0">
                <a:ea typeface="Segoe UI"/>
                <a:cs typeface="Segoe UI"/>
              </a:rPr>
              <a:t> User Name: </a:t>
            </a:r>
            <a:r>
              <a:rPr lang="en-US" dirty="0" err="1">
                <a:ea typeface="Segoe UI"/>
                <a:cs typeface="Segoe UI"/>
              </a:rPr>
              <a:t>workshopServiceAcc</a:t>
            </a:r>
            <a:br>
              <a:rPr lang="en-US" dirty="0">
                <a:ea typeface="Segoe UI"/>
                <a:cs typeface="Segoe UI"/>
              </a:rPr>
            </a:br>
            <a:r>
              <a:rPr lang="en-US" dirty="0" err="1">
                <a:ea typeface="Segoe UI"/>
                <a:cs typeface="Segoe UI"/>
              </a:rPr>
              <a:t>db</a:t>
            </a:r>
            <a:r>
              <a:rPr lang="en-US" dirty="0">
                <a:ea typeface="Segoe UI"/>
                <a:cs typeface="Segoe UI"/>
              </a:rPr>
              <a:t> User Password: P2ssw0rd</a:t>
            </a:r>
          </a:p>
          <a:p>
            <a:pPr marR="288290">
              <a:spcAft>
                <a:spcPts val="600"/>
              </a:spcAft>
            </a:pPr>
            <a:r>
              <a:rPr lang="en-US" dirty="0">
                <a:ea typeface="Segoe UI"/>
                <a:cs typeface="Segoe UI"/>
              </a:rPr>
              <a:t>Database Name: </a:t>
            </a:r>
            <a:r>
              <a:rPr lang="en-US" dirty="0" err="1">
                <a:ea typeface="Segoe UI"/>
                <a:cs typeface="Segoe UI"/>
              </a:rPr>
              <a:t>partsUnlimitedDB</a:t>
            </a:r>
            <a:endParaRPr lang="en-US" dirty="0">
              <a:ea typeface="Segoe UI"/>
              <a:cs typeface="Segoe UI"/>
            </a:endParaRPr>
          </a:p>
        </p:txBody>
      </p:sp>
      <p:sp>
        <p:nvSpPr>
          <p:cNvPr id="3" name="Rectangle 2">
            <a:extLst>
              <a:ext uri="{FF2B5EF4-FFF2-40B4-BE49-F238E27FC236}">
                <a16:creationId xmlns:a16="http://schemas.microsoft.com/office/drawing/2014/main" id="{2FE706D4-2EED-884D-816E-7DE5CEF57F67}"/>
              </a:ext>
            </a:extLst>
          </p:cNvPr>
          <p:cNvSpPr/>
          <p:nvPr/>
        </p:nvSpPr>
        <p:spPr>
          <a:xfrm>
            <a:off x="266919" y="4469368"/>
            <a:ext cx="7247965" cy="646331"/>
          </a:xfrm>
          <a:prstGeom prst="rect">
            <a:avLst/>
          </a:prstGeom>
        </p:spPr>
        <p:txBody>
          <a:bodyPr wrap="square">
            <a:spAutoFit/>
          </a:bodyPr>
          <a:lstStyle/>
          <a:p>
            <a:r>
              <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3"/>
              </a:rPr>
              <a:t>https://docs.microsoft.com/en-us/azure/application-insights/app-insights-overview</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5042362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0285" y="128986"/>
            <a:ext cx="10515600" cy="1325563"/>
          </a:xfrm>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Challenge 4: Optimize and Protect App</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1945148"/>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Configure App Services to log, backup, &amp; monitor resources</a:t>
            </a:r>
          </a:p>
          <a:p>
            <a:pPr>
              <a:lnSpc>
                <a:spcPct val="90000"/>
              </a:lnSpc>
              <a:spcAft>
                <a:spcPts val="600"/>
              </a:spcAft>
            </a:pPr>
            <a:endParaRPr lang="en-US" sz="2400" dirty="0"/>
          </a:p>
        </p:txBody>
      </p:sp>
      <p:sp>
        <p:nvSpPr>
          <p:cNvPr id="4" name="Rectangle 3">
            <a:extLst>
              <a:ext uri="{FF2B5EF4-FFF2-40B4-BE49-F238E27FC236}">
                <a16:creationId xmlns:a16="http://schemas.microsoft.com/office/drawing/2014/main" id="{5CDAEEFD-AE6A-5A45-82F9-459503ACF497}"/>
              </a:ext>
            </a:extLst>
          </p:cNvPr>
          <p:cNvSpPr/>
          <p:nvPr/>
        </p:nvSpPr>
        <p:spPr>
          <a:xfrm>
            <a:off x="7815042" y="4528412"/>
            <a:ext cx="4110038" cy="2200602"/>
          </a:xfrm>
          <a:prstGeom prst="rect">
            <a:avLst/>
          </a:prstGeom>
        </p:spPr>
        <p:txBody>
          <a:bodyPr wrap="square">
            <a:spAutoFit/>
          </a:bodyPr>
          <a:lstStyle/>
          <a:p>
            <a:pPr marR="288290">
              <a:spcBef>
                <a:spcPts val="600"/>
              </a:spcBef>
            </a:pPr>
            <a:r>
              <a:rPr lang="en-US" sz="2400" dirty="0">
                <a:ea typeface="Segoe UI"/>
                <a:cs typeface="Segoe UI"/>
              </a:rPr>
              <a:t>Default Accounts</a:t>
            </a:r>
          </a:p>
          <a:p>
            <a:pPr marR="288290">
              <a:spcBef>
                <a:spcPts val="600"/>
              </a:spcBef>
            </a:pPr>
            <a:r>
              <a:rPr lang="en-US" dirty="0">
                <a:ea typeface="Segoe UI"/>
                <a:cs typeface="Segoe UI"/>
              </a:rPr>
              <a:t>Admin User Name: sysadmin</a:t>
            </a:r>
            <a:br>
              <a:rPr lang="en-US" dirty="0">
                <a:ea typeface="Segoe UI"/>
                <a:cs typeface="Segoe UI"/>
              </a:rPr>
            </a:br>
            <a:r>
              <a:rPr lang="en-US" dirty="0">
                <a:ea typeface="Segoe UI"/>
                <a:cs typeface="Segoe UI"/>
              </a:rPr>
              <a:t>Admin User Password: Password$123</a:t>
            </a:r>
          </a:p>
          <a:p>
            <a:pPr marR="288290"/>
            <a:r>
              <a:rPr lang="en-US" dirty="0" err="1">
                <a:ea typeface="Segoe UI"/>
                <a:cs typeface="Segoe UI"/>
              </a:rPr>
              <a:t>db</a:t>
            </a:r>
            <a:r>
              <a:rPr lang="en-US" dirty="0">
                <a:ea typeface="Segoe UI"/>
                <a:cs typeface="Segoe UI"/>
              </a:rPr>
              <a:t> Login Name: </a:t>
            </a:r>
            <a:r>
              <a:rPr lang="en-US" dirty="0" err="1">
                <a:ea typeface="Segoe UI"/>
                <a:cs typeface="Segoe UI"/>
              </a:rPr>
              <a:t>workshopServiceAcc</a:t>
            </a:r>
            <a:br>
              <a:rPr lang="en-US" dirty="0">
                <a:ea typeface="Segoe UI"/>
                <a:cs typeface="Segoe UI"/>
              </a:rPr>
            </a:br>
            <a:r>
              <a:rPr lang="en-US" dirty="0" err="1">
                <a:ea typeface="Segoe UI"/>
                <a:cs typeface="Segoe UI"/>
              </a:rPr>
              <a:t>db</a:t>
            </a:r>
            <a:r>
              <a:rPr lang="en-US" dirty="0">
                <a:ea typeface="Segoe UI"/>
                <a:cs typeface="Segoe UI"/>
              </a:rPr>
              <a:t> User Name: </a:t>
            </a:r>
            <a:r>
              <a:rPr lang="en-US" dirty="0" err="1">
                <a:ea typeface="Segoe UI"/>
                <a:cs typeface="Segoe UI"/>
              </a:rPr>
              <a:t>workshopServiceAcc</a:t>
            </a:r>
            <a:br>
              <a:rPr lang="en-US" dirty="0">
                <a:ea typeface="Segoe UI"/>
                <a:cs typeface="Segoe UI"/>
              </a:rPr>
            </a:br>
            <a:r>
              <a:rPr lang="en-US" dirty="0" err="1">
                <a:ea typeface="Segoe UI"/>
                <a:cs typeface="Segoe UI"/>
              </a:rPr>
              <a:t>db</a:t>
            </a:r>
            <a:r>
              <a:rPr lang="en-US" dirty="0">
                <a:ea typeface="Segoe UI"/>
                <a:cs typeface="Segoe UI"/>
              </a:rPr>
              <a:t> User Password: P2ssw0rd</a:t>
            </a:r>
          </a:p>
          <a:p>
            <a:pPr marR="288290">
              <a:spcAft>
                <a:spcPts val="600"/>
              </a:spcAft>
            </a:pPr>
            <a:r>
              <a:rPr lang="en-US" dirty="0">
                <a:ea typeface="Segoe UI"/>
                <a:cs typeface="Segoe UI"/>
              </a:rPr>
              <a:t>Database Name: </a:t>
            </a:r>
            <a:r>
              <a:rPr lang="en-US" dirty="0" err="1">
                <a:ea typeface="Segoe UI"/>
                <a:cs typeface="Segoe UI"/>
              </a:rPr>
              <a:t>partsUnlimitedDB</a:t>
            </a:r>
            <a:endParaRPr lang="en-US" dirty="0">
              <a:ea typeface="Segoe UI"/>
              <a:cs typeface="Segoe UI"/>
            </a:endParaRPr>
          </a:p>
        </p:txBody>
      </p:sp>
      <p:sp>
        <p:nvSpPr>
          <p:cNvPr id="3" name="Rectangle 2">
            <a:extLst>
              <a:ext uri="{FF2B5EF4-FFF2-40B4-BE49-F238E27FC236}">
                <a16:creationId xmlns:a16="http://schemas.microsoft.com/office/drawing/2014/main" id="{7F237553-4956-6A47-BE5F-17A1724C8990}"/>
              </a:ext>
            </a:extLst>
          </p:cNvPr>
          <p:cNvSpPr/>
          <p:nvPr/>
        </p:nvSpPr>
        <p:spPr>
          <a:xfrm>
            <a:off x="266920" y="4528412"/>
            <a:ext cx="7321330" cy="1477328"/>
          </a:xfrm>
          <a:prstGeom prst="rect">
            <a:avLst/>
          </a:prstGeom>
        </p:spPr>
        <p:txBody>
          <a:bodyPr wrap="square">
            <a:spAutoFit/>
          </a:bodyPr>
          <a:lstStyle/>
          <a:p>
            <a:r>
              <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3"/>
              </a:rPr>
              <a:t>https://docs.microsoft.com/en-us/azure/app-service/web-sites-backup</a:t>
            </a:r>
            <a:endPar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endParaRPr>
          </a:p>
          <a:p>
            <a:endParaRPr lang="en-US" u="sng" dirty="0">
              <a:solidFill>
                <a:srgbClr val="0563C1"/>
              </a:solidFill>
              <a:latin typeface="Calibri" panose="020F0502020204030204" pitchFamily="34" charset="0"/>
              <a:cs typeface="Times New Roman" panose="02020603050405020304" pitchFamily="18" charset="0"/>
            </a:endParaRPr>
          </a:p>
          <a:p>
            <a:r>
              <a:rPr lang="en-US" u="sng" dirty="0">
                <a:hlinkClick r:id="rId4"/>
              </a:rPr>
              <a:t>https://docs.microsoft.com/en-us/azure/architecture/best-practices/auto-scaling</a:t>
            </a:r>
            <a:endParaRPr lang="en-US" dirty="0"/>
          </a:p>
          <a:p>
            <a:r>
              <a:rPr lang="en-US" dirty="0"/>
              <a:t> </a:t>
            </a:r>
          </a:p>
        </p:txBody>
      </p:sp>
    </p:spTree>
    <p:extLst>
      <p:ext uri="{BB962C8B-B14F-4D97-AF65-F5344CB8AC3E}">
        <p14:creationId xmlns:p14="http://schemas.microsoft.com/office/powerpoint/2010/main" val="8016748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D2C4BFA1-2075-4901-9E24-E41D1FDD51F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55481" y="498348"/>
            <a:ext cx="9902663" cy="5861304"/>
            <a:chOff x="1155481" y="498348"/>
            <a:chExt cx="9902663" cy="5861304"/>
          </a:xfrm>
        </p:grpSpPr>
        <p:sp>
          <p:nvSpPr>
            <p:cNvPr id="10" name="Oval 5">
              <a:extLst>
                <a:ext uri="{FF2B5EF4-FFF2-40B4-BE49-F238E27FC236}">
                  <a16:creationId xmlns:a16="http://schemas.microsoft.com/office/drawing/2014/main" id="{985A7375-E3AF-4F5C-85AE-17E8832952CA}"/>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1155481" y="498348"/>
              <a:ext cx="5861304" cy="5861304"/>
            </a:xfrm>
            <a:prstGeom prst="ellipse">
              <a:avLst/>
            </a:prstGeom>
            <a:solidFill>
              <a:schemeClr val="accent1">
                <a:alpha val="55000"/>
              </a:schemeClr>
            </a:solidFill>
            <a:ln>
              <a:noFill/>
            </a:ln>
          </p:spPr>
        </p:sp>
        <p:sp>
          <p:nvSpPr>
            <p:cNvPr id="11" name="Oval 10">
              <a:extLst>
                <a:ext uri="{FF2B5EF4-FFF2-40B4-BE49-F238E27FC236}">
                  <a16:creationId xmlns:a16="http://schemas.microsoft.com/office/drawing/2014/main" id="{F0307F65-8304-4FA8-A841-D4D7625411BE}"/>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5196840" y="498348"/>
              <a:ext cx="5861304" cy="5861304"/>
            </a:xfrm>
            <a:prstGeom prst="ellipse">
              <a:avLst/>
            </a:prstGeom>
            <a:solidFill>
              <a:schemeClr val="accent1">
                <a:alpha val="55000"/>
              </a:schemeClr>
            </a:solidFill>
            <a:ln>
              <a:noFill/>
            </a:ln>
          </p:spPr>
        </p:sp>
        <p:sp>
          <p:nvSpPr>
            <p:cNvPr id="12" name="Oval 5">
              <a:extLst>
                <a:ext uri="{FF2B5EF4-FFF2-40B4-BE49-F238E27FC236}">
                  <a16:creationId xmlns:a16="http://schemas.microsoft.com/office/drawing/2014/main" id="{C8B8394C-136F-4E05-A002-D93A5E79CD50}"/>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3165348" y="498348"/>
              <a:ext cx="5861304" cy="5861304"/>
            </a:xfrm>
            <a:prstGeom prst="ellipse">
              <a:avLst/>
            </a:prstGeom>
            <a:solidFill>
              <a:schemeClr val="accent1">
                <a:alpha val="70000"/>
              </a:schemeClr>
            </a:solidFill>
            <a:ln>
              <a:noFill/>
            </a:ln>
          </p:spPr>
        </p:sp>
      </p:grpSp>
      <p:sp>
        <p:nvSpPr>
          <p:cNvPr id="14" name="Rectangle 13">
            <a:extLst>
              <a:ext uri="{FF2B5EF4-FFF2-40B4-BE49-F238E27FC236}">
                <a16:creationId xmlns:a16="http://schemas.microsoft.com/office/drawing/2014/main" id="{053FB2EE-284F-4C87-AB3D-BBF87A9FAB9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514600"/>
            <a:ext cx="12192000" cy="182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Title 3">
            <a:extLst>
              <a:ext uri="{FF2B5EF4-FFF2-40B4-BE49-F238E27FC236}">
                <a16:creationId xmlns:a16="http://schemas.microsoft.com/office/drawing/2014/main" id="{AEFDD19A-1168-9A41-AFC1-9DB33FED6F56}"/>
              </a:ext>
            </a:extLst>
          </p:cNvPr>
          <p:cNvSpPr>
            <a:spLocks noGrp="1"/>
          </p:cNvSpPr>
          <p:nvPr>
            <p:ph type="title"/>
          </p:nvPr>
        </p:nvSpPr>
        <p:spPr>
          <a:xfrm>
            <a:off x="1524000" y="2776538"/>
            <a:ext cx="9144000" cy="1381188"/>
          </a:xfrm>
        </p:spPr>
        <p:txBody>
          <a:bodyPr vert="horz" lIns="91440" tIns="45720" rIns="91440" bIns="45720" rtlCol="0" anchor="ctr">
            <a:normAutofit/>
          </a:bodyPr>
          <a:lstStyle/>
          <a:p>
            <a:pPr algn="ctr"/>
            <a:r>
              <a:rPr lang="en-US" sz="4000" kern="1200" dirty="0">
                <a:solidFill>
                  <a:schemeClr val="bg2"/>
                </a:solidFill>
                <a:latin typeface="+mj-lt"/>
                <a:ea typeface="+mj-ea"/>
                <a:cs typeface="+mj-cs"/>
              </a:rPr>
              <a:t>Microsoft Data Services</a:t>
            </a:r>
          </a:p>
        </p:txBody>
      </p:sp>
    </p:spTree>
    <p:extLst>
      <p:ext uri="{BB962C8B-B14F-4D97-AF65-F5344CB8AC3E}">
        <p14:creationId xmlns:p14="http://schemas.microsoft.com/office/powerpoint/2010/main" val="120543599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041" y="167897"/>
            <a:ext cx="11384209" cy="671670"/>
          </a:xfrm>
        </p:spPr>
        <p:txBody>
          <a:bodyPr lIns="0">
            <a:noAutofit/>
          </a:bodyPr>
          <a:lstStyle/>
          <a:p>
            <a:r>
              <a:rPr lang="en-US" sz="4000"/>
              <a:t>Microsoft Data Platform Landscape</a:t>
            </a:r>
          </a:p>
        </p:txBody>
      </p:sp>
      <p:sp>
        <p:nvSpPr>
          <p:cNvPr id="127" name="Rectangle 126"/>
          <p:cNvSpPr/>
          <p:nvPr/>
        </p:nvSpPr>
        <p:spPr bwMode="auto">
          <a:xfrm>
            <a:off x="1442216" y="2007193"/>
            <a:ext cx="6440826" cy="350215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2050"/>
              </a:solidFill>
              <a:effectLst/>
              <a:uLnTx/>
              <a:uFillTx/>
              <a:latin typeface="Segoe UI"/>
              <a:ea typeface="Segoe UI" pitchFamily="34" charset="0"/>
              <a:cs typeface="Segoe UI" pitchFamily="34" charset="0"/>
            </a:endParaRPr>
          </a:p>
        </p:txBody>
      </p:sp>
      <p:sp>
        <p:nvSpPr>
          <p:cNvPr id="128" name="Rectangle 127"/>
          <p:cNvSpPr/>
          <p:nvPr/>
        </p:nvSpPr>
        <p:spPr>
          <a:xfrm>
            <a:off x="8007383" y="2007197"/>
            <a:ext cx="2478360" cy="3499002"/>
          </a:xfrm>
          <a:prstGeom prst="rect">
            <a:avLst/>
          </a:prstGeom>
          <a:solidFill>
            <a:srgbClr val="3E9AE1"/>
          </a:solidFill>
          <a:ln w="10795" cap="flat" cmpd="sng" algn="ctr">
            <a:noFill/>
            <a:prstDash val="solid"/>
          </a:ln>
          <a:effectLst/>
        </p:spPr>
        <p:txBody>
          <a:bodyPr lIns="137160" tIns="89642" rIns="137160" bIns="89642" rtlCol="0" anchor="t"/>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002050"/>
                </a:solidFill>
                <a:effectLst/>
                <a:uLnTx/>
                <a:uFillTx/>
                <a:latin typeface="Segoe UI"/>
                <a:ea typeface="+mn-ea"/>
                <a:cs typeface="Segoe UI Semibold" panose="020B0702040204020203" pitchFamily="34" charset="0"/>
              </a:rPr>
              <a:t>Business intelligence</a:t>
            </a:r>
          </a:p>
        </p:txBody>
      </p:sp>
      <p:sp>
        <p:nvSpPr>
          <p:cNvPr id="129" name="Rectangle 128"/>
          <p:cNvSpPr/>
          <p:nvPr/>
        </p:nvSpPr>
        <p:spPr>
          <a:xfrm>
            <a:off x="8013950" y="3490478"/>
            <a:ext cx="2263606" cy="455204"/>
          </a:xfrm>
          <a:prstGeom prst="rect">
            <a:avLst/>
          </a:prstGeom>
          <a:noFill/>
          <a:ln w="10795" cap="flat" cmpd="sng" algn="ctr">
            <a:noFill/>
            <a:prstDash val="solid"/>
          </a:ln>
          <a:effectLst/>
        </p:spPr>
        <p:txBody>
          <a:bodyPr lIns="137160" tIns="89642" rIns="137160" bIns="89642" rtlCol="0" anchor="t"/>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002050"/>
                </a:solidFill>
                <a:effectLst/>
                <a:uLnTx/>
                <a:uFillTx/>
                <a:latin typeface="Segoe UI"/>
                <a:ea typeface="+mn-ea"/>
                <a:cs typeface="Segoe UI Semibold" panose="020B0702040204020203" pitchFamily="34" charset="0"/>
              </a:rPr>
              <a:t>Advanced Analytics &amp; AI</a:t>
            </a:r>
          </a:p>
        </p:txBody>
      </p:sp>
      <p:sp>
        <p:nvSpPr>
          <p:cNvPr id="159" name="Rectangle 158"/>
          <p:cNvSpPr/>
          <p:nvPr/>
        </p:nvSpPr>
        <p:spPr>
          <a:xfrm>
            <a:off x="8010070" y="1726017"/>
            <a:ext cx="2478509" cy="271348"/>
          </a:xfrm>
          <a:prstGeom prst="rect">
            <a:avLst/>
          </a:prstGeom>
          <a:noFill/>
          <a:ln w="10795" cap="flat" cmpd="sng" algn="ctr">
            <a:noFill/>
            <a:prstDash val="solid"/>
          </a:ln>
          <a:effectLst/>
        </p:spPr>
        <p:txBody>
          <a:bodyPr lIns="0" tIns="0" rIns="137160" bIns="0" rtlCol="0" anchor="ctr" anchorCtr="0"/>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rPr>
              <a:t>DATA INSIGHTS</a:t>
            </a:r>
          </a:p>
        </p:txBody>
      </p:sp>
      <p:sp>
        <p:nvSpPr>
          <p:cNvPr id="161" name="Rectangle 160"/>
          <p:cNvSpPr/>
          <p:nvPr/>
        </p:nvSpPr>
        <p:spPr>
          <a:xfrm>
            <a:off x="1504539" y="1726017"/>
            <a:ext cx="7517956" cy="271348"/>
          </a:xfrm>
          <a:prstGeom prst="rect">
            <a:avLst/>
          </a:prstGeom>
          <a:noFill/>
          <a:ln w="10795" cap="flat" cmpd="sng" algn="ctr">
            <a:noFill/>
            <a:prstDash val="solid"/>
          </a:ln>
          <a:effectLst/>
        </p:spPr>
        <p:txBody>
          <a:bodyPr lIns="0" tIns="0" rIns="137160" bIns="0" rtlCol="0" anchor="ctr" anchorCtr="0"/>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rPr>
              <a:t>DATA MANAGEMENT </a:t>
            </a:r>
          </a:p>
        </p:txBody>
      </p:sp>
      <p:cxnSp>
        <p:nvCxnSpPr>
          <p:cNvPr id="162" name="Straight Connector 161"/>
          <p:cNvCxnSpPr>
            <a:cxnSpLocks/>
          </p:cNvCxnSpPr>
          <p:nvPr/>
        </p:nvCxnSpPr>
        <p:spPr>
          <a:xfrm>
            <a:off x="8153678" y="3486795"/>
            <a:ext cx="2186201" cy="0"/>
          </a:xfrm>
          <a:prstGeom prst="line">
            <a:avLst/>
          </a:prstGeom>
          <a:noFill/>
          <a:ln w="6350" cap="flat" cmpd="sng" algn="ctr">
            <a:solidFill>
              <a:sysClr val="window" lastClr="FFFFFF"/>
            </a:solidFill>
            <a:prstDash val="dash"/>
            <a:miter lim="800000"/>
            <a:tailEnd type="none"/>
          </a:ln>
          <a:effectLst/>
        </p:spPr>
      </p:cxnSp>
      <p:cxnSp>
        <p:nvCxnSpPr>
          <p:cNvPr id="163" name="Straight Connector 162"/>
          <p:cNvCxnSpPr>
            <a:cxnSpLocks/>
          </p:cNvCxnSpPr>
          <p:nvPr/>
        </p:nvCxnSpPr>
        <p:spPr>
          <a:xfrm>
            <a:off x="1648574" y="3187034"/>
            <a:ext cx="6126480" cy="0"/>
          </a:xfrm>
          <a:prstGeom prst="line">
            <a:avLst/>
          </a:prstGeom>
          <a:noFill/>
          <a:ln w="6350" cap="flat" cmpd="sng" algn="ctr">
            <a:solidFill>
              <a:sysClr val="window" lastClr="FFFFFF"/>
            </a:solidFill>
            <a:prstDash val="dash"/>
            <a:miter lim="800000"/>
            <a:tailEnd type="none"/>
          </a:ln>
          <a:effectLst/>
        </p:spPr>
      </p:cxnSp>
      <p:cxnSp>
        <p:nvCxnSpPr>
          <p:cNvPr id="165" name="Straight Connector 164"/>
          <p:cNvCxnSpPr>
            <a:cxnSpLocks/>
          </p:cNvCxnSpPr>
          <p:nvPr/>
        </p:nvCxnSpPr>
        <p:spPr>
          <a:xfrm>
            <a:off x="1648574" y="4459652"/>
            <a:ext cx="6126480" cy="0"/>
          </a:xfrm>
          <a:prstGeom prst="line">
            <a:avLst/>
          </a:prstGeom>
          <a:noFill/>
          <a:ln w="6350" cap="flat" cmpd="sng" algn="ctr">
            <a:solidFill>
              <a:sysClr val="window" lastClr="FFFFFF"/>
            </a:solidFill>
            <a:prstDash val="dash"/>
            <a:miter lim="800000"/>
            <a:tailEnd type="none"/>
          </a:ln>
          <a:effectLst/>
        </p:spPr>
      </p:cxnSp>
      <p:sp>
        <p:nvSpPr>
          <p:cNvPr id="166" name="Rectangle 165"/>
          <p:cNvSpPr/>
          <p:nvPr/>
        </p:nvSpPr>
        <p:spPr>
          <a:xfrm>
            <a:off x="1504539" y="4469302"/>
            <a:ext cx="2350111" cy="261610"/>
          </a:xfrm>
          <a:prstGeom prst="rect">
            <a:avLst/>
          </a:prstGeom>
          <a:noFill/>
          <a:ln w="12700" cap="flat" cmpd="sng" algn="ctr">
            <a:noFill/>
            <a:prstDash val="solid"/>
            <a:miter lim="800000"/>
          </a:ln>
          <a:effectLst/>
        </p:spPr>
        <p:txBody>
          <a:bodyPr wrap="square" lIns="182880" tIns="91440" rIns="0" bIns="0" rtlCol="0" anchor="ctr" anchorCtr="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002050"/>
                </a:solidFill>
                <a:effectLst/>
                <a:uLnTx/>
                <a:uFillTx/>
                <a:latin typeface="Segoe UI"/>
                <a:ea typeface="+mn-ea"/>
                <a:cs typeface="Segoe UI Semibold" panose="020B0702040204020203" pitchFamily="34" charset="0"/>
              </a:rPr>
              <a:t>Big data processing</a:t>
            </a:r>
          </a:p>
        </p:txBody>
      </p:sp>
      <p:sp>
        <p:nvSpPr>
          <p:cNvPr id="167" name="Rectangle 166"/>
          <p:cNvSpPr/>
          <p:nvPr/>
        </p:nvSpPr>
        <p:spPr>
          <a:xfrm>
            <a:off x="1504539" y="3189765"/>
            <a:ext cx="2126009" cy="261610"/>
          </a:xfrm>
          <a:prstGeom prst="rect">
            <a:avLst/>
          </a:prstGeom>
          <a:noFill/>
          <a:ln w="12700" cap="flat" cmpd="sng" algn="ctr">
            <a:noFill/>
            <a:prstDash val="solid"/>
            <a:miter lim="800000"/>
          </a:ln>
          <a:effectLst/>
        </p:spPr>
        <p:txBody>
          <a:bodyPr wrap="square" lIns="182880" tIns="91440" rIns="0" bIns="0" rtlCol="0" anchor="ctr" anchorCtr="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002050"/>
                </a:solidFill>
                <a:effectLst/>
                <a:uLnTx/>
                <a:uFillTx/>
                <a:latin typeface="Segoe UI"/>
                <a:ea typeface="+mn-ea"/>
                <a:cs typeface="Segoe UI Semibold" panose="020B0702040204020203" pitchFamily="34" charset="0"/>
              </a:rPr>
              <a:t>Data warehousing</a:t>
            </a:r>
          </a:p>
        </p:txBody>
      </p:sp>
      <p:sp>
        <p:nvSpPr>
          <p:cNvPr id="168" name="Rectangle 167"/>
          <p:cNvSpPr/>
          <p:nvPr/>
        </p:nvSpPr>
        <p:spPr>
          <a:xfrm>
            <a:off x="1504539" y="2013654"/>
            <a:ext cx="2126009" cy="261610"/>
          </a:xfrm>
          <a:prstGeom prst="rect">
            <a:avLst/>
          </a:prstGeom>
          <a:noFill/>
          <a:ln w="12700" cap="flat" cmpd="sng" algn="ctr">
            <a:noFill/>
            <a:prstDash val="solid"/>
            <a:miter lim="800000"/>
          </a:ln>
          <a:effectLst/>
        </p:spPr>
        <p:txBody>
          <a:bodyPr wrap="square" lIns="182880" tIns="91440" rIns="0" bIns="0" rtlCol="0" anchor="ctr" anchorCtr="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002050"/>
                </a:solidFill>
                <a:effectLst/>
                <a:uLnTx/>
                <a:uFillTx/>
                <a:latin typeface="Segoe UI"/>
                <a:ea typeface="+mn-ea"/>
                <a:cs typeface="Segoe UI Semibold" panose="020B0702040204020203" pitchFamily="34" charset="0"/>
              </a:rPr>
              <a:t>Operational data</a:t>
            </a:r>
          </a:p>
        </p:txBody>
      </p:sp>
      <p:sp>
        <p:nvSpPr>
          <p:cNvPr id="212" name="Freeform 188"/>
          <p:cNvSpPr/>
          <p:nvPr/>
        </p:nvSpPr>
        <p:spPr bwMode="auto">
          <a:xfrm>
            <a:off x="8274533" y="4272643"/>
            <a:ext cx="281915" cy="296717"/>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213" name="Freeform 189"/>
          <p:cNvSpPr/>
          <p:nvPr/>
        </p:nvSpPr>
        <p:spPr bwMode="auto">
          <a:xfrm>
            <a:off x="8240375" y="4697963"/>
            <a:ext cx="350231" cy="271929"/>
          </a:xfrm>
          <a:custGeom>
            <a:avLst/>
            <a:gdLst>
              <a:gd name="connsiteX0" fmla="*/ 2872895 w 6005359"/>
              <a:gd name="connsiteY0" fmla="*/ 2451096 h 4662711"/>
              <a:gd name="connsiteX1" fmla="*/ 3517361 w 6005359"/>
              <a:gd name="connsiteY1" fmla="*/ 2725050 h 4662711"/>
              <a:gd name="connsiteX2" fmla="*/ 3369823 w 6005359"/>
              <a:gd name="connsiteY2" fmla="*/ 2908295 h 4662711"/>
              <a:gd name="connsiteX3" fmla="*/ 2856088 w 6005359"/>
              <a:gd name="connsiteY3" fmla="*/ 2685137 h 4662711"/>
              <a:gd name="connsiteX4" fmla="*/ 1259622 w 6005359"/>
              <a:gd name="connsiteY4" fmla="*/ 3419922 h 4662711"/>
              <a:gd name="connsiteX5" fmla="*/ 25456 w 6005359"/>
              <a:gd name="connsiteY5" fmla="*/ 2842979 h 4662711"/>
              <a:gd name="connsiteX6" fmla="*/ 169704 w 6005359"/>
              <a:gd name="connsiteY6" fmla="*/ 2663366 h 4662711"/>
              <a:gd name="connsiteX7" fmla="*/ 1274016 w 6005359"/>
              <a:gd name="connsiteY7" fmla="*/ 3178623 h 4662711"/>
              <a:gd name="connsiteX8" fmla="*/ 2872895 w 6005359"/>
              <a:gd name="connsiteY8" fmla="*/ 2451096 h 4662711"/>
              <a:gd name="connsiteX9" fmla="*/ 2902933 w 6005359"/>
              <a:gd name="connsiteY9" fmla="*/ 1845126 h 4662711"/>
              <a:gd name="connsiteX10" fmla="*/ 3806450 w 6005359"/>
              <a:gd name="connsiteY10" fmla="*/ 2293252 h 4662711"/>
              <a:gd name="connsiteX11" fmla="*/ 3661306 w 6005359"/>
              <a:gd name="connsiteY11" fmla="*/ 2494639 h 4662711"/>
              <a:gd name="connsiteX12" fmla="*/ 2873905 w 6005359"/>
              <a:gd name="connsiteY12" fmla="*/ 2115453 h 4662711"/>
              <a:gd name="connsiteX13" fmla="*/ 1340834 w 6005359"/>
              <a:gd name="connsiteY13" fmla="*/ 2813953 h 4662711"/>
              <a:gd name="connsiteX14" fmla="*/ 433692 w 6005359"/>
              <a:gd name="connsiteY14" fmla="*/ 2485566 h 4662711"/>
              <a:gd name="connsiteX15" fmla="*/ 379264 w 6005359"/>
              <a:gd name="connsiteY15" fmla="*/ 2189838 h 4662711"/>
              <a:gd name="connsiteX16" fmla="*/ 593346 w 6005359"/>
              <a:gd name="connsiteY16" fmla="*/ 2264227 h 4662711"/>
              <a:gd name="connsiteX17" fmla="*/ 1333576 w 6005359"/>
              <a:gd name="connsiteY17" fmla="*/ 2556324 h 4662711"/>
              <a:gd name="connsiteX18" fmla="*/ 2902933 w 6005359"/>
              <a:gd name="connsiteY18" fmla="*/ 1845126 h 4662711"/>
              <a:gd name="connsiteX19" fmla="*/ 2939216 w 6005359"/>
              <a:gd name="connsiteY19" fmla="*/ 1244596 h 4662711"/>
              <a:gd name="connsiteX20" fmla="*/ 4006017 w 6005359"/>
              <a:gd name="connsiteY20" fmla="*/ 1705423 h 4662711"/>
              <a:gd name="connsiteX21" fmla="*/ 4136647 w 6005359"/>
              <a:gd name="connsiteY21" fmla="*/ 1883224 h 4662711"/>
              <a:gd name="connsiteX22" fmla="*/ 4136646 w 6005359"/>
              <a:gd name="connsiteY22" fmla="*/ 1883224 h 4662711"/>
              <a:gd name="connsiteX23" fmla="*/ 3995131 w 6005359"/>
              <a:gd name="connsiteY23" fmla="*/ 2024739 h 4662711"/>
              <a:gd name="connsiteX24" fmla="*/ 2928331 w 6005359"/>
              <a:gd name="connsiteY24" fmla="*/ 1509481 h 4662711"/>
              <a:gd name="connsiteX25" fmla="*/ 1244674 w 6005359"/>
              <a:gd name="connsiteY25" fmla="*/ 2264224 h 4662711"/>
              <a:gd name="connsiteX26" fmla="*/ 740304 w 6005359"/>
              <a:gd name="connsiteY26" fmla="*/ 2062837 h 4662711"/>
              <a:gd name="connsiteX27" fmla="*/ 693133 w 6005359"/>
              <a:gd name="connsiteY27" fmla="*/ 1788881 h 4662711"/>
              <a:gd name="connsiteX28" fmla="*/ 909029 w 6005359"/>
              <a:gd name="connsiteY28" fmla="*/ 1826984 h 4662711"/>
              <a:gd name="connsiteX29" fmla="*/ 1201131 w 6005359"/>
              <a:gd name="connsiteY29" fmla="*/ 1970310 h 4662711"/>
              <a:gd name="connsiteX30" fmla="*/ 2939216 w 6005359"/>
              <a:gd name="connsiteY30" fmla="*/ 1244596 h 4662711"/>
              <a:gd name="connsiteX31" fmla="*/ 3405494 w 6005359"/>
              <a:gd name="connsiteY31" fmla="*/ 0 h 4662711"/>
              <a:gd name="connsiteX32" fmla="*/ 3942516 w 6005359"/>
              <a:gd name="connsiteY32" fmla="*/ 0 h 4662711"/>
              <a:gd name="connsiteX33" fmla="*/ 4175075 w 6005359"/>
              <a:gd name="connsiteY33" fmla="*/ 638390 h 4662711"/>
              <a:gd name="connsiteX34" fmla="*/ 4176609 w 6005359"/>
              <a:gd name="connsiteY34" fmla="*/ 638764 h 4662711"/>
              <a:gd name="connsiteX35" fmla="*/ 4494947 w 6005359"/>
              <a:gd name="connsiteY35" fmla="*/ 768026 h 4662711"/>
              <a:gd name="connsiteX36" fmla="*/ 4515854 w 6005359"/>
              <a:gd name="connsiteY36" fmla="*/ 780380 h 4662711"/>
              <a:gd name="connsiteX37" fmla="*/ 5132655 w 6005359"/>
              <a:gd name="connsiteY37" fmla="*/ 492973 h 4662711"/>
              <a:gd name="connsiteX38" fmla="*/ 5512387 w 6005359"/>
              <a:gd name="connsiteY38" fmla="*/ 872705 h 4662711"/>
              <a:gd name="connsiteX39" fmla="*/ 5224980 w 6005359"/>
              <a:gd name="connsiteY39" fmla="*/ 1489506 h 4662711"/>
              <a:gd name="connsiteX40" fmla="*/ 5237334 w 6005359"/>
              <a:gd name="connsiteY40" fmla="*/ 1510412 h 4662711"/>
              <a:gd name="connsiteX41" fmla="*/ 5366595 w 6005359"/>
              <a:gd name="connsiteY41" fmla="*/ 1828751 h 4662711"/>
              <a:gd name="connsiteX42" fmla="*/ 5366970 w 6005359"/>
              <a:gd name="connsiteY42" fmla="*/ 1830287 h 4662711"/>
              <a:gd name="connsiteX43" fmla="*/ 6005359 w 6005359"/>
              <a:gd name="connsiteY43" fmla="*/ 2062845 h 4662711"/>
              <a:gd name="connsiteX44" fmla="*/ 6005359 w 6005359"/>
              <a:gd name="connsiteY44" fmla="*/ 2599867 h 4662711"/>
              <a:gd name="connsiteX45" fmla="*/ 5366970 w 6005359"/>
              <a:gd name="connsiteY45" fmla="*/ 2832426 h 4662711"/>
              <a:gd name="connsiteX46" fmla="*/ 5366595 w 6005359"/>
              <a:gd name="connsiteY46" fmla="*/ 2833962 h 4662711"/>
              <a:gd name="connsiteX47" fmla="*/ 5237334 w 6005359"/>
              <a:gd name="connsiteY47" fmla="*/ 3152300 h 4662711"/>
              <a:gd name="connsiteX48" fmla="*/ 5224981 w 6005359"/>
              <a:gd name="connsiteY48" fmla="*/ 3173204 h 4662711"/>
              <a:gd name="connsiteX49" fmla="*/ 5512389 w 6005359"/>
              <a:gd name="connsiteY49" fmla="*/ 3790005 h 4662711"/>
              <a:gd name="connsiteX50" fmla="*/ 5132657 w 6005359"/>
              <a:gd name="connsiteY50" fmla="*/ 4169737 h 4662711"/>
              <a:gd name="connsiteX51" fmla="*/ 4515857 w 6005359"/>
              <a:gd name="connsiteY51" fmla="*/ 3882331 h 4662711"/>
              <a:gd name="connsiteX52" fmla="*/ 4494947 w 6005359"/>
              <a:gd name="connsiteY52" fmla="*/ 3894687 h 4662711"/>
              <a:gd name="connsiteX53" fmla="*/ 4176609 w 6005359"/>
              <a:gd name="connsiteY53" fmla="*/ 4023948 h 4662711"/>
              <a:gd name="connsiteX54" fmla="*/ 4175075 w 6005359"/>
              <a:gd name="connsiteY54" fmla="*/ 4024322 h 4662711"/>
              <a:gd name="connsiteX55" fmla="*/ 3942517 w 6005359"/>
              <a:gd name="connsiteY55" fmla="*/ 4662711 h 4662711"/>
              <a:gd name="connsiteX56" fmla="*/ 3405495 w 6005359"/>
              <a:gd name="connsiteY56" fmla="*/ 4662711 h 4662711"/>
              <a:gd name="connsiteX57" fmla="*/ 3172937 w 6005359"/>
              <a:gd name="connsiteY57" fmla="*/ 4024324 h 4662711"/>
              <a:gd name="connsiteX58" fmla="*/ 3171398 w 6005359"/>
              <a:gd name="connsiteY58" fmla="*/ 4023948 h 4662711"/>
              <a:gd name="connsiteX59" fmla="*/ 2853060 w 6005359"/>
              <a:gd name="connsiteY59" fmla="*/ 3894687 h 4662711"/>
              <a:gd name="connsiteX60" fmla="*/ 2832154 w 6005359"/>
              <a:gd name="connsiteY60" fmla="*/ 3882333 h 4662711"/>
              <a:gd name="connsiteX61" fmla="*/ 2215353 w 6005359"/>
              <a:gd name="connsiteY61" fmla="*/ 4169740 h 4662711"/>
              <a:gd name="connsiteX62" fmla="*/ 1835621 w 6005359"/>
              <a:gd name="connsiteY62" fmla="*/ 3790008 h 4662711"/>
              <a:gd name="connsiteX63" fmla="*/ 1926018 w 6005359"/>
              <a:gd name="connsiteY63" fmla="*/ 3596008 h 4662711"/>
              <a:gd name="connsiteX64" fmla="*/ 3047624 w 6005359"/>
              <a:gd name="connsiteY64" fmla="*/ 2952993 h 4662711"/>
              <a:gd name="connsiteX65" fmla="*/ 4298131 w 6005359"/>
              <a:gd name="connsiteY65" fmla="*/ 2955483 h 4662711"/>
              <a:gd name="connsiteX66" fmla="*/ 4298131 w 6005359"/>
              <a:gd name="connsiteY66" fmla="*/ 1707228 h 4662711"/>
              <a:gd name="connsiteX67" fmla="*/ 4084475 w 6005359"/>
              <a:gd name="connsiteY67" fmla="*/ 1549691 h 4662711"/>
              <a:gd name="connsiteX68" fmla="*/ 2017033 w 6005359"/>
              <a:gd name="connsiteY68" fmla="*/ 1262028 h 4662711"/>
              <a:gd name="connsiteX69" fmla="*/ 1835621 w 6005359"/>
              <a:gd name="connsiteY69" fmla="*/ 872703 h 4662711"/>
              <a:gd name="connsiteX70" fmla="*/ 2215353 w 6005359"/>
              <a:gd name="connsiteY70" fmla="*/ 492971 h 4662711"/>
              <a:gd name="connsiteX71" fmla="*/ 2832155 w 6005359"/>
              <a:gd name="connsiteY71" fmla="*/ 780379 h 4662711"/>
              <a:gd name="connsiteX72" fmla="*/ 2853060 w 6005359"/>
              <a:gd name="connsiteY72" fmla="*/ 768026 h 4662711"/>
              <a:gd name="connsiteX73" fmla="*/ 3171398 w 6005359"/>
              <a:gd name="connsiteY73" fmla="*/ 638765 h 4662711"/>
              <a:gd name="connsiteX74" fmla="*/ 3172935 w 6005359"/>
              <a:gd name="connsiteY74" fmla="*/ 638389 h 4662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6005359" h="4662711">
                <a:moveTo>
                  <a:pt x="2872895" y="2451096"/>
                </a:moveTo>
                <a:cubicBezTo>
                  <a:pt x="3254059" y="2453876"/>
                  <a:pt x="3458125" y="2632521"/>
                  <a:pt x="3517361" y="2725050"/>
                </a:cubicBezTo>
                <a:cubicBezTo>
                  <a:pt x="3576596" y="2817579"/>
                  <a:pt x="3480035" y="2914947"/>
                  <a:pt x="3369823" y="2908295"/>
                </a:cubicBezTo>
                <a:cubicBezTo>
                  <a:pt x="3259611" y="2901643"/>
                  <a:pt x="3117388" y="2686742"/>
                  <a:pt x="2856088" y="2685137"/>
                </a:cubicBezTo>
                <a:cubicBezTo>
                  <a:pt x="2560630" y="2683322"/>
                  <a:pt x="2095973" y="3434610"/>
                  <a:pt x="1259622" y="3419922"/>
                </a:cubicBezTo>
                <a:cubicBezTo>
                  <a:pt x="480502" y="3406239"/>
                  <a:pt x="112766" y="2952743"/>
                  <a:pt x="25456" y="2842979"/>
                </a:cubicBezTo>
                <a:cubicBezTo>
                  <a:pt x="-61854" y="2733215"/>
                  <a:pt x="97681" y="2600167"/>
                  <a:pt x="169704" y="2663366"/>
                </a:cubicBezTo>
                <a:cubicBezTo>
                  <a:pt x="320141" y="2795373"/>
                  <a:pt x="822086" y="3184094"/>
                  <a:pt x="1274016" y="3178623"/>
                </a:cubicBezTo>
                <a:cubicBezTo>
                  <a:pt x="2098292" y="3168645"/>
                  <a:pt x="2291644" y="2446857"/>
                  <a:pt x="2872895" y="2451096"/>
                </a:cubicBezTo>
                <a:close/>
                <a:moveTo>
                  <a:pt x="2902933" y="1845126"/>
                </a:moveTo>
                <a:cubicBezTo>
                  <a:pt x="3334590" y="1864811"/>
                  <a:pt x="3723598" y="2161414"/>
                  <a:pt x="3806450" y="2293252"/>
                </a:cubicBezTo>
                <a:cubicBezTo>
                  <a:pt x="3889302" y="2425090"/>
                  <a:pt x="3735087" y="2540600"/>
                  <a:pt x="3661306" y="2494639"/>
                </a:cubicBezTo>
                <a:cubicBezTo>
                  <a:pt x="3587525" y="2448678"/>
                  <a:pt x="3373136" y="2152948"/>
                  <a:pt x="2873905" y="2115453"/>
                </a:cubicBezTo>
                <a:cubicBezTo>
                  <a:pt x="2374674" y="2077958"/>
                  <a:pt x="1907194" y="2826654"/>
                  <a:pt x="1340834" y="2813953"/>
                </a:cubicBezTo>
                <a:cubicBezTo>
                  <a:pt x="774474" y="2801252"/>
                  <a:pt x="581254" y="2602285"/>
                  <a:pt x="433692" y="2485566"/>
                </a:cubicBezTo>
                <a:cubicBezTo>
                  <a:pt x="286130" y="2368847"/>
                  <a:pt x="310926" y="2226728"/>
                  <a:pt x="379264" y="2189838"/>
                </a:cubicBezTo>
                <a:cubicBezTo>
                  <a:pt x="447602" y="2152948"/>
                  <a:pt x="506866" y="2155975"/>
                  <a:pt x="593346" y="2264227"/>
                </a:cubicBezTo>
                <a:cubicBezTo>
                  <a:pt x="679826" y="2372479"/>
                  <a:pt x="942447" y="2564601"/>
                  <a:pt x="1333576" y="2556324"/>
                </a:cubicBezTo>
                <a:cubicBezTo>
                  <a:pt x="1890863" y="2544531"/>
                  <a:pt x="2274378" y="1816462"/>
                  <a:pt x="2902933" y="1845126"/>
                </a:cubicBezTo>
                <a:close/>
                <a:moveTo>
                  <a:pt x="2939216" y="1244596"/>
                </a:moveTo>
                <a:cubicBezTo>
                  <a:pt x="3431559" y="1268032"/>
                  <a:pt x="3674386" y="1455591"/>
                  <a:pt x="4006017" y="1705423"/>
                </a:cubicBezTo>
                <a:cubicBezTo>
                  <a:pt x="4109574" y="1783437"/>
                  <a:pt x="4136647" y="1805067"/>
                  <a:pt x="4136647" y="1883224"/>
                </a:cubicBezTo>
                <a:lnTo>
                  <a:pt x="4136646" y="1883224"/>
                </a:lnTo>
                <a:cubicBezTo>
                  <a:pt x="4136646" y="1961381"/>
                  <a:pt x="4073288" y="2024739"/>
                  <a:pt x="3995131" y="2024739"/>
                </a:cubicBezTo>
                <a:cubicBezTo>
                  <a:pt x="3793140" y="2061630"/>
                  <a:pt x="3633483" y="1545767"/>
                  <a:pt x="2928331" y="1509481"/>
                </a:cubicBezTo>
                <a:cubicBezTo>
                  <a:pt x="2223179" y="1473195"/>
                  <a:pt x="1809671" y="2256756"/>
                  <a:pt x="1244674" y="2264224"/>
                </a:cubicBezTo>
                <a:cubicBezTo>
                  <a:pt x="969105" y="2267866"/>
                  <a:pt x="832228" y="2142061"/>
                  <a:pt x="740304" y="2062837"/>
                </a:cubicBezTo>
                <a:cubicBezTo>
                  <a:pt x="648381" y="1983613"/>
                  <a:pt x="612398" y="1857218"/>
                  <a:pt x="693133" y="1788881"/>
                </a:cubicBezTo>
                <a:cubicBezTo>
                  <a:pt x="773868" y="1720544"/>
                  <a:pt x="824363" y="1744131"/>
                  <a:pt x="909029" y="1826984"/>
                </a:cubicBezTo>
                <a:cubicBezTo>
                  <a:pt x="993695" y="1909837"/>
                  <a:pt x="1009740" y="1973989"/>
                  <a:pt x="1201131" y="1970310"/>
                </a:cubicBezTo>
                <a:cubicBezTo>
                  <a:pt x="1806386" y="1958674"/>
                  <a:pt x="2015759" y="1200638"/>
                  <a:pt x="2939216" y="1244596"/>
                </a:cubicBezTo>
                <a:close/>
                <a:moveTo>
                  <a:pt x="3405494" y="0"/>
                </a:moveTo>
                <a:lnTo>
                  <a:pt x="3942516" y="0"/>
                </a:lnTo>
                <a:lnTo>
                  <a:pt x="4175075" y="638390"/>
                </a:lnTo>
                <a:lnTo>
                  <a:pt x="4176609" y="638764"/>
                </a:lnTo>
                <a:cubicBezTo>
                  <a:pt x="4285789" y="671080"/>
                  <a:pt x="4392460" y="714167"/>
                  <a:pt x="4494947" y="768026"/>
                </a:cubicBezTo>
                <a:lnTo>
                  <a:pt x="4515854" y="780380"/>
                </a:lnTo>
                <a:lnTo>
                  <a:pt x="5132655" y="492973"/>
                </a:lnTo>
                <a:lnTo>
                  <a:pt x="5512387" y="872705"/>
                </a:lnTo>
                <a:lnTo>
                  <a:pt x="5224980" y="1489506"/>
                </a:lnTo>
                <a:lnTo>
                  <a:pt x="5237334" y="1510412"/>
                </a:lnTo>
                <a:cubicBezTo>
                  <a:pt x="5291193" y="1612900"/>
                  <a:pt x="5334280" y="1719571"/>
                  <a:pt x="5366595" y="1828751"/>
                </a:cubicBezTo>
                <a:lnTo>
                  <a:pt x="5366970" y="1830287"/>
                </a:lnTo>
                <a:lnTo>
                  <a:pt x="6005359" y="2062845"/>
                </a:lnTo>
                <a:lnTo>
                  <a:pt x="6005359" y="2599867"/>
                </a:lnTo>
                <a:lnTo>
                  <a:pt x="5366970" y="2832426"/>
                </a:lnTo>
                <a:lnTo>
                  <a:pt x="5366595" y="2833962"/>
                </a:lnTo>
                <a:cubicBezTo>
                  <a:pt x="5334280" y="2943142"/>
                  <a:pt x="5291193" y="3049813"/>
                  <a:pt x="5237334" y="3152300"/>
                </a:cubicBezTo>
                <a:lnTo>
                  <a:pt x="5224981" y="3173204"/>
                </a:lnTo>
                <a:lnTo>
                  <a:pt x="5512389" y="3790005"/>
                </a:lnTo>
                <a:lnTo>
                  <a:pt x="5132657" y="4169737"/>
                </a:lnTo>
                <a:lnTo>
                  <a:pt x="4515857" y="3882331"/>
                </a:lnTo>
                <a:lnTo>
                  <a:pt x="4494947" y="3894687"/>
                </a:lnTo>
                <a:cubicBezTo>
                  <a:pt x="4392460" y="3948546"/>
                  <a:pt x="4285789" y="3991632"/>
                  <a:pt x="4176609" y="4023948"/>
                </a:cubicBezTo>
                <a:lnTo>
                  <a:pt x="4175075" y="4024322"/>
                </a:lnTo>
                <a:lnTo>
                  <a:pt x="3942517" y="4662711"/>
                </a:lnTo>
                <a:lnTo>
                  <a:pt x="3405495" y="4662711"/>
                </a:lnTo>
                <a:lnTo>
                  <a:pt x="3172937" y="4024324"/>
                </a:lnTo>
                <a:lnTo>
                  <a:pt x="3171398" y="4023948"/>
                </a:lnTo>
                <a:cubicBezTo>
                  <a:pt x="3062218" y="3991633"/>
                  <a:pt x="2955547" y="3948545"/>
                  <a:pt x="2853060" y="3894687"/>
                </a:cubicBezTo>
                <a:lnTo>
                  <a:pt x="2832154" y="3882333"/>
                </a:lnTo>
                <a:lnTo>
                  <a:pt x="2215353" y="4169740"/>
                </a:lnTo>
                <a:lnTo>
                  <a:pt x="1835621" y="3790008"/>
                </a:lnTo>
                <a:lnTo>
                  <a:pt x="1926018" y="3596008"/>
                </a:lnTo>
                <a:cubicBezTo>
                  <a:pt x="2426887" y="3519556"/>
                  <a:pt x="2593926" y="3116531"/>
                  <a:pt x="3047624" y="2952993"/>
                </a:cubicBezTo>
                <a:cubicBezTo>
                  <a:pt x="3413947" y="3346982"/>
                  <a:pt x="4089713" y="3163111"/>
                  <a:pt x="4298131" y="2955483"/>
                </a:cubicBezTo>
                <a:cubicBezTo>
                  <a:pt x="4642827" y="2610787"/>
                  <a:pt x="4642827" y="2051924"/>
                  <a:pt x="4298131" y="1707228"/>
                </a:cubicBezTo>
                <a:cubicBezTo>
                  <a:pt x="4233501" y="1642598"/>
                  <a:pt x="4161341" y="1590085"/>
                  <a:pt x="4084475" y="1549691"/>
                </a:cubicBezTo>
                <a:cubicBezTo>
                  <a:pt x="3707385" y="1101832"/>
                  <a:pt x="2971066" y="875316"/>
                  <a:pt x="2017033" y="1262028"/>
                </a:cubicBezTo>
                <a:lnTo>
                  <a:pt x="1835621" y="872703"/>
                </a:lnTo>
                <a:lnTo>
                  <a:pt x="2215353" y="492971"/>
                </a:lnTo>
                <a:lnTo>
                  <a:pt x="2832155" y="780379"/>
                </a:lnTo>
                <a:lnTo>
                  <a:pt x="2853060" y="768026"/>
                </a:lnTo>
                <a:cubicBezTo>
                  <a:pt x="2955547" y="714167"/>
                  <a:pt x="3062218" y="671080"/>
                  <a:pt x="3171398" y="638765"/>
                </a:cubicBezTo>
                <a:lnTo>
                  <a:pt x="3172935" y="638389"/>
                </a:ln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214" name="Freeform: Shape 47"/>
          <p:cNvSpPr/>
          <p:nvPr/>
        </p:nvSpPr>
        <p:spPr>
          <a:xfrm>
            <a:off x="8240375" y="5117585"/>
            <a:ext cx="350230" cy="204708"/>
          </a:xfrm>
          <a:custGeom>
            <a:avLst/>
            <a:gdLst>
              <a:gd name="connsiteX0" fmla="*/ 1656248 w 3563815"/>
              <a:gd name="connsiteY0" fmla="*/ 1373574 h 2083042"/>
              <a:gd name="connsiteX1" fmla="*/ 1790921 w 3563815"/>
              <a:gd name="connsiteY1" fmla="*/ 1508247 h 2083042"/>
              <a:gd name="connsiteX2" fmla="*/ 1656248 w 3563815"/>
              <a:gd name="connsiteY2" fmla="*/ 1642920 h 2083042"/>
              <a:gd name="connsiteX3" fmla="*/ 1521575 w 3563815"/>
              <a:gd name="connsiteY3" fmla="*/ 1508247 h 2083042"/>
              <a:gd name="connsiteX4" fmla="*/ 1656248 w 3563815"/>
              <a:gd name="connsiteY4" fmla="*/ 1373574 h 2083042"/>
              <a:gd name="connsiteX5" fmla="*/ 595310 w 3563815"/>
              <a:gd name="connsiteY5" fmla="*/ 1168419 h 2083042"/>
              <a:gd name="connsiteX6" fmla="*/ 729983 w 3563815"/>
              <a:gd name="connsiteY6" fmla="*/ 1303092 h 2083042"/>
              <a:gd name="connsiteX7" fmla="*/ 595310 w 3563815"/>
              <a:gd name="connsiteY7" fmla="*/ 1437765 h 2083042"/>
              <a:gd name="connsiteX8" fmla="*/ 460637 w 3563815"/>
              <a:gd name="connsiteY8" fmla="*/ 1303092 h 2083042"/>
              <a:gd name="connsiteX9" fmla="*/ 595310 w 3563815"/>
              <a:gd name="connsiteY9" fmla="*/ 1168419 h 2083042"/>
              <a:gd name="connsiteX10" fmla="*/ 2834783 w 3563815"/>
              <a:gd name="connsiteY10" fmla="*/ 951176 h 2083042"/>
              <a:gd name="connsiteX11" fmla="*/ 2969456 w 3563815"/>
              <a:gd name="connsiteY11" fmla="*/ 1085849 h 2083042"/>
              <a:gd name="connsiteX12" fmla="*/ 2834783 w 3563815"/>
              <a:gd name="connsiteY12" fmla="*/ 1220522 h 2083042"/>
              <a:gd name="connsiteX13" fmla="*/ 2700110 w 3563815"/>
              <a:gd name="connsiteY13" fmla="*/ 1085849 h 2083042"/>
              <a:gd name="connsiteX14" fmla="*/ 2834783 w 3563815"/>
              <a:gd name="connsiteY14" fmla="*/ 951176 h 2083042"/>
              <a:gd name="connsiteX15" fmla="*/ 1781907 w 3563815"/>
              <a:gd name="connsiteY15" fmla="*/ 444520 h 2083042"/>
              <a:gd name="connsiteX16" fmla="*/ 1916580 w 3563815"/>
              <a:gd name="connsiteY16" fmla="*/ 579193 h 2083042"/>
              <a:gd name="connsiteX17" fmla="*/ 1781907 w 3563815"/>
              <a:gd name="connsiteY17" fmla="*/ 713866 h 2083042"/>
              <a:gd name="connsiteX18" fmla="*/ 1647234 w 3563815"/>
              <a:gd name="connsiteY18" fmla="*/ 579193 h 2083042"/>
              <a:gd name="connsiteX19" fmla="*/ 1781907 w 3563815"/>
              <a:gd name="connsiteY19" fmla="*/ 444520 h 2083042"/>
              <a:gd name="connsiteX20" fmla="*/ 2111613 w 3563815"/>
              <a:gd name="connsiteY20" fmla="*/ 0 h 2083042"/>
              <a:gd name="connsiteX21" fmla="*/ 2420496 w 3563815"/>
              <a:gd name="connsiteY21" fmla="*/ 99731 h 2083042"/>
              <a:gd name="connsiteX22" fmla="*/ 2494794 w 3563815"/>
              <a:gd name="connsiteY22" fmla="*/ 164528 h 2083042"/>
              <a:gd name="connsiteX23" fmla="*/ 2526805 w 3563815"/>
              <a:gd name="connsiteY23" fmla="*/ 161193 h 2083042"/>
              <a:gd name="connsiteX24" fmla="*/ 3080478 w 3563815"/>
              <a:gd name="connsiteY24" fmla="*/ 627461 h 2083042"/>
              <a:gd name="connsiteX25" fmla="*/ 3082862 w 3563815"/>
              <a:gd name="connsiteY25" fmla="*/ 651890 h 2083042"/>
              <a:gd name="connsiteX26" fmla="*/ 3144737 w 3563815"/>
              <a:gd name="connsiteY26" fmla="*/ 658830 h 2083042"/>
              <a:gd name="connsiteX27" fmla="*/ 3563815 w 3563815"/>
              <a:gd name="connsiteY27" fmla="*/ 1230921 h 2083042"/>
              <a:gd name="connsiteX28" fmla="*/ 3038960 w 3563815"/>
              <a:gd name="connsiteY28" fmla="*/ 1814876 h 2083042"/>
              <a:gd name="connsiteX29" fmla="*/ 2933184 w 3563815"/>
              <a:gd name="connsiteY29" fmla="*/ 1803012 h 2083042"/>
              <a:gd name="connsiteX30" fmla="*/ 2862420 w 3563815"/>
              <a:gd name="connsiteY30" fmla="*/ 1778573 h 2083042"/>
              <a:gd name="connsiteX31" fmla="*/ 2858401 w 3563815"/>
              <a:gd name="connsiteY31" fmla="*/ 1785437 h 2083042"/>
              <a:gd name="connsiteX32" fmla="*/ 2400300 w 3563815"/>
              <a:gd name="connsiteY32" fmla="*/ 2011240 h 2083042"/>
              <a:gd name="connsiteX33" fmla="*/ 2342413 w 3563815"/>
              <a:gd name="connsiteY33" fmla="*/ 2005830 h 2083042"/>
              <a:gd name="connsiteX34" fmla="*/ 2342413 w 3563815"/>
              <a:gd name="connsiteY34" fmla="*/ 1487365 h 2083042"/>
              <a:gd name="connsiteX35" fmla="*/ 2760356 w 3563815"/>
              <a:gd name="connsiteY35" fmla="*/ 1487365 h 2083042"/>
              <a:gd name="connsiteX36" fmla="*/ 2887388 w 3563815"/>
              <a:gd name="connsiteY36" fmla="*/ 1360333 h 2083042"/>
              <a:gd name="connsiteX37" fmla="*/ 2887388 w 3563815"/>
              <a:gd name="connsiteY37" fmla="*/ 1308158 h 2083042"/>
              <a:gd name="connsiteX38" fmla="*/ 2923907 w 3563815"/>
              <a:gd name="connsiteY38" fmla="*/ 1296822 h 2083042"/>
              <a:gd name="connsiteX39" fmla="*/ 3063749 w 3563815"/>
              <a:gd name="connsiteY39" fmla="*/ 1085849 h 2083042"/>
              <a:gd name="connsiteX40" fmla="*/ 2834783 w 3563815"/>
              <a:gd name="connsiteY40" fmla="*/ 856883 h 2083042"/>
              <a:gd name="connsiteX41" fmla="*/ 2605817 w 3563815"/>
              <a:gd name="connsiteY41" fmla="*/ 1085849 h 2083042"/>
              <a:gd name="connsiteX42" fmla="*/ 2788639 w 3563815"/>
              <a:gd name="connsiteY42" fmla="*/ 1310163 h 2083042"/>
              <a:gd name="connsiteX43" fmla="*/ 2789938 w 3563815"/>
              <a:gd name="connsiteY43" fmla="*/ 1310294 h 2083042"/>
              <a:gd name="connsiteX44" fmla="*/ 2789938 w 3563815"/>
              <a:gd name="connsiteY44" fmla="*/ 1349619 h 2083042"/>
              <a:gd name="connsiteX45" fmla="*/ 2740115 w 3563815"/>
              <a:gd name="connsiteY45" fmla="*/ 1399442 h 2083042"/>
              <a:gd name="connsiteX46" fmla="*/ 2342413 w 3563815"/>
              <a:gd name="connsiteY46" fmla="*/ 1399442 h 2083042"/>
              <a:gd name="connsiteX47" fmla="*/ 2342413 w 3563815"/>
              <a:gd name="connsiteY47" fmla="*/ 652370 h 2083042"/>
              <a:gd name="connsiteX48" fmla="*/ 2215381 w 3563815"/>
              <a:gd name="connsiteY48" fmla="*/ 525338 h 2083042"/>
              <a:gd name="connsiteX49" fmla="*/ 2000000 w 3563815"/>
              <a:gd name="connsiteY49" fmla="*/ 525338 h 2083042"/>
              <a:gd name="connsiteX50" fmla="*/ 1992880 w 3563815"/>
              <a:gd name="connsiteY50" fmla="*/ 490069 h 2083042"/>
              <a:gd name="connsiteX51" fmla="*/ 1781907 w 3563815"/>
              <a:gd name="connsiteY51" fmla="*/ 350227 h 2083042"/>
              <a:gd name="connsiteX52" fmla="*/ 1552941 w 3563815"/>
              <a:gd name="connsiteY52" fmla="*/ 579193 h 2083042"/>
              <a:gd name="connsiteX53" fmla="*/ 1781907 w 3563815"/>
              <a:gd name="connsiteY53" fmla="*/ 808159 h 2083042"/>
              <a:gd name="connsiteX54" fmla="*/ 1992880 w 3563815"/>
              <a:gd name="connsiteY54" fmla="*/ 668317 h 2083042"/>
              <a:gd name="connsiteX55" fmla="*/ 2002072 w 3563815"/>
              <a:gd name="connsiteY55" fmla="*/ 622788 h 2083042"/>
              <a:gd name="connsiteX56" fmla="*/ 2204667 w 3563815"/>
              <a:gd name="connsiteY56" fmla="*/ 622788 h 2083042"/>
              <a:gd name="connsiteX57" fmla="*/ 2254490 w 3563815"/>
              <a:gd name="connsiteY57" fmla="*/ 672611 h 2083042"/>
              <a:gd name="connsiteX58" fmla="*/ 2254490 w 3563815"/>
              <a:gd name="connsiteY58" fmla="*/ 1990915 h 2083042"/>
              <a:gd name="connsiteX59" fmla="*/ 2195730 w 3563815"/>
              <a:gd name="connsiteY59" fmla="*/ 1974005 h 2083042"/>
              <a:gd name="connsiteX60" fmla="*/ 2157176 w 3563815"/>
              <a:gd name="connsiteY60" fmla="*/ 1997451 h 2083042"/>
              <a:gd name="connsiteX61" fmla="*/ 1777016 w 3563815"/>
              <a:gd name="connsiteY61" fmla="*/ 2083042 h 2083042"/>
              <a:gd name="connsiteX62" fmla="*/ 1396856 w 3563815"/>
              <a:gd name="connsiteY62" fmla="*/ 1997451 h 2083042"/>
              <a:gd name="connsiteX63" fmla="*/ 1336457 w 3563815"/>
              <a:gd name="connsiteY63" fmla="*/ 1960720 h 2083042"/>
              <a:gd name="connsiteX64" fmla="*/ 1312748 w 3563815"/>
              <a:gd name="connsiteY64" fmla="*/ 1968080 h 2083042"/>
              <a:gd name="connsiteX65" fmla="*/ 1189892 w 3563815"/>
              <a:gd name="connsiteY65" fmla="*/ 1980465 h 2083042"/>
              <a:gd name="connsiteX66" fmla="*/ 1125414 w 3563815"/>
              <a:gd name="connsiteY66" fmla="*/ 1975587 h 2083042"/>
              <a:gd name="connsiteX67" fmla="*/ 1125414 w 3563815"/>
              <a:gd name="connsiteY67" fmla="*/ 1388724 h 2083042"/>
              <a:gd name="connsiteX68" fmla="*/ 998382 w 3563815"/>
              <a:gd name="connsiteY68" fmla="*/ 1261692 h 2083042"/>
              <a:gd name="connsiteX69" fmla="*/ 820103 w 3563815"/>
              <a:gd name="connsiteY69" fmla="*/ 1261692 h 2083042"/>
              <a:gd name="connsiteX70" fmla="*/ 819624 w 3563815"/>
              <a:gd name="connsiteY70" fmla="*/ 1256947 h 2083042"/>
              <a:gd name="connsiteX71" fmla="*/ 595310 w 3563815"/>
              <a:gd name="connsiteY71" fmla="*/ 1074126 h 2083042"/>
              <a:gd name="connsiteX72" fmla="*/ 366344 w 3563815"/>
              <a:gd name="connsiteY72" fmla="*/ 1303092 h 2083042"/>
              <a:gd name="connsiteX73" fmla="*/ 595310 w 3563815"/>
              <a:gd name="connsiteY73" fmla="*/ 1532058 h 2083042"/>
              <a:gd name="connsiteX74" fmla="*/ 806283 w 3563815"/>
              <a:gd name="connsiteY74" fmla="*/ 1392216 h 2083042"/>
              <a:gd name="connsiteX75" fmla="*/ 816549 w 3563815"/>
              <a:gd name="connsiteY75" fmla="*/ 1359142 h 2083042"/>
              <a:gd name="connsiteX76" fmla="*/ 987668 w 3563815"/>
              <a:gd name="connsiteY76" fmla="*/ 1359142 h 2083042"/>
              <a:gd name="connsiteX77" fmla="*/ 1037491 w 3563815"/>
              <a:gd name="connsiteY77" fmla="*/ 1408965 h 2083042"/>
              <a:gd name="connsiteX78" fmla="*/ 1037491 w 3563815"/>
              <a:gd name="connsiteY78" fmla="*/ 1959714 h 2083042"/>
              <a:gd name="connsiteX79" fmla="*/ 1008616 w 3563815"/>
              <a:gd name="connsiteY79" fmla="*/ 1953059 h 2083042"/>
              <a:gd name="connsiteX80" fmla="*/ 849059 w 3563815"/>
              <a:gd name="connsiteY80" fmla="*/ 1876355 h 2083042"/>
              <a:gd name="connsiteX81" fmla="*/ 786977 w 3563815"/>
              <a:gd name="connsiteY81" fmla="*/ 1825133 h 2083042"/>
              <a:gd name="connsiteX82" fmla="*/ 732456 w 3563815"/>
              <a:gd name="connsiteY82" fmla="*/ 1842057 h 2083042"/>
              <a:gd name="connsiteX83" fmla="*/ 609600 w 3563815"/>
              <a:gd name="connsiteY83" fmla="*/ 1854442 h 2083042"/>
              <a:gd name="connsiteX84" fmla="*/ 0 w 3563815"/>
              <a:gd name="connsiteY84" fmla="*/ 1244842 h 2083042"/>
              <a:gd name="connsiteX85" fmla="*/ 486744 w 3563815"/>
              <a:gd name="connsiteY85" fmla="*/ 647627 h 2083042"/>
              <a:gd name="connsiteX86" fmla="*/ 533111 w 3563815"/>
              <a:gd name="connsiteY86" fmla="*/ 642953 h 2083042"/>
              <a:gd name="connsiteX87" fmla="*/ 534623 w 3563815"/>
              <a:gd name="connsiteY87" fmla="*/ 627461 h 2083042"/>
              <a:gd name="connsiteX88" fmla="*/ 1088296 w 3563815"/>
              <a:gd name="connsiteY88" fmla="*/ 161193 h 2083042"/>
              <a:gd name="connsiteX89" fmla="*/ 1104766 w 3563815"/>
              <a:gd name="connsiteY89" fmla="*/ 162909 h 2083042"/>
              <a:gd name="connsiteX90" fmla="*/ 1104766 w 3563815"/>
              <a:gd name="connsiteY90" fmla="*/ 916689 h 2083042"/>
              <a:gd name="connsiteX91" fmla="*/ 1231798 w 3563815"/>
              <a:gd name="connsiteY91" fmla="*/ 1043721 h 2083042"/>
              <a:gd name="connsiteX92" fmla="*/ 1560712 w 3563815"/>
              <a:gd name="connsiteY92" fmla="*/ 1037332 h 2083042"/>
              <a:gd name="connsiteX93" fmla="*/ 1610535 w 3563815"/>
              <a:gd name="connsiteY93" fmla="*/ 1087155 h 2083042"/>
              <a:gd name="connsiteX94" fmla="*/ 1610535 w 3563815"/>
              <a:gd name="connsiteY94" fmla="*/ 1283889 h 2083042"/>
              <a:gd name="connsiteX95" fmla="*/ 1610104 w 3563815"/>
              <a:gd name="connsiteY95" fmla="*/ 1283933 h 2083042"/>
              <a:gd name="connsiteX96" fmla="*/ 1427282 w 3563815"/>
              <a:gd name="connsiteY96" fmla="*/ 1508247 h 2083042"/>
              <a:gd name="connsiteX97" fmla="*/ 1656248 w 3563815"/>
              <a:gd name="connsiteY97" fmla="*/ 1737213 h 2083042"/>
              <a:gd name="connsiteX98" fmla="*/ 1885214 w 3563815"/>
              <a:gd name="connsiteY98" fmla="*/ 1508247 h 2083042"/>
              <a:gd name="connsiteX99" fmla="*/ 1702393 w 3563815"/>
              <a:gd name="connsiteY99" fmla="*/ 1283933 h 2083042"/>
              <a:gd name="connsiteX100" fmla="*/ 1698458 w 3563815"/>
              <a:gd name="connsiteY100" fmla="*/ 1283536 h 2083042"/>
              <a:gd name="connsiteX101" fmla="*/ 1698458 w 3563815"/>
              <a:gd name="connsiteY101" fmla="*/ 1075707 h 2083042"/>
              <a:gd name="connsiteX102" fmla="*/ 1571426 w 3563815"/>
              <a:gd name="connsiteY102" fmla="*/ 948675 h 2083042"/>
              <a:gd name="connsiteX103" fmla="*/ 1242512 w 3563815"/>
              <a:gd name="connsiteY103" fmla="*/ 955064 h 2083042"/>
              <a:gd name="connsiteX104" fmla="*/ 1192689 w 3563815"/>
              <a:gd name="connsiteY104" fmla="*/ 905241 h 2083042"/>
              <a:gd name="connsiteX105" fmla="*/ 1192689 w 3563815"/>
              <a:gd name="connsiteY105" fmla="*/ 172067 h 2083042"/>
              <a:gd name="connsiteX106" fmla="*/ 1195380 w 3563815"/>
              <a:gd name="connsiteY106" fmla="*/ 172347 h 2083042"/>
              <a:gd name="connsiteX107" fmla="*/ 1273684 w 3563815"/>
              <a:gd name="connsiteY107" fmla="*/ 105592 h 2083042"/>
              <a:gd name="connsiteX108" fmla="*/ 1589667 w 3563815"/>
              <a:gd name="connsiteY108" fmla="*/ 5861 h 2083042"/>
              <a:gd name="connsiteX109" fmla="*/ 1809651 w 3563815"/>
              <a:gd name="connsiteY109" fmla="*/ 51751 h 2083042"/>
              <a:gd name="connsiteX110" fmla="*/ 1848440 w 3563815"/>
              <a:gd name="connsiteY110" fmla="*/ 73506 h 2083042"/>
              <a:gd name="connsiteX111" fmla="*/ 1896573 w 3563815"/>
              <a:gd name="connsiteY111" fmla="*/ 45890 h 2083042"/>
              <a:gd name="connsiteX112" fmla="*/ 2111613 w 3563815"/>
              <a:gd name="connsiteY112" fmla="*/ 0 h 208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563815" h="2083042">
                <a:moveTo>
                  <a:pt x="1656248" y="1373574"/>
                </a:moveTo>
                <a:cubicBezTo>
                  <a:pt x="1730626" y="1373574"/>
                  <a:pt x="1790921" y="1433869"/>
                  <a:pt x="1790921" y="1508247"/>
                </a:cubicBezTo>
                <a:cubicBezTo>
                  <a:pt x="1790921" y="1582625"/>
                  <a:pt x="1730626" y="1642920"/>
                  <a:pt x="1656248" y="1642920"/>
                </a:cubicBezTo>
                <a:cubicBezTo>
                  <a:pt x="1581870" y="1642920"/>
                  <a:pt x="1521575" y="1582625"/>
                  <a:pt x="1521575" y="1508247"/>
                </a:cubicBezTo>
                <a:cubicBezTo>
                  <a:pt x="1521575" y="1433869"/>
                  <a:pt x="1581870" y="1373574"/>
                  <a:pt x="1656248" y="1373574"/>
                </a:cubicBezTo>
                <a:close/>
                <a:moveTo>
                  <a:pt x="595310" y="1168419"/>
                </a:moveTo>
                <a:cubicBezTo>
                  <a:pt x="669688" y="1168419"/>
                  <a:pt x="729983" y="1228714"/>
                  <a:pt x="729983" y="1303092"/>
                </a:cubicBezTo>
                <a:cubicBezTo>
                  <a:pt x="729983" y="1377470"/>
                  <a:pt x="669688" y="1437765"/>
                  <a:pt x="595310" y="1437765"/>
                </a:cubicBezTo>
                <a:cubicBezTo>
                  <a:pt x="520932" y="1437765"/>
                  <a:pt x="460637" y="1377470"/>
                  <a:pt x="460637" y="1303092"/>
                </a:cubicBezTo>
                <a:cubicBezTo>
                  <a:pt x="460637" y="1228714"/>
                  <a:pt x="520932" y="1168419"/>
                  <a:pt x="595310" y="1168419"/>
                </a:cubicBezTo>
                <a:close/>
                <a:moveTo>
                  <a:pt x="2834783" y="951176"/>
                </a:moveTo>
                <a:cubicBezTo>
                  <a:pt x="2909161" y="951176"/>
                  <a:pt x="2969456" y="1011471"/>
                  <a:pt x="2969456" y="1085849"/>
                </a:cubicBezTo>
                <a:cubicBezTo>
                  <a:pt x="2969456" y="1160227"/>
                  <a:pt x="2909161" y="1220522"/>
                  <a:pt x="2834783" y="1220522"/>
                </a:cubicBezTo>
                <a:cubicBezTo>
                  <a:pt x="2760405" y="1220522"/>
                  <a:pt x="2700110" y="1160227"/>
                  <a:pt x="2700110" y="1085849"/>
                </a:cubicBezTo>
                <a:cubicBezTo>
                  <a:pt x="2700110" y="1011471"/>
                  <a:pt x="2760405" y="951176"/>
                  <a:pt x="2834783" y="951176"/>
                </a:cubicBezTo>
                <a:close/>
                <a:moveTo>
                  <a:pt x="1781907" y="444520"/>
                </a:moveTo>
                <a:cubicBezTo>
                  <a:pt x="1856285" y="444520"/>
                  <a:pt x="1916580" y="504815"/>
                  <a:pt x="1916580" y="579193"/>
                </a:cubicBezTo>
                <a:cubicBezTo>
                  <a:pt x="1916580" y="653571"/>
                  <a:pt x="1856285" y="713866"/>
                  <a:pt x="1781907" y="713866"/>
                </a:cubicBezTo>
                <a:cubicBezTo>
                  <a:pt x="1707529" y="713866"/>
                  <a:pt x="1647234" y="653571"/>
                  <a:pt x="1647234" y="579193"/>
                </a:cubicBezTo>
                <a:cubicBezTo>
                  <a:pt x="1647234" y="504815"/>
                  <a:pt x="1707529" y="444520"/>
                  <a:pt x="1781907" y="444520"/>
                </a:cubicBezTo>
                <a:close/>
                <a:moveTo>
                  <a:pt x="2111613" y="0"/>
                </a:moveTo>
                <a:cubicBezTo>
                  <a:pt x="2226030" y="0"/>
                  <a:pt x="2332323" y="36766"/>
                  <a:pt x="2420496" y="99731"/>
                </a:cubicBezTo>
                <a:lnTo>
                  <a:pt x="2494794" y="164528"/>
                </a:lnTo>
                <a:lnTo>
                  <a:pt x="2526805" y="161193"/>
                </a:lnTo>
                <a:cubicBezTo>
                  <a:pt x="2799915" y="161193"/>
                  <a:pt x="3027780" y="361363"/>
                  <a:pt x="3080478" y="627461"/>
                </a:cubicBezTo>
                <a:lnTo>
                  <a:pt x="3082862" y="651890"/>
                </a:lnTo>
                <a:lnTo>
                  <a:pt x="3144737" y="658830"/>
                </a:lnTo>
                <a:cubicBezTo>
                  <a:pt x="3383904" y="713282"/>
                  <a:pt x="3563815" y="948726"/>
                  <a:pt x="3563815" y="1230921"/>
                </a:cubicBezTo>
                <a:cubicBezTo>
                  <a:pt x="3563815" y="1553430"/>
                  <a:pt x="3328829" y="1814876"/>
                  <a:pt x="3038960" y="1814876"/>
                </a:cubicBezTo>
                <a:cubicBezTo>
                  <a:pt x="3002727" y="1814876"/>
                  <a:pt x="2967351" y="1810791"/>
                  <a:pt x="2933184" y="1803012"/>
                </a:cubicBezTo>
                <a:lnTo>
                  <a:pt x="2862420" y="1778573"/>
                </a:lnTo>
                <a:lnTo>
                  <a:pt x="2858401" y="1785437"/>
                </a:lnTo>
                <a:cubicBezTo>
                  <a:pt x="2759122" y="1921671"/>
                  <a:pt x="2590994" y="2011240"/>
                  <a:pt x="2400300" y="2011240"/>
                </a:cubicBezTo>
                <a:lnTo>
                  <a:pt x="2342413" y="2005830"/>
                </a:lnTo>
                <a:lnTo>
                  <a:pt x="2342413" y="1487365"/>
                </a:lnTo>
                <a:lnTo>
                  <a:pt x="2760356" y="1487365"/>
                </a:lnTo>
                <a:cubicBezTo>
                  <a:pt x="2830514" y="1487365"/>
                  <a:pt x="2887388" y="1430491"/>
                  <a:pt x="2887388" y="1360333"/>
                </a:cubicBezTo>
                <a:lnTo>
                  <a:pt x="2887388" y="1308158"/>
                </a:lnTo>
                <a:lnTo>
                  <a:pt x="2923907" y="1296822"/>
                </a:lnTo>
                <a:cubicBezTo>
                  <a:pt x="3006086" y="1262063"/>
                  <a:pt x="3063749" y="1180689"/>
                  <a:pt x="3063749" y="1085849"/>
                </a:cubicBezTo>
                <a:cubicBezTo>
                  <a:pt x="3063749" y="959395"/>
                  <a:pt x="2961237" y="856883"/>
                  <a:pt x="2834783" y="856883"/>
                </a:cubicBezTo>
                <a:cubicBezTo>
                  <a:pt x="2708329" y="856883"/>
                  <a:pt x="2605817" y="959395"/>
                  <a:pt x="2605817" y="1085849"/>
                </a:cubicBezTo>
                <a:cubicBezTo>
                  <a:pt x="2605817" y="1196496"/>
                  <a:pt x="2684303" y="1288813"/>
                  <a:pt x="2788639" y="1310163"/>
                </a:cubicBezTo>
                <a:lnTo>
                  <a:pt x="2789938" y="1310294"/>
                </a:lnTo>
                <a:lnTo>
                  <a:pt x="2789938" y="1349619"/>
                </a:lnTo>
                <a:cubicBezTo>
                  <a:pt x="2789938" y="1377135"/>
                  <a:pt x="2767631" y="1399442"/>
                  <a:pt x="2740115" y="1399442"/>
                </a:cubicBezTo>
                <a:lnTo>
                  <a:pt x="2342413" y="1399442"/>
                </a:lnTo>
                <a:lnTo>
                  <a:pt x="2342413" y="652370"/>
                </a:lnTo>
                <a:cubicBezTo>
                  <a:pt x="2342413" y="582212"/>
                  <a:pt x="2285539" y="525338"/>
                  <a:pt x="2215381" y="525338"/>
                </a:cubicBezTo>
                <a:lnTo>
                  <a:pt x="2000000" y="525338"/>
                </a:lnTo>
                <a:lnTo>
                  <a:pt x="1992880" y="490069"/>
                </a:lnTo>
                <a:cubicBezTo>
                  <a:pt x="1958121" y="407890"/>
                  <a:pt x="1876748" y="350227"/>
                  <a:pt x="1781907" y="350227"/>
                </a:cubicBezTo>
                <a:cubicBezTo>
                  <a:pt x="1655453" y="350227"/>
                  <a:pt x="1552941" y="452739"/>
                  <a:pt x="1552941" y="579193"/>
                </a:cubicBezTo>
                <a:cubicBezTo>
                  <a:pt x="1552941" y="705647"/>
                  <a:pt x="1655453" y="808159"/>
                  <a:pt x="1781907" y="808159"/>
                </a:cubicBezTo>
                <a:cubicBezTo>
                  <a:pt x="1876748" y="808159"/>
                  <a:pt x="1958121" y="750496"/>
                  <a:pt x="1992880" y="668317"/>
                </a:cubicBezTo>
                <a:lnTo>
                  <a:pt x="2002072" y="622788"/>
                </a:lnTo>
                <a:lnTo>
                  <a:pt x="2204667" y="622788"/>
                </a:lnTo>
                <a:cubicBezTo>
                  <a:pt x="2232183" y="622788"/>
                  <a:pt x="2254490" y="645095"/>
                  <a:pt x="2254490" y="672611"/>
                </a:cubicBezTo>
                <a:lnTo>
                  <a:pt x="2254490" y="1990915"/>
                </a:lnTo>
                <a:lnTo>
                  <a:pt x="2195730" y="1974005"/>
                </a:lnTo>
                <a:lnTo>
                  <a:pt x="2157176" y="1997451"/>
                </a:lnTo>
                <a:cubicBezTo>
                  <a:pt x="2048657" y="2051489"/>
                  <a:pt x="1917836" y="2083042"/>
                  <a:pt x="1777016" y="2083042"/>
                </a:cubicBezTo>
                <a:cubicBezTo>
                  <a:pt x="1636197" y="2083042"/>
                  <a:pt x="1505375" y="2051489"/>
                  <a:pt x="1396856" y="1997451"/>
                </a:cubicBezTo>
                <a:lnTo>
                  <a:pt x="1336457" y="1960720"/>
                </a:lnTo>
                <a:lnTo>
                  <a:pt x="1312748" y="1968080"/>
                </a:lnTo>
                <a:cubicBezTo>
                  <a:pt x="1273064" y="1976201"/>
                  <a:pt x="1231976" y="1980465"/>
                  <a:pt x="1189892" y="1980465"/>
                </a:cubicBezTo>
                <a:lnTo>
                  <a:pt x="1125414" y="1975587"/>
                </a:lnTo>
                <a:lnTo>
                  <a:pt x="1125414" y="1388724"/>
                </a:lnTo>
                <a:cubicBezTo>
                  <a:pt x="1125414" y="1318566"/>
                  <a:pt x="1068540" y="1261692"/>
                  <a:pt x="998382" y="1261692"/>
                </a:cubicBezTo>
                <a:lnTo>
                  <a:pt x="820103" y="1261692"/>
                </a:lnTo>
                <a:lnTo>
                  <a:pt x="819624" y="1256947"/>
                </a:lnTo>
                <a:cubicBezTo>
                  <a:pt x="798274" y="1152612"/>
                  <a:pt x="705957" y="1074126"/>
                  <a:pt x="595310" y="1074126"/>
                </a:cubicBezTo>
                <a:cubicBezTo>
                  <a:pt x="468856" y="1074126"/>
                  <a:pt x="366344" y="1176638"/>
                  <a:pt x="366344" y="1303092"/>
                </a:cubicBezTo>
                <a:cubicBezTo>
                  <a:pt x="366344" y="1429546"/>
                  <a:pt x="468856" y="1532058"/>
                  <a:pt x="595310" y="1532058"/>
                </a:cubicBezTo>
                <a:cubicBezTo>
                  <a:pt x="690150" y="1532058"/>
                  <a:pt x="771524" y="1474395"/>
                  <a:pt x="806283" y="1392216"/>
                </a:cubicBezTo>
                <a:lnTo>
                  <a:pt x="816549" y="1359142"/>
                </a:lnTo>
                <a:lnTo>
                  <a:pt x="987668" y="1359142"/>
                </a:lnTo>
                <a:cubicBezTo>
                  <a:pt x="1015184" y="1359142"/>
                  <a:pt x="1037491" y="1381449"/>
                  <a:pt x="1037491" y="1408965"/>
                </a:cubicBezTo>
                <a:lnTo>
                  <a:pt x="1037491" y="1959714"/>
                </a:lnTo>
                <a:lnTo>
                  <a:pt x="1008616" y="1953059"/>
                </a:lnTo>
                <a:cubicBezTo>
                  <a:pt x="951350" y="1935248"/>
                  <a:pt x="897705" y="1909220"/>
                  <a:pt x="849059" y="1876355"/>
                </a:cubicBezTo>
                <a:lnTo>
                  <a:pt x="786977" y="1825133"/>
                </a:lnTo>
                <a:lnTo>
                  <a:pt x="732456" y="1842057"/>
                </a:lnTo>
                <a:cubicBezTo>
                  <a:pt x="692772" y="1850178"/>
                  <a:pt x="651684" y="1854442"/>
                  <a:pt x="609600" y="1854442"/>
                </a:cubicBezTo>
                <a:cubicBezTo>
                  <a:pt x="272927" y="1854442"/>
                  <a:pt x="0" y="1581515"/>
                  <a:pt x="0" y="1244842"/>
                </a:cubicBezTo>
                <a:cubicBezTo>
                  <a:pt x="0" y="950253"/>
                  <a:pt x="208960" y="704470"/>
                  <a:pt x="486744" y="647627"/>
                </a:cubicBezTo>
                <a:lnTo>
                  <a:pt x="533111" y="642953"/>
                </a:lnTo>
                <a:lnTo>
                  <a:pt x="534623" y="627461"/>
                </a:lnTo>
                <a:cubicBezTo>
                  <a:pt x="587322" y="361363"/>
                  <a:pt x="815186" y="161193"/>
                  <a:pt x="1088296" y="161193"/>
                </a:cubicBezTo>
                <a:lnTo>
                  <a:pt x="1104766" y="162909"/>
                </a:lnTo>
                <a:lnTo>
                  <a:pt x="1104766" y="916689"/>
                </a:lnTo>
                <a:cubicBezTo>
                  <a:pt x="1104766" y="986847"/>
                  <a:pt x="1161640" y="1043721"/>
                  <a:pt x="1231798" y="1043721"/>
                </a:cubicBezTo>
                <a:lnTo>
                  <a:pt x="1560712" y="1037332"/>
                </a:lnTo>
                <a:cubicBezTo>
                  <a:pt x="1588228" y="1037332"/>
                  <a:pt x="1610535" y="1059639"/>
                  <a:pt x="1610535" y="1087155"/>
                </a:cubicBezTo>
                <a:lnTo>
                  <a:pt x="1610535" y="1283889"/>
                </a:lnTo>
                <a:lnTo>
                  <a:pt x="1610104" y="1283933"/>
                </a:lnTo>
                <a:cubicBezTo>
                  <a:pt x="1505768" y="1305283"/>
                  <a:pt x="1427282" y="1397600"/>
                  <a:pt x="1427282" y="1508247"/>
                </a:cubicBezTo>
                <a:cubicBezTo>
                  <a:pt x="1427282" y="1634701"/>
                  <a:pt x="1529794" y="1737213"/>
                  <a:pt x="1656248" y="1737213"/>
                </a:cubicBezTo>
                <a:cubicBezTo>
                  <a:pt x="1782702" y="1737213"/>
                  <a:pt x="1885214" y="1634701"/>
                  <a:pt x="1885214" y="1508247"/>
                </a:cubicBezTo>
                <a:cubicBezTo>
                  <a:pt x="1885214" y="1397600"/>
                  <a:pt x="1806729" y="1305283"/>
                  <a:pt x="1702393" y="1283933"/>
                </a:cubicBezTo>
                <a:lnTo>
                  <a:pt x="1698458" y="1283536"/>
                </a:lnTo>
                <a:lnTo>
                  <a:pt x="1698458" y="1075707"/>
                </a:lnTo>
                <a:cubicBezTo>
                  <a:pt x="1698458" y="1005549"/>
                  <a:pt x="1641584" y="948675"/>
                  <a:pt x="1571426" y="948675"/>
                </a:cubicBezTo>
                <a:lnTo>
                  <a:pt x="1242512" y="955064"/>
                </a:lnTo>
                <a:cubicBezTo>
                  <a:pt x="1214996" y="955064"/>
                  <a:pt x="1192689" y="932757"/>
                  <a:pt x="1192689" y="905241"/>
                </a:cubicBezTo>
                <a:lnTo>
                  <a:pt x="1192689" y="172067"/>
                </a:lnTo>
                <a:lnTo>
                  <a:pt x="1195380" y="172347"/>
                </a:lnTo>
                <a:lnTo>
                  <a:pt x="1273684" y="105592"/>
                </a:lnTo>
                <a:cubicBezTo>
                  <a:pt x="1363883" y="42627"/>
                  <a:pt x="1472620" y="5861"/>
                  <a:pt x="1589667" y="5861"/>
                </a:cubicBezTo>
                <a:cubicBezTo>
                  <a:pt x="1667699" y="5861"/>
                  <a:pt x="1742037" y="22201"/>
                  <a:pt x="1809651" y="51751"/>
                </a:cubicBezTo>
                <a:lnTo>
                  <a:pt x="1848440" y="73506"/>
                </a:lnTo>
                <a:lnTo>
                  <a:pt x="1896573" y="45890"/>
                </a:lnTo>
                <a:cubicBezTo>
                  <a:pt x="1962668" y="16340"/>
                  <a:pt x="2035335" y="0"/>
                  <a:pt x="2111613" y="0"/>
                </a:cubicBezTo>
                <a:close/>
              </a:path>
            </a:pathLst>
          </a:cu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15" name="Freeform 491"/>
          <p:cNvSpPr/>
          <p:nvPr/>
        </p:nvSpPr>
        <p:spPr>
          <a:xfrm>
            <a:off x="8240375" y="2391027"/>
            <a:ext cx="355010" cy="268032"/>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ysClr val="window" lastClr="FFFFFF"/>
          </a:solidFill>
          <a:ln w="342900" cap="sq"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16" name="TextBox 215"/>
          <p:cNvSpPr txBox="1"/>
          <p:nvPr/>
        </p:nvSpPr>
        <p:spPr>
          <a:xfrm>
            <a:off x="8691044" y="2300410"/>
            <a:ext cx="1398421" cy="430887"/>
          </a:xfrm>
          <a:prstGeom prst="rect">
            <a:avLst/>
          </a:prstGeom>
          <a:noFill/>
        </p:spPr>
        <p:txBody>
          <a:bodyPr wrap="squar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Segoe UI"/>
                <a:ea typeface="+mn-ea"/>
                <a:cs typeface="Segoe UI Semibold" panose="020B0702040204020203" pitchFamily="34" charset="0"/>
              </a:rPr>
              <a:t>Power BI</a:t>
            </a:r>
            <a:br>
              <a:rPr kumimoji="0" lang="en-US" sz="1100" b="1" i="0" u="none" strike="noStrike" kern="1200" cap="none" spc="0" normalizeH="0" baseline="0" noProof="0">
                <a:ln>
                  <a:noFill/>
                </a:ln>
                <a:solidFill>
                  <a:prstClr val="white"/>
                </a:solidFill>
                <a:effectLst/>
                <a:uLnTx/>
                <a:uFillTx/>
                <a:latin typeface="Segoe UI"/>
                <a:ea typeface="+mn-ea"/>
                <a:cs typeface="Segoe UI Semibold" panose="020B0702040204020203" pitchFamily="34" charset="0"/>
              </a:rPr>
            </a:br>
            <a:endParaRPr kumimoji="0" lang="en-US" sz="1100" b="1" i="0" u="none" strike="noStrike" kern="1200" cap="none" spc="0" normalizeH="0" baseline="0" noProof="0">
              <a:ln>
                <a:noFill/>
              </a:ln>
              <a:solidFill>
                <a:prstClr val="white"/>
              </a:solidFill>
              <a:effectLst/>
              <a:uLnTx/>
              <a:uFillTx/>
              <a:latin typeface="Segoe UI"/>
              <a:ea typeface="+mn-ea"/>
              <a:cs typeface="Segoe UI Semibold" panose="020B0702040204020203" pitchFamily="34" charset="0"/>
            </a:endParaRPr>
          </a:p>
        </p:txBody>
      </p:sp>
      <p:sp>
        <p:nvSpPr>
          <p:cNvPr id="217" name="TextBox 216"/>
          <p:cNvSpPr txBox="1"/>
          <p:nvPr/>
        </p:nvSpPr>
        <p:spPr>
          <a:xfrm>
            <a:off x="8691044" y="4180447"/>
            <a:ext cx="1398421" cy="430887"/>
          </a:xfrm>
          <a:prstGeom prst="rect">
            <a:avLst/>
          </a:prstGeom>
          <a:noFill/>
        </p:spPr>
        <p:txBody>
          <a:bodyPr wrap="squar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Segoe UI"/>
                <a:ea typeface="+mn-ea"/>
                <a:cs typeface="Segoe UI Semibold" panose="020B0702040204020203" pitchFamily="34" charset="0"/>
              </a:rPr>
              <a:t>Azure </a:t>
            </a:r>
            <a:br>
              <a:rPr kumimoji="0" lang="en-US" sz="1100" b="1" i="0" u="none" strike="noStrike" kern="1200" cap="none" spc="0" normalizeH="0" baseline="0" noProof="0">
                <a:ln>
                  <a:noFill/>
                </a:ln>
                <a:solidFill>
                  <a:prstClr val="white"/>
                </a:solidFill>
                <a:effectLst/>
                <a:uLnTx/>
                <a:uFillTx/>
                <a:latin typeface="Segoe UI"/>
                <a:ea typeface="+mn-ea"/>
                <a:cs typeface="Segoe UI Semibold" panose="020B0702040204020203" pitchFamily="34" charset="0"/>
              </a:rPr>
            </a:br>
            <a:r>
              <a:rPr kumimoji="0" lang="en-US" sz="1100" b="1" i="0" u="none" strike="noStrike" kern="1200" cap="none" spc="0" normalizeH="0" baseline="0" noProof="0">
                <a:ln>
                  <a:noFill/>
                </a:ln>
                <a:solidFill>
                  <a:prstClr val="white"/>
                </a:solidFill>
                <a:effectLst/>
                <a:uLnTx/>
                <a:uFillTx/>
                <a:latin typeface="Segoe UI"/>
                <a:ea typeface="+mn-ea"/>
                <a:cs typeface="Segoe UI Semibold" panose="020B0702040204020203" pitchFamily="34" charset="0"/>
              </a:rPr>
              <a:t>Machine Learning</a:t>
            </a:r>
          </a:p>
        </p:txBody>
      </p:sp>
      <p:sp>
        <p:nvSpPr>
          <p:cNvPr id="218" name="TextBox 217"/>
          <p:cNvSpPr txBox="1"/>
          <p:nvPr/>
        </p:nvSpPr>
        <p:spPr>
          <a:xfrm>
            <a:off x="8691044" y="4587824"/>
            <a:ext cx="1398421" cy="430887"/>
          </a:xfrm>
          <a:prstGeom prst="rect">
            <a:avLst/>
          </a:prstGeom>
          <a:noFill/>
        </p:spPr>
        <p:txBody>
          <a:bodyPr wrap="squar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Segoe UI"/>
                <a:ea typeface="+mn-ea"/>
                <a:cs typeface="Segoe UI Semibold" panose="020B0702040204020203" pitchFamily="34" charset="0"/>
              </a:rPr>
              <a:t>Azure </a:t>
            </a:r>
          </a:p>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Segoe UI"/>
                <a:ea typeface="+mn-ea"/>
                <a:cs typeface="Segoe UI Semibold" panose="020B0702040204020203" pitchFamily="34" charset="0"/>
              </a:rPr>
              <a:t>Stream Analytics</a:t>
            </a:r>
          </a:p>
        </p:txBody>
      </p:sp>
      <p:sp>
        <p:nvSpPr>
          <p:cNvPr id="219" name="TextBox 218"/>
          <p:cNvSpPr txBox="1"/>
          <p:nvPr/>
        </p:nvSpPr>
        <p:spPr>
          <a:xfrm>
            <a:off x="8691044" y="4995200"/>
            <a:ext cx="1398421" cy="430887"/>
          </a:xfrm>
          <a:prstGeom prst="rect">
            <a:avLst/>
          </a:prstGeom>
          <a:noFill/>
        </p:spPr>
        <p:txBody>
          <a:bodyPr wrap="squar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Segoe UI"/>
                <a:ea typeface="+mn-ea"/>
                <a:cs typeface="Segoe UI Semibold" panose="020B0702040204020203" pitchFamily="34" charset="0"/>
              </a:rPr>
              <a:t>Azure </a:t>
            </a:r>
            <a:br>
              <a:rPr kumimoji="0" lang="en-US" sz="1100" b="1" i="0" u="none" strike="noStrike" kern="1200" cap="none" spc="0" normalizeH="0" baseline="0" noProof="0">
                <a:ln>
                  <a:noFill/>
                </a:ln>
                <a:solidFill>
                  <a:prstClr val="white"/>
                </a:solidFill>
                <a:effectLst/>
                <a:uLnTx/>
                <a:uFillTx/>
                <a:latin typeface="Segoe UI"/>
                <a:ea typeface="+mn-ea"/>
                <a:cs typeface="Segoe UI Semibold" panose="020B0702040204020203" pitchFamily="34" charset="0"/>
              </a:rPr>
            </a:br>
            <a:r>
              <a:rPr kumimoji="0" lang="en-US" sz="1100" b="1" i="0" u="none" strike="noStrike" kern="1200" cap="none" spc="0" normalizeH="0" baseline="0" noProof="0">
                <a:ln>
                  <a:noFill/>
                </a:ln>
                <a:solidFill>
                  <a:prstClr val="white"/>
                </a:solidFill>
                <a:effectLst/>
                <a:uLnTx/>
                <a:uFillTx/>
                <a:latin typeface="Segoe UI"/>
                <a:ea typeface="+mn-ea"/>
                <a:cs typeface="Segoe UI Semibold" panose="020B0702040204020203" pitchFamily="34" charset="0"/>
              </a:rPr>
              <a:t>Cognitive Services</a:t>
            </a:r>
          </a:p>
        </p:txBody>
      </p:sp>
      <p:sp>
        <p:nvSpPr>
          <p:cNvPr id="220" name="TextBox 219"/>
          <p:cNvSpPr txBox="1"/>
          <p:nvPr/>
        </p:nvSpPr>
        <p:spPr>
          <a:xfrm>
            <a:off x="8691044" y="2838857"/>
            <a:ext cx="1473704" cy="430887"/>
          </a:xfrm>
          <a:prstGeom prst="rect">
            <a:avLst/>
          </a:prstGeom>
          <a:noFill/>
        </p:spPr>
        <p:txBody>
          <a:bodyPr wrap="squar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Segoe UI"/>
                <a:ea typeface="+mn-ea"/>
                <a:cs typeface="Segoe UI Semibold" panose="020B0702040204020203" pitchFamily="34" charset="0"/>
              </a:rPr>
              <a:t>SQL Server Reporting Services</a:t>
            </a:r>
          </a:p>
        </p:txBody>
      </p:sp>
      <p:sp>
        <p:nvSpPr>
          <p:cNvPr id="221" name="TextBox 220"/>
          <p:cNvSpPr txBox="1"/>
          <p:nvPr/>
        </p:nvSpPr>
        <p:spPr>
          <a:xfrm>
            <a:off x="8691044" y="3773070"/>
            <a:ext cx="1710853" cy="430887"/>
          </a:xfrm>
          <a:prstGeom prst="rect">
            <a:avLst/>
          </a:prstGeom>
          <a:noFill/>
        </p:spPr>
        <p:txBody>
          <a:bodyPr wrap="squar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Segoe UI"/>
                <a:ea typeface="+mn-ea"/>
                <a:cs typeface="Segoe UI Semibold" panose="020B0702040204020203" pitchFamily="34" charset="0"/>
              </a:rPr>
              <a:t>SQL Server Analysis Services, R Services</a:t>
            </a:r>
          </a:p>
        </p:txBody>
      </p:sp>
      <p:sp>
        <p:nvSpPr>
          <p:cNvPr id="222" name="Freeform 118"/>
          <p:cNvSpPr/>
          <p:nvPr/>
        </p:nvSpPr>
        <p:spPr bwMode="auto">
          <a:xfrm>
            <a:off x="8294767" y="3829100"/>
            <a:ext cx="241448" cy="312348"/>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ysClr val="window" lastClr="FFFFFF"/>
          </a:solidFill>
          <a:ln w="6350" cap="flat" cmpd="sng" algn="ctr">
            <a:noFill/>
            <a:prstDash val="solid"/>
            <a:miter lim="800000"/>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1" i="0" u="none" strike="noStrike" kern="0" cap="none" spc="0" normalizeH="0" baseline="0" noProof="0">
              <a:ln>
                <a:noFill/>
              </a:ln>
              <a:solidFill>
                <a:srgbClr val="FFFFFF">
                  <a:lumMod val="85000"/>
                </a:srgbClr>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223" name="Freeform 118"/>
          <p:cNvSpPr/>
          <p:nvPr/>
        </p:nvSpPr>
        <p:spPr bwMode="auto">
          <a:xfrm>
            <a:off x="8274533" y="2903749"/>
            <a:ext cx="281916" cy="364700"/>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ysClr val="window" lastClr="FFFFFF"/>
          </a:solidFill>
          <a:ln w="6350" cap="flat" cmpd="sng" algn="ctr">
            <a:noFill/>
            <a:prstDash val="solid"/>
            <a:miter lim="800000"/>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1" i="0" u="none" strike="noStrike" kern="0" cap="none" spc="0" normalizeH="0" baseline="0" noProof="0">
              <a:ln>
                <a:noFill/>
              </a:ln>
              <a:solidFill>
                <a:srgbClr val="FFFFFF">
                  <a:lumMod val="85000"/>
                </a:srgbClr>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224" name="Group 223"/>
          <p:cNvGrpSpPr/>
          <p:nvPr/>
        </p:nvGrpSpPr>
        <p:grpSpPr>
          <a:xfrm>
            <a:off x="4047117" y="4895078"/>
            <a:ext cx="1517399" cy="472248"/>
            <a:chOff x="3849274" y="4940715"/>
            <a:chExt cx="1517399" cy="472248"/>
          </a:xfrm>
        </p:grpSpPr>
        <p:sp>
          <p:nvSpPr>
            <p:cNvPr id="225" name="TextBox 224"/>
            <p:cNvSpPr txBox="1"/>
            <p:nvPr/>
          </p:nvSpPr>
          <p:spPr>
            <a:xfrm>
              <a:off x="4508101" y="4940715"/>
              <a:ext cx="858572" cy="430887"/>
            </a:xfrm>
            <a:prstGeom prst="rect">
              <a:avLst/>
            </a:prstGeom>
            <a:noFill/>
          </p:spPr>
          <p:txBody>
            <a:bodyPr wrap="squar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Azure</a:t>
              </a:r>
              <a:br>
                <a:rPr kumimoji="0" lang="en-US" sz="11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br>
              <a:r>
                <a:rPr kumimoji="0" lang="en-US" sz="11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HDInsight</a:t>
              </a:r>
            </a:p>
          </p:txBody>
        </p:sp>
        <p:sp>
          <p:nvSpPr>
            <p:cNvPr id="226" name="Freeform: Shape 70"/>
            <p:cNvSpPr>
              <a:spLocks/>
            </p:cNvSpPr>
            <p:nvPr/>
          </p:nvSpPr>
          <p:spPr bwMode="auto">
            <a:xfrm>
              <a:off x="3849274" y="4942820"/>
              <a:ext cx="654765" cy="470143"/>
            </a:xfrm>
            <a:custGeom>
              <a:avLst/>
              <a:gdLst>
                <a:gd name="connsiteX0" fmla="*/ 3221632 w 5336589"/>
                <a:gd name="connsiteY0" fmla="*/ 2948204 h 3831857"/>
                <a:gd name="connsiteX1" fmla="*/ 3360482 w 5336589"/>
                <a:gd name="connsiteY1" fmla="*/ 3245280 h 3831857"/>
                <a:gd name="connsiteX2" fmla="*/ 3342722 w 5336589"/>
                <a:gd name="connsiteY2" fmla="*/ 3484231 h 3831857"/>
                <a:gd name="connsiteX3" fmla="*/ 3396003 w 5336589"/>
                <a:gd name="connsiteY3" fmla="*/ 3655372 h 3831857"/>
                <a:gd name="connsiteX4" fmla="*/ 3098926 w 5336589"/>
                <a:gd name="connsiteY4" fmla="*/ 3719954 h 3831857"/>
                <a:gd name="connsiteX5" fmla="*/ 2801850 w 5336589"/>
                <a:gd name="connsiteY5" fmla="*/ 3658602 h 3831857"/>
                <a:gd name="connsiteX6" fmla="*/ 3221632 w 5336589"/>
                <a:gd name="connsiteY6" fmla="*/ 2948204 h 3831857"/>
                <a:gd name="connsiteX7" fmla="*/ 325133 w 5336589"/>
                <a:gd name="connsiteY7" fmla="*/ 2651130 h 3831857"/>
                <a:gd name="connsiteX8" fmla="*/ 628668 w 5336589"/>
                <a:gd name="connsiteY8" fmla="*/ 3277571 h 3831857"/>
                <a:gd name="connsiteX9" fmla="*/ 467213 w 5336589"/>
                <a:gd name="connsiteY9" fmla="*/ 3408348 h 3831857"/>
                <a:gd name="connsiteX10" fmla="*/ 78108 w 5336589"/>
                <a:gd name="connsiteY10" fmla="*/ 3017631 h 3831857"/>
                <a:gd name="connsiteX11" fmla="*/ 325133 w 5336589"/>
                <a:gd name="connsiteY11" fmla="*/ 2651130 h 3831857"/>
                <a:gd name="connsiteX12" fmla="*/ 3683393 w 5336589"/>
                <a:gd name="connsiteY12" fmla="*/ 922762 h 3831857"/>
                <a:gd name="connsiteX13" fmla="*/ 3249079 w 5336589"/>
                <a:gd name="connsiteY13" fmla="*/ 1251322 h 3831857"/>
                <a:gd name="connsiteX14" fmla="*/ 3336263 w 5336589"/>
                <a:gd name="connsiteY14" fmla="*/ 1177862 h 3831857"/>
                <a:gd name="connsiteX15" fmla="*/ 3477115 w 5336589"/>
                <a:gd name="connsiteY15" fmla="*/ 1303862 h 3831857"/>
                <a:gd name="connsiteX16" fmla="*/ 3386316 w 5336589"/>
                <a:gd name="connsiteY16" fmla="*/ 1441839 h 3831857"/>
                <a:gd name="connsiteX17" fmla="*/ 3860993 w 5336589"/>
                <a:gd name="connsiteY17" fmla="*/ 1094711 h 3831857"/>
                <a:gd name="connsiteX18" fmla="*/ 3736440 w 5336589"/>
                <a:gd name="connsiteY18" fmla="*/ 1125953 h 3831857"/>
                <a:gd name="connsiteX19" fmla="*/ 3611142 w 5336589"/>
                <a:gd name="connsiteY19" fmla="*/ 974427 h 3831857"/>
                <a:gd name="connsiteX20" fmla="*/ 3683393 w 5336589"/>
                <a:gd name="connsiteY20" fmla="*/ 922762 h 3831857"/>
                <a:gd name="connsiteX21" fmla="*/ 3202477 w 5336589"/>
                <a:gd name="connsiteY21" fmla="*/ 625701 h 3831857"/>
                <a:gd name="connsiteX22" fmla="*/ 3048875 w 5336589"/>
                <a:gd name="connsiteY22" fmla="*/ 991380 h 3831857"/>
                <a:gd name="connsiteX23" fmla="*/ 3391159 w 5336589"/>
                <a:gd name="connsiteY23" fmla="*/ 649097 h 3831857"/>
                <a:gd name="connsiteX24" fmla="*/ 3243832 w 5336589"/>
                <a:gd name="connsiteY24" fmla="*/ 626367 h 3831857"/>
                <a:gd name="connsiteX25" fmla="*/ 3202477 w 5336589"/>
                <a:gd name="connsiteY25" fmla="*/ 625701 h 3831857"/>
                <a:gd name="connsiteX26" fmla="*/ 2674610 w 5336589"/>
                <a:gd name="connsiteY26" fmla="*/ 621340 h 3831857"/>
                <a:gd name="connsiteX27" fmla="*/ 2673929 w 5336589"/>
                <a:gd name="connsiteY27" fmla="*/ 621683 h 3831857"/>
                <a:gd name="connsiteX28" fmla="*/ 2673248 w 5336589"/>
                <a:gd name="connsiteY28" fmla="*/ 621683 h 3831857"/>
                <a:gd name="connsiteX29" fmla="*/ 2671886 w 5336589"/>
                <a:gd name="connsiteY29" fmla="*/ 622370 h 3831857"/>
                <a:gd name="connsiteX30" fmla="*/ 2670184 w 5336589"/>
                <a:gd name="connsiteY30" fmla="*/ 622713 h 3831857"/>
                <a:gd name="connsiteX31" fmla="*/ 2667800 w 5336589"/>
                <a:gd name="connsiteY31" fmla="*/ 623400 h 3831857"/>
                <a:gd name="connsiteX32" fmla="*/ 2665416 w 5336589"/>
                <a:gd name="connsiteY32" fmla="*/ 624087 h 3831857"/>
                <a:gd name="connsiteX33" fmla="*/ 2662692 w 5336589"/>
                <a:gd name="connsiteY33" fmla="*/ 624773 h 3831857"/>
                <a:gd name="connsiteX34" fmla="*/ 2659628 w 5336589"/>
                <a:gd name="connsiteY34" fmla="*/ 625803 h 3831857"/>
                <a:gd name="connsiteX35" fmla="*/ 2655542 w 5336589"/>
                <a:gd name="connsiteY35" fmla="*/ 627176 h 3831857"/>
                <a:gd name="connsiteX36" fmla="*/ 2651796 w 5336589"/>
                <a:gd name="connsiteY36" fmla="*/ 628206 h 3831857"/>
                <a:gd name="connsiteX37" fmla="*/ 2647029 w 5336589"/>
                <a:gd name="connsiteY37" fmla="*/ 629236 h 3831857"/>
                <a:gd name="connsiteX38" fmla="*/ 2642602 w 5336589"/>
                <a:gd name="connsiteY38" fmla="*/ 630610 h 3831857"/>
                <a:gd name="connsiteX39" fmla="*/ 2637495 w 5336589"/>
                <a:gd name="connsiteY39" fmla="*/ 631983 h 3831857"/>
                <a:gd name="connsiteX40" fmla="*/ 2631706 w 5336589"/>
                <a:gd name="connsiteY40" fmla="*/ 633356 h 3831857"/>
                <a:gd name="connsiteX41" fmla="*/ 2625577 w 5336589"/>
                <a:gd name="connsiteY41" fmla="*/ 634729 h 3831857"/>
                <a:gd name="connsiteX42" fmla="*/ 2619448 w 5336589"/>
                <a:gd name="connsiteY42" fmla="*/ 636103 h 3831857"/>
                <a:gd name="connsiteX43" fmla="*/ 2612297 w 5336589"/>
                <a:gd name="connsiteY43" fmla="*/ 637819 h 3831857"/>
                <a:gd name="connsiteX44" fmla="*/ 2605487 w 5336589"/>
                <a:gd name="connsiteY44" fmla="*/ 639536 h 3831857"/>
                <a:gd name="connsiteX45" fmla="*/ 2597655 w 5336589"/>
                <a:gd name="connsiteY45" fmla="*/ 641252 h 3831857"/>
                <a:gd name="connsiteX46" fmla="*/ 2589483 w 5336589"/>
                <a:gd name="connsiteY46" fmla="*/ 642969 h 3831857"/>
                <a:gd name="connsiteX47" fmla="*/ 2580970 w 5336589"/>
                <a:gd name="connsiteY47" fmla="*/ 644685 h 3831857"/>
                <a:gd name="connsiteX48" fmla="*/ 2572458 w 5336589"/>
                <a:gd name="connsiteY48" fmla="*/ 646402 h 3831857"/>
                <a:gd name="connsiteX49" fmla="*/ 2562923 w 5336589"/>
                <a:gd name="connsiteY49" fmla="*/ 648462 h 3831857"/>
                <a:gd name="connsiteX50" fmla="*/ 2553049 w 5336589"/>
                <a:gd name="connsiteY50" fmla="*/ 650522 h 3831857"/>
                <a:gd name="connsiteX51" fmla="*/ 2543174 w 5336589"/>
                <a:gd name="connsiteY51" fmla="*/ 652238 h 3831857"/>
                <a:gd name="connsiteX52" fmla="*/ 2532618 w 5336589"/>
                <a:gd name="connsiteY52" fmla="*/ 654298 h 3831857"/>
                <a:gd name="connsiteX53" fmla="*/ 2521381 w 5336589"/>
                <a:gd name="connsiteY53" fmla="*/ 656358 h 3831857"/>
                <a:gd name="connsiteX54" fmla="*/ 2510145 w 5336589"/>
                <a:gd name="connsiteY54" fmla="*/ 658075 h 3831857"/>
                <a:gd name="connsiteX55" fmla="*/ 2498227 w 5336589"/>
                <a:gd name="connsiteY55" fmla="*/ 660135 h 3831857"/>
                <a:gd name="connsiteX56" fmla="*/ 2485968 w 5336589"/>
                <a:gd name="connsiteY56" fmla="*/ 662194 h 3831857"/>
                <a:gd name="connsiteX57" fmla="*/ 2473029 w 5336589"/>
                <a:gd name="connsiteY57" fmla="*/ 664254 h 3831857"/>
                <a:gd name="connsiteX58" fmla="*/ 2449534 w 5336589"/>
                <a:gd name="connsiteY58" fmla="*/ 667687 h 3831857"/>
                <a:gd name="connsiteX59" fmla="*/ 2426720 w 5336589"/>
                <a:gd name="connsiteY59" fmla="*/ 670777 h 3831857"/>
                <a:gd name="connsiteX60" fmla="*/ 2404927 w 5336589"/>
                <a:gd name="connsiteY60" fmla="*/ 673524 h 3831857"/>
                <a:gd name="connsiteX61" fmla="*/ 2383475 w 5336589"/>
                <a:gd name="connsiteY61" fmla="*/ 675584 h 3831857"/>
                <a:gd name="connsiteX62" fmla="*/ 2363045 w 5336589"/>
                <a:gd name="connsiteY62" fmla="*/ 677300 h 3831857"/>
                <a:gd name="connsiteX63" fmla="*/ 2343636 w 5336589"/>
                <a:gd name="connsiteY63" fmla="*/ 678674 h 3831857"/>
                <a:gd name="connsiteX64" fmla="*/ 2324227 w 5336589"/>
                <a:gd name="connsiteY64" fmla="*/ 680047 h 3831857"/>
                <a:gd name="connsiteX65" fmla="*/ 2305839 w 5336589"/>
                <a:gd name="connsiteY65" fmla="*/ 681420 h 3831857"/>
                <a:gd name="connsiteX66" fmla="*/ 2288814 w 5336589"/>
                <a:gd name="connsiteY66" fmla="*/ 683136 h 3831857"/>
                <a:gd name="connsiteX67" fmla="*/ 2271789 w 5336589"/>
                <a:gd name="connsiteY67" fmla="*/ 684853 h 3831857"/>
                <a:gd name="connsiteX68" fmla="*/ 2255444 w 5336589"/>
                <a:gd name="connsiteY68" fmla="*/ 687256 h 3831857"/>
                <a:gd name="connsiteX69" fmla="*/ 2240462 w 5336589"/>
                <a:gd name="connsiteY69" fmla="*/ 689659 h 3831857"/>
                <a:gd name="connsiteX70" fmla="*/ 2225820 w 5336589"/>
                <a:gd name="connsiteY70" fmla="*/ 692749 h 3831857"/>
                <a:gd name="connsiteX71" fmla="*/ 2211859 w 5336589"/>
                <a:gd name="connsiteY71" fmla="*/ 696526 h 3831857"/>
                <a:gd name="connsiteX72" fmla="*/ 2198920 w 5336589"/>
                <a:gd name="connsiteY72" fmla="*/ 701332 h 3831857"/>
                <a:gd name="connsiteX73" fmla="*/ 2186661 w 5336589"/>
                <a:gd name="connsiteY73" fmla="*/ 706825 h 3831857"/>
                <a:gd name="connsiteX74" fmla="*/ 2169295 w 5336589"/>
                <a:gd name="connsiteY74" fmla="*/ 717125 h 3831857"/>
                <a:gd name="connsiteX75" fmla="*/ 2153292 w 5336589"/>
                <a:gd name="connsiteY75" fmla="*/ 728454 h 3831857"/>
                <a:gd name="connsiteX76" fmla="*/ 2138309 w 5336589"/>
                <a:gd name="connsiteY76" fmla="*/ 740470 h 3831857"/>
                <a:gd name="connsiteX77" fmla="*/ 2124008 w 5336589"/>
                <a:gd name="connsiteY77" fmla="*/ 753172 h 3831857"/>
                <a:gd name="connsiteX78" fmla="*/ 2111068 w 5336589"/>
                <a:gd name="connsiteY78" fmla="*/ 766905 h 3831857"/>
                <a:gd name="connsiteX79" fmla="*/ 2098810 w 5336589"/>
                <a:gd name="connsiteY79" fmla="*/ 782011 h 3831857"/>
                <a:gd name="connsiteX80" fmla="*/ 2087233 w 5336589"/>
                <a:gd name="connsiteY80" fmla="*/ 797460 h 3831857"/>
                <a:gd name="connsiteX81" fmla="*/ 2076677 w 5336589"/>
                <a:gd name="connsiteY81" fmla="*/ 813939 h 3831857"/>
                <a:gd name="connsiteX82" fmla="*/ 2066462 w 5336589"/>
                <a:gd name="connsiteY82" fmla="*/ 831448 h 3831857"/>
                <a:gd name="connsiteX83" fmla="*/ 2056587 w 5336589"/>
                <a:gd name="connsiteY83" fmla="*/ 850330 h 3831857"/>
                <a:gd name="connsiteX84" fmla="*/ 2047393 w 5336589"/>
                <a:gd name="connsiteY84" fmla="*/ 869556 h 3831857"/>
                <a:gd name="connsiteX85" fmla="*/ 2039221 w 5336589"/>
                <a:gd name="connsiteY85" fmla="*/ 890498 h 3831857"/>
                <a:gd name="connsiteX86" fmla="*/ 2030708 w 5336589"/>
                <a:gd name="connsiteY86" fmla="*/ 912470 h 3831857"/>
                <a:gd name="connsiteX87" fmla="*/ 2022196 w 5336589"/>
                <a:gd name="connsiteY87" fmla="*/ 935472 h 3831857"/>
                <a:gd name="connsiteX88" fmla="*/ 2014024 w 5336589"/>
                <a:gd name="connsiteY88" fmla="*/ 959847 h 3831857"/>
                <a:gd name="connsiteX89" fmla="*/ 2006532 w 5336589"/>
                <a:gd name="connsiteY89" fmla="*/ 985252 h 3831857"/>
                <a:gd name="connsiteX90" fmla="*/ 2001425 w 5336589"/>
                <a:gd name="connsiteY90" fmla="*/ 1000358 h 3831857"/>
                <a:gd name="connsiteX91" fmla="*/ 1996998 w 5336589"/>
                <a:gd name="connsiteY91" fmla="*/ 1015807 h 3831857"/>
                <a:gd name="connsiteX92" fmla="*/ 1989166 w 5336589"/>
                <a:gd name="connsiteY92" fmla="*/ 1046705 h 3831857"/>
                <a:gd name="connsiteX93" fmla="*/ 1982356 w 5336589"/>
                <a:gd name="connsiteY93" fmla="*/ 1078290 h 3831857"/>
                <a:gd name="connsiteX94" fmla="*/ 1977249 w 5336589"/>
                <a:gd name="connsiteY94" fmla="*/ 1109875 h 3831857"/>
                <a:gd name="connsiteX95" fmla="*/ 1972822 w 5336589"/>
                <a:gd name="connsiteY95" fmla="*/ 1140430 h 3831857"/>
                <a:gd name="connsiteX96" fmla="*/ 1969417 w 5336589"/>
                <a:gd name="connsiteY96" fmla="*/ 1170642 h 3831857"/>
                <a:gd name="connsiteX97" fmla="*/ 1968055 w 5336589"/>
                <a:gd name="connsiteY97" fmla="*/ 1185404 h 3831857"/>
                <a:gd name="connsiteX98" fmla="*/ 1967033 w 5336589"/>
                <a:gd name="connsiteY98" fmla="*/ 1199480 h 3831857"/>
                <a:gd name="connsiteX99" fmla="*/ 1966012 w 5336589"/>
                <a:gd name="connsiteY99" fmla="*/ 1213556 h 3831857"/>
                <a:gd name="connsiteX100" fmla="*/ 1965331 w 5336589"/>
                <a:gd name="connsiteY100" fmla="*/ 1227288 h 3831857"/>
                <a:gd name="connsiteX101" fmla="*/ 1964650 w 5336589"/>
                <a:gd name="connsiteY101" fmla="*/ 1240334 h 3831857"/>
                <a:gd name="connsiteX102" fmla="*/ 1963969 w 5336589"/>
                <a:gd name="connsiteY102" fmla="*/ 1252693 h 3831857"/>
                <a:gd name="connsiteX103" fmla="*/ 1963628 w 5336589"/>
                <a:gd name="connsiteY103" fmla="*/ 1264709 h 3831857"/>
                <a:gd name="connsiteX104" fmla="*/ 1963288 w 5336589"/>
                <a:gd name="connsiteY104" fmla="*/ 1276039 h 3831857"/>
                <a:gd name="connsiteX105" fmla="*/ 1963288 w 5336589"/>
                <a:gd name="connsiteY105" fmla="*/ 1287025 h 3831857"/>
                <a:gd name="connsiteX106" fmla="*/ 1962947 w 5336589"/>
                <a:gd name="connsiteY106" fmla="*/ 1296638 h 3831857"/>
                <a:gd name="connsiteX107" fmla="*/ 1962947 w 5336589"/>
                <a:gd name="connsiteY107" fmla="*/ 1305907 h 3831857"/>
                <a:gd name="connsiteX108" fmla="*/ 1963288 w 5336589"/>
                <a:gd name="connsiteY108" fmla="*/ 1314490 h 3831857"/>
                <a:gd name="connsiteX109" fmla="*/ 1963288 w 5336589"/>
                <a:gd name="connsiteY109" fmla="*/ 1322386 h 3831857"/>
                <a:gd name="connsiteX110" fmla="*/ 1963288 w 5336589"/>
                <a:gd name="connsiteY110" fmla="*/ 1328909 h 3831857"/>
                <a:gd name="connsiteX111" fmla="*/ 1963288 w 5336589"/>
                <a:gd name="connsiteY111" fmla="*/ 1335089 h 3831857"/>
                <a:gd name="connsiteX112" fmla="*/ 1963628 w 5336589"/>
                <a:gd name="connsiteY112" fmla="*/ 1339895 h 3831857"/>
                <a:gd name="connsiteX113" fmla="*/ 1963628 w 5336589"/>
                <a:gd name="connsiteY113" fmla="*/ 1343671 h 3831857"/>
                <a:gd name="connsiteX114" fmla="*/ 1963969 w 5336589"/>
                <a:gd name="connsiteY114" fmla="*/ 1346761 h 3831857"/>
                <a:gd name="connsiteX115" fmla="*/ 1963969 w 5336589"/>
                <a:gd name="connsiteY115" fmla="*/ 1348135 h 3831857"/>
                <a:gd name="connsiteX116" fmla="*/ 1963969 w 5336589"/>
                <a:gd name="connsiteY116" fmla="*/ 1348821 h 3831857"/>
                <a:gd name="connsiteX117" fmla="*/ 1964309 w 5336589"/>
                <a:gd name="connsiteY117" fmla="*/ 1348135 h 3831857"/>
                <a:gd name="connsiteX118" fmla="*/ 1964309 w 5336589"/>
                <a:gd name="connsiteY118" fmla="*/ 1347105 h 3831857"/>
                <a:gd name="connsiteX119" fmla="*/ 1964650 w 5336589"/>
                <a:gd name="connsiteY119" fmla="*/ 1345731 h 3831857"/>
                <a:gd name="connsiteX120" fmla="*/ 1965331 w 5336589"/>
                <a:gd name="connsiteY120" fmla="*/ 1343671 h 3831857"/>
                <a:gd name="connsiteX121" fmla="*/ 1965671 w 5336589"/>
                <a:gd name="connsiteY121" fmla="*/ 1341612 h 3831857"/>
                <a:gd name="connsiteX122" fmla="*/ 1966352 w 5336589"/>
                <a:gd name="connsiteY122" fmla="*/ 1339208 h 3831857"/>
                <a:gd name="connsiteX123" fmla="*/ 1967033 w 5336589"/>
                <a:gd name="connsiteY123" fmla="*/ 1336119 h 3831857"/>
                <a:gd name="connsiteX124" fmla="*/ 1969076 w 5336589"/>
                <a:gd name="connsiteY124" fmla="*/ 1329252 h 3831857"/>
                <a:gd name="connsiteX125" fmla="*/ 1971119 w 5336589"/>
                <a:gd name="connsiteY125" fmla="*/ 1321699 h 3831857"/>
                <a:gd name="connsiteX126" fmla="*/ 1973844 w 5336589"/>
                <a:gd name="connsiteY126" fmla="*/ 1312430 h 3831857"/>
                <a:gd name="connsiteX127" fmla="*/ 1976568 w 5336589"/>
                <a:gd name="connsiteY127" fmla="*/ 1302131 h 3831857"/>
                <a:gd name="connsiteX128" fmla="*/ 1979632 w 5336589"/>
                <a:gd name="connsiteY128" fmla="*/ 1290801 h 3831857"/>
                <a:gd name="connsiteX129" fmla="*/ 1983037 w 5336589"/>
                <a:gd name="connsiteY129" fmla="*/ 1278442 h 3831857"/>
                <a:gd name="connsiteX130" fmla="*/ 1987123 w 5336589"/>
                <a:gd name="connsiteY130" fmla="*/ 1265739 h 3831857"/>
                <a:gd name="connsiteX131" fmla="*/ 1991209 w 5336589"/>
                <a:gd name="connsiteY131" fmla="*/ 1252007 h 3831857"/>
                <a:gd name="connsiteX132" fmla="*/ 1995636 w 5336589"/>
                <a:gd name="connsiteY132" fmla="*/ 1237244 h 3831857"/>
                <a:gd name="connsiteX133" fmla="*/ 2000403 w 5336589"/>
                <a:gd name="connsiteY133" fmla="*/ 1222482 h 3831857"/>
                <a:gd name="connsiteX134" fmla="*/ 2004830 w 5336589"/>
                <a:gd name="connsiteY134" fmla="*/ 1207033 h 3831857"/>
                <a:gd name="connsiteX135" fmla="*/ 2010278 w 5336589"/>
                <a:gd name="connsiteY135" fmla="*/ 1190897 h 3831857"/>
                <a:gd name="connsiteX136" fmla="*/ 2021174 w 5336589"/>
                <a:gd name="connsiteY136" fmla="*/ 1158626 h 3831857"/>
                <a:gd name="connsiteX137" fmla="*/ 2032752 w 5336589"/>
                <a:gd name="connsiteY137" fmla="*/ 1125324 h 3831857"/>
                <a:gd name="connsiteX138" fmla="*/ 2045010 w 5336589"/>
                <a:gd name="connsiteY138" fmla="*/ 1092366 h 3831857"/>
                <a:gd name="connsiteX139" fmla="*/ 2051479 w 5336589"/>
                <a:gd name="connsiteY139" fmla="*/ 1076230 h 3831857"/>
                <a:gd name="connsiteX140" fmla="*/ 2057609 w 5336589"/>
                <a:gd name="connsiteY140" fmla="*/ 1059751 h 3831857"/>
                <a:gd name="connsiteX141" fmla="*/ 2064419 w 5336589"/>
                <a:gd name="connsiteY141" fmla="*/ 1044302 h 3831857"/>
                <a:gd name="connsiteX142" fmla="*/ 2070888 w 5336589"/>
                <a:gd name="connsiteY142" fmla="*/ 1029540 h 3831857"/>
                <a:gd name="connsiteX143" fmla="*/ 2077699 w 5336589"/>
                <a:gd name="connsiteY143" fmla="*/ 1014434 h 3831857"/>
                <a:gd name="connsiteX144" fmla="*/ 2084849 w 5336589"/>
                <a:gd name="connsiteY144" fmla="*/ 1000701 h 3831857"/>
                <a:gd name="connsiteX145" fmla="*/ 2091319 w 5336589"/>
                <a:gd name="connsiteY145" fmla="*/ 987312 h 3831857"/>
                <a:gd name="connsiteX146" fmla="*/ 2098470 w 5336589"/>
                <a:gd name="connsiteY146" fmla="*/ 974953 h 3831857"/>
                <a:gd name="connsiteX147" fmla="*/ 2105620 w 5336589"/>
                <a:gd name="connsiteY147" fmla="*/ 963624 h 3831857"/>
                <a:gd name="connsiteX148" fmla="*/ 2112090 w 5336589"/>
                <a:gd name="connsiteY148" fmla="*/ 952981 h 3831857"/>
                <a:gd name="connsiteX149" fmla="*/ 2117198 w 5336589"/>
                <a:gd name="connsiteY149" fmla="*/ 945428 h 3831857"/>
                <a:gd name="connsiteX150" fmla="*/ 2121965 w 5336589"/>
                <a:gd name="connsiteY150" fmla="*/ 937875 h 3831857"/>
                <a:gd name="connsiteX151" fmla="*/ 2126732 w 5336589"/>
                <a:gd name="connsiteY151" fmla="*/ 930665 h 3831857"/>
                <a:gd name="connsiteX152" fmla="*/ 2131158 w 5336589"/>
                <a:gd name="connsiteY152" fmla="*/ 923799 h 3831857"/>
                <a:gd name="connsiteX153" fmla="*/ 2140012 w 5336589"/>
                <a:gd name="connsiteY153" fmla="*/ 911440 h 3831857"/>
                <a:gd name="connsiteX154" fmla="*/ 2148184 w 5336589"/>
                <a:gd name="connsiteY154" fmla="*/ 900454 h 3831857"/>
                <a:gd name="connsiteX155" fmla="*/ 2155335 w 5336589"/>
                <a:gd name="connsiteY155" fmla="*/ 890498 h 3831857"/>
                <a:gd name="connsiteX156" fmla="*/ 2162485 w 5336589"/>
                <a:gd name="connsiteY156" fmla="*/ 881572 h 3831857"/>
                <a:gd name="connsiteX157" fmla="*/ 2168614 w 5336589"/>
                <a:gd name="connsiteY157" fmla="*/ 874019 h 3831857"/>
                <a:gd name="connsiteX158" fmla="*/ 2174744 w 5336589"/>
                <a:gd name="connsiteY158" fmla="*/ 867496 h 3831857"/>
                <a:gd name="connsiteX159" fmla="*/ 2179511 w 5336589"/>
                <a:gd name="connsiteY159" fmla="*/ 862003 h 3831857"/>
                <a:gd name="connsiteX160" fmla="*/ 2184278 w 5336589"/>
                <a:gd name="connsiteY160" fmla="*/ 857196 h 3831857"/>
                <a:gd name="connsiteX161" fmla="*/ 2188023 w 5336589"/>
                <a:gd name="connsiteY161" fmla="*/ 853763 h 3831857"/>
                <a:gd name="connsiteX162" fmla="*/ 2191429 w 5336589"/>
                <a:gd name="connsiteY162" fmla="*/ 851017 h 3831857"/>
                <a:gd name="connsiteX163" fmla="*/ 2194153 w 5336589"/>
                <a:gd name="connsiteY163" fmla="*/ 848614 h 3831857"/>
                <a:gd name="connsiteX164" fmla="*/ 2195855 w 5336589"/>
                <a:gd name="connsiteY164" fmla="*/ 846897 h 3831857"/>
                <a:gd name="connsiteX165" fmla="*/ 2196877 w 5336589"/>
                <a:gd name="connsiteY165" fmla="*/ 846210 h 3831857"/>
                <a:gd name="connsiteX166" fmla="*/ 2197217 w 5336589"/>
                <a:gd name="connsiteY166" fmla="*/ 845867 h 3831857"/>
                <a:gd name="connsiteX167" fmla="*/ 2196877 w 5336589"/>
                <a:gd name="connsiteY167" fmla="*/ 846554 h 3831857"/>
                <a:gd name="connsiteX168" fmla="*/ 2196196 w 5336589"/>
                <a:gd name="connsiteY168" fmla="*/ 848270 h 3831857"/>
                <a:gd name="connsiteX169" fmla="*/ 2195515 w 5336589"/>
                <a:gd name="connsiteY169" fmla="*/ 851360 h 3831857"/>
                <a:gd name="connsiteX170" fmla="*/ 2194153 w 5336589"/>
                <a:gd name="connsiteY170" fmla="*/ 855137 h 3831857"/>
                <a:gd name="connsiteX171" fmla="*/ 2192791 w 5336589"/>
                <a:gd name="connsiteY171" fmla="*/ 859600 h 3831857"/>
                <a:gd name="connsiteX172" fmla="*/ 2191088 w 5336589"/>
                <a:gd name="connsiteY172" fmla="*/ 865436 h 3831857"/>
                <a:gd name="connsiteX173" fmla="*/ 2189385 w 5336589"/>
                <a:gd name="connsiteY173" fmla="*/ 871272 h 3831857"/>
                <a:gd name="connsiteX174" fmla="*/ 2188023 w 5336589"/>
                <a:gd name="connsiteY174" fmla="*/ 878139 h 3831857"/>
                <a:gd name="connsiteX175" fmla="*/ 2186661 w 5336589"/>
                <a:gd name="connsiteY175" fmla="*/ 885691 h 3831857"/>
                <a:gd name="connsiteX176" fmla="*/ 2185299 w 5336589"/>
                <a:gd name="connsiteY176" fmla="*/ 892901 h 3831857"/>
                <a:gd name="connsiteX177" fmla="*/ 2184278 w 5336589"/>
                <a:gd name="connsiteY177" fmla="*/ 901141 h 3831857"/>
                <a:gd name="connsiteX178" fmla="*/ 2183937 w 5336589"/>
                <a:gd name="connsiteY178" fmla="*/ 909380 h 3831857"/>
                <a:gd name="connsiteX179" fmla="*/ 2183597 w 5336589"/>
                <a:gd name="connsiteY179" fmla="*/ 917620 h 3831857"/>
                <a:gd name="connsiteX180" fmla="*/ 2183937 w 5336589"/>
                <a:gd name="connsiteY180" fmla="*/ 925859 h 3831857"/>
                <a:gd name="connsiteX181" fmla="*/ 2184959 w 5336589"/>
                <a:gd name="connsiteY181" fmla="*/ 934442 h 3831857"/>
                <a:gd name="connsiteX182" fmla="*/ 2186661 w 5336589"/>
                <a:gd name="connsiteY182" fmla="*/ 942338 h 3831857"/>
                <a:gd name="connsiteX183" fmla="*/ 2188704 w 5336589"/>
                <a:gd name="connsiteY183" fmla="*/ 960190 h 3831857"/>
                <a:gd name="connsiteX184" fmla="*/ 2191769 w 5336589"/>
                <a:gd name="connsiteY184" fmla="*/ 977356 h 3831857"/>
                <a:gd name="connsiteX185" fmla="*/ 2194493 w 5336589"/>
                <a:gd name="connsiteY185" fmla="*/ 993835 h 3831857"/>
                <a:gd name="connsiteX186" fmla="*/ 2197558 w 5336589"/>
                <a:gd name="connsiteY186" fmla="*/ 1009628 h 3831857"/>
                <a:gd name="connsiteX187" fmla="*/ 2200963 w 5336589"/>
                <a:gd name="connsiteY187" fmla="*/ 1024733 h 3831857"/>
                <a:gd name="connsiteX188" fmla="*/ 2204708 w 5336589"/>
                <a:gd name="connsiteY188" fmla="*/ 1038809 h 3831857"/>
                <a:gd name="connsiteX189" fmla="*/ 2208113 w 5336589"/>
                <a:gd name="connsiteY189" fmla="*/ 1052198 h 3831857"/>
                <a:gd name="connsiteX190" fmla="*/ 2211859 w 5336589"/>
                <a:gd name="connsiteY190" fmla="*/ 1064214 h 3831857"/>
                <a:gd name="connsiteX191" fmla="*/ 2215264 w 5336589"/>
                <a:gd name="connsiteY191" fmla="*/ 1075200 h 3831857"/>
                <a:gd name="connsiteX192" fmla="*/ 2218329 w 5336589"/>
                <a:gd name="connsiteY192" fmla="*/ 1084470 h 3831857"/>
                <a:gd name="connsiteX193" fmla="*/ 2221393 w 5336589"/>
                <a:gd name="connsiteY193" fmla="*/ 1093053 h 3831857"/>
                <a:gd name="connsiteX194" fmla="*/ 2222415 w 5336589"/>
                <a:gd name="connsiteY194" fmla="*/ 1096829 h 3831857"/>
                <a:gd name="connsiteX195" fmla="*/ 2224117 w 5336589"/>
                <a:gd name="connsiteY195" fmla="*/ 1100262 h 3831857"/>
                <a:gd name="connsiteX196" fmla="*/ 2225139 w 5336589"/>
                <a:gd name="connsiteY196" fmla="*/ 1103352 h 3831857"/>
                <a:gd name="connsiteX197" fmla="*/ 2226160 w 5336589"/>
                <a:gd name="connsiteY197" fmla="*/ 1105755 h 3831857"/>
                <a:gd name="connsiteX198" fmla="*/ 2227182 w 5336589"/>
                <a:gd name="connsiteY198" fmla="*/ 1108158 h 3831857"/>
                <a:gd name="connsiteX199" fmla="*/ 2227863 w 5336589"/>
                <a:gd name="connsiteY199" fmla="*/ 1110218 h 3831857"/>
                <a:gd name="connsiteX200" fmla="*/ 2228203 w 5336589"/>
                <a:gd name="connsiteY200" fmla="*/ 1111592 h 3831857"/>
                <a:gd name="connsiteX201" fmla="*/ 2228884 w 5336589"/>
                <a:gd name="connsiteY201" fmla="*/ 1112622 h 3831857"/>
                <a:gd name="connsiteX202" fmla="*/ 2228884 w 5336589"/>
                <a:gd name="connsiteY202" fmla="*/ 1113308 h 3831857"/>
                <a:gd name="connsiteX203" fmla="*/ 2229225 w 5336589"/>
                <a:gd name="connsiteY203" fmla="*/ 1113651 h 3831857"/>
                <a:gd name="connsiteX204" fmla="*/ 2229225 w 5336589"/>
                <a:gd name="connsiteY204" fmla="*/ 1112965 h 3831857"/>
                <a:gd name="connsiteX205" fmla="*/ 2229225 w 5336589"/>
                <a:gd name="connsiteY205" fmla="*/ 1111248 h 3831857"/>
                <a:gd name="connsiteX206" fmla="*/ 2229565 w 5336589"/>
                <a:gd name="connsiteY206" fmla="*/ 1108158 h 3831857"/>
                <a:gd name="connsiteX207" fmla="*/ 2229565 w 5336589"/>
                <a:gd name="connsiteY207" fmla="*/ 1104382 h 3831857"/>
                <a:gd name="connsiteX208" fmla="*/ 2229906 w 5336589"/>
                <a:gd name="connsiteY208" fmla="*/ 1099919 h 3831857"/>
                <a:gd name="connsiteX209" fmla="*/ 2230587 w 5336589"/>
                <a:gd name="connsiteY209" fmla="*/ 1094083 h 3831857"/>
                <a:gd name="connsiteX210" fmla="*/ 2231268 w 5336589"/>
                <a:gd name="connsiteY210" fmla="*/ 1087560 h 3831857"/>
                <a:gd name="connsiteX211" fmla="*/ 2231949 w 5336589"/>
                <a:gd name="connsiteY211" fmla="*/ 1080350 h 3831857"/>
                <a:gd name="connsiteX212" fmla="*/ 2232630 w 5336589"/>
                <a:gd name="connsiteY212" fmla="*/ 1072111 h 3831857"/>
                <a:gd name="connsiteX213" fmla="*/ 2233652 w 5336589"/>
                <a:gd name="connsiteY213" fmla="*/ 1063528 h 3831857"/>
                <a:gd name="connsiteX214" fmla="*/ 2235014 w 5336589"/>
                <a:gd name="connsiteY214" fmla="*/ 1054258 h 3831857"/>
                <a:gd name="connsiteX215" fmla="*/ 2236376 w 5336589"/>
                <a:gd name="connsiteY215" fmla="*/ 1043959 h 3831857"/>
                <a:gd name="connsiteX216" fmla="*/ 2238078 w 5336589"/>
                <a:gd name="connsiteY216" fmla="*/ 1033659 h 3831857"/>
                <a:gd name="connsiteX217" fmla="*/ 2239781 w 5336589"/>
                <a:gd name="connsiteY217" fmla="*/ 1022673 h 3831857"/>
                <a:gd name="connsiteX218" fmla="*/ 2241483 w 5336589"/>
                <a:gd name="connsiteY218" fmla="*/ 1011344 h 3831857"/>
                <a:gd name="connsiteX219" fmla="*/ 2243526 w 5336589"/>
                <a:gd name="connsiteY219" fmla="*/ 999671 h 3831857"/>
                <a:gd name="connsiteX220" fmla="*/ 2248634 w 5336589"/>
                <a:gd name="connsiteY220" fmla="*/ 975640 h 3831857"/>
                <a:gd name="connsiteX221" fmla="*/ 2254423 w 5336589"/>
                <a:gd name="connsiteY221" fmla="*/ 950921 h 3831857"/>
                <a:gd name="connsiteX222" fmla="*/ 2261233 w 5336589"/>
                <a:gd name="connsiteY222" fmla="*/ 926202 h 3831857"/>
                <a:gd name="connsiteX223" fmla="*/ 2269405 w 5336589"/>
                <a:gd name="connsiteY223" fmla="*/ 901484 h 3831857"/>
                <a:gd name="connsiteX224" fmla="*/ 2278599 w 5336589"/>
                <a:gd name="connsiteY224" fmla="*/ 877452 h 3831857"/>
                <a:gd name="connsiteX225" fmla="*/ 2283706 w 5336589"/>
                <a:gd name="connsiteY225" fmla="*/ 865779 h 3831857"/>
                <a:gd name="connsiteX226" fmla="*/ 2289154 w 5336589"/>
                <a:gd name="connsiteY226" fmla="*/ 854450 h 3831857"/>
                <a:gd name="connsiteX227" fmla="*/ 2294603 w 5336589"/>
                <a:gd name="connsiteY227" fmla="*/ 843464 h 3831857"/>
                <a:gd name="connsiteX228" fmla="*/ 2301072 w 5336589"/>
                <a:gd name="connsiteY228" fmla="*/ 833164 h 3831857"/>
                <a:gd name="connsiteX229" fmla="*/ 2307201 w 5336589"/>
                <a:gd name="connsiteY229" fmla="*/ 823208 h 3831857"/>
                <a:gd name="connsiteX230" fmla="*/ 2314012 w 5336589"/>
                <a:gd name="connsiteY230" fmla="*/ 813939 h 3831857"/>
                <a:gd name="connsiteX231" fmla="*/ 2322184 w 5336589"/>
                <a:gd name="connsiteY231" fmla="*/ 804326 h 3831857"/>
                <a:gd name="connsiteX232" fmla="*/ 2330697 w 5336589"/>
                <a:gd name="connsiteY232" fmla="*/ 795057 h 3831857"/>
                <a:gd name="connsiteX233" fmla="*/ 2339890 w 5336589"/>
                <a:gd name="connsiteY233" fmla="*/ 786131 h 3831857"/>
                <a:gd name="connsiteX234" fmla="*/ 2349765 w 5336589"/>
                <a:gd name="connsiteY234" fmla="*/ 777548 h 3831857"/>
                <a:gd name="connsiteX235" fmla="*/ 2359640 w 5336589"/>
                <a:gd name="connsiteY235" fmla="*/ 769995 h 3831857"/>
                <a:gd name="connsiteX236" fmla="*/ 2370196 w 5336589"/>
                <a:gd name="connsiteY236" fmla="*/ 762099 h 3831857"/>
                <a:gd name="connsiteX237" fmla="*/ 2381092 w 5336589"/>
                <a:gd name="connsiteY237" fmla="*/ 754889 h 3831857"/>
                <a:gd name="connsiteX238" fmla="*/ 2392329 w 5336589"/>
                <a:gd name="connsiteY238" fmla="*/ 748366 h 3831857"/>
                <a:gd name="connsiteX239" fmla="*/ 2403906 w 5336589"/>
                <a:gd name="connsiteY239" fmla="*/ 741843 h 3831857"/>
                <a:gd name="connsiteX240" fmla="*/ 2415824 w 5336589"/>
                <a:gd name="connsiteY240" fmla="*/ 736007 h 3831857"/>
                <a:gd name="connsiteX241" fmla="*/ 2440681 w 5336589"/>
                <a:gd name="connsiteY241" fmla="*/ 725021 h 3831857"/>
                <a:gd name="connsiteX242" fmla="*/ 2467240 w 5336589"/>
                <a:gd name="connsiteY242" fmla="*/ 715408 h 3831857"/>
                <a:gd name="connsiteX243" fmla="*/ 2494141 w 5336589"/>
                <a:gd name="connsiteY243" fmla="*/ 706825 h 3831857"/>
                <a:gd name="connsiteX244" fmla="*/ 2508783 w 5336589"/>
                <a:gd name="connsiteY244" fmla="*/ 702362 h 3831857"/>
                <a:gd name="connsiteX245" fmla="*/ 2523424 w 5336589"/>
                <a:gd name="connsiteY245" fmla="*/ 697212 h 3831857"/>
                <a:gd name="connsiteX246" fmla="*/ 2538407 w 5336589"/>
                <a:gd name="connsiteY246" fmla="*/ 691033 h 3831857"/>
                <a:gd name="connsiteX247" fmla="*/ 2554070 w 5336589"/>
                <a:gd name="connsiteY247" fmla="*/ 684510 h 3831857"/>
                <a:gd name="connsiteX248" fmla="*/ 2569053 w 5336589"/>
                <a:gd name="connsiteY248" fmla="*/ 677643 h 3831857"/>
                <a:gd name="connsiteX249" fmla="*/ 2584375 w 5336589"/>
                <a:gd name="connsiteY249" fmla="*/ 670434 h 3831857"/>
                <a:gd name="connsiteX250" fmla="*/ 2598677 w 5336589"/>
                <a:gd name="connsiteY250" fmla="*/ 663224 h 3831857"/>
                <a:gd name="connsiteX251" fmla="*/ 2612297 w 5336589"/>
                <a:gd name="connsiteY251" fmla="*/ 656015 h 3831857"/>
                <a:gd name="connsiteX252" fmla="*/ 2625236 w 5336589"/>
                <a:gd name="connsiteY252" fmla="*/ 649149 h 3831857"/>
                <a:gd name="connsiteX253" fmla="*/ 2637495 w 5336589"/>
                <a:gd name="connsiteY253" fmla="*/ 642969 h 3831857"/>
                <a:gd name="connsiteX254" fmla="*/ 2642602 w 5336589"/>
                <a:gd name="connsiteY254" fmla="*/ 639879 h 3831857"/>
                <a:gd name="connsiteX255" fmla="*/ 2648051 w 5336589"/>
                <a:gd name="connsiteY255" fmla="*/ 636789 h 3831857"/>
                <a:gd name="connsiteX256" fmla="*/ 2652818 w 5336589"/>
                <a:gd name="connsiteY256" fmla="*/ 634043 h 3831857"/>
                <a:gd name="connsiteX257" fmla="*/ 2656904 w 5336589"/>
                <a:gd name="connsiteY257" fmla="*/ 631639 h 3831857"/>
                <a:gd name="connsiteX258" fmla="*/ 2660990 w 5336589"/>
                <a:gd name="connsiteY258" fmla="*/ 629580 h 3831857"/>
                <a:gd name="connsiteX259" fmla="*/ 2664395 w 5336589"/>
                <a:gd name="connsiteY259" fmla="*/ 627520 h 3831857"/>
                <a:gd name="connsiteX260" fmla="*/ 2667460 w 5336589"/>
                <a:gd name="connsiteY260" fmla="*/ 625460 h 3831857"/>
                <a:gd name="connsiteX261" fmla="*/ 2670184 w 5336589"/>
                <a:gd name="connsiteY261" fmla="*/ 624087 h 3831857"/>
                <a:gd name="connsiteX262" fmla="*/ 2672227 w 5336589"/>
                <a:gd name="connsiteY262" fmla="*/ 622713 h 3831857"/>
                <a:gd name="connsiteX263" fmla="*/ 2673589 w 5336589"/>
                <a:gd name="connsiteY263" fmla="*/ 622027 h 3831857"/>
                <a:gd name="connsiteX264" fmla="*/ 5059675 w 5336589"/>
                <a:gd name="connsiteY264" fmla="*/ 226079 h 3831857"/>
                <a:gd name="connsiteX265" fmla="*/ 4892564 w 5336589"/>
                <a:gd name="connsiteY265" fmla="*/ 394121 h 3831857"/>
                <a:gd name="connsiteX266" fmla="*/ 4690898 w 5336589"/>
                <a:gd name="connsiteY266" fmla="*/ 514113 h 3831857"/>
                <a:gd name="connsiteX267" fmla="*/ 4911291 w 5336589"/>
                <a:gd name="connsiteY267" fmla="*/ 478060 h 3831857"/>
                <a:gd name="connsiteX268" fmla="*/ 5059675 w 5336589"/>
                <a:gd name="connsiteY268" fmla="*/ 226079 h 3831857"/>
                <a:gd name="connsiteX269" fmla="*/ 3210329 w 5336589"/>
                <a:gd name="connsiteY269" fmla="*/ 56 h 3831857"/>
                <a:gd name="connsiteX270" fmla="*/ 3977240 w 5336589"/>
                <a:gd name="connsiteY270" fmla="*/ 469886 h 3831857"/>
                <a:gd name="connsiteX271" fmla="*/ 3837379 w 5336589"/>
                <a:gd name="connsiteY271" fmla="*/ 513025 h 3831857"/>
                <a:gd name="connsiteX272" fmla="*/ 3837216 w 5336589"/>
                <a:gd name="connsiteY272" fmla="*/ 513453 h 3831857"/>
                <a:gd name="connsiteX273" fmla="*/ 3857107 w 5336589"/>
                <a:gd name="connsiteY273" fmla="*/ 514512 h 3831857"/>
                <a:gd name="connsiteX274" fmla="*/ 4072498 w 5336589"/>
                <a:gd name="connsiteY274" fmla="*/ 540924 h 3831857"/>
                <a:gd name="connsiteX275" fmla="*/ 4279160 w 5336589"/>
                <a:gd name="connsiteY275" fmla="*/ 804094 h 3831857"/>
                <a:gd name="connsiteX276" fmla="*/ 4075728 w 5336589"/>
                <a:gd name="connsiteY276" fmla="*/ 850916 h 3831857"/>
                <a:gd name="connsiteX277" fmla="*/ 4033634 w 5336589"/>
                <a:gd name="connsiteY277" fmla="*/ 863267 h 3831857"/>
                <a:gd name="connsiteX278" fmla="*/ 4005556 w 5336589"/>
                <a:gd name="connsiteY278" fmla="*/ 873348 h 3831857"/>
                <a:gd name="connsiteX279" fmla="*/ 4039703 w 5336589"/>
                <a:gd name="connsiteY279" fmla="*/ 873116 h 3831857"/>
                <a:gd name="connsiteX280" fmla="*/ 4162913 w 5336589"/>
                <a:gd name="connsiteY280" fmla="*/ 930029 h 3831857"/>
                <a:gd name="connsiteX281" fmla="*/ 4101560 w 5336589"/>
                <a:gd name="connsiteY281" fmla="*/ 1070494 h 3831857"/>
                <a:gd name="connsiteX282" fmla="*/ 4314680 w 5336589"/>
                <a:gd name="connsiteY282" fmla="*/ 1072108 h 3831857"/>
                <a:gd name="connsiteX283" fmla="*/ 4290462 w 5336589"/>
                <a:gd name="connsiteY283" fmla="*/ 1261010 h 3831857"/>
                <a:gd name="connsiteX284" fmla="*/ 4518113 w 5336589"/>
                <a:gd name="connsiteY284" fmla="*/ 1217417 h 3831857"/>
                <a:gd name="connsiteX285" fmla="*/ 4459762 w 5336589"/>
                <a:gd name="connsiteY285" fmla="*/ 1562828 h 3831857"/>
                <a:gd name="connsiteX286" fmla="*/ 4454121 w 5336589"/>
                <a:gd name="connsiteY286" fmla="*/ 1573706 h 3831857"/>
                <a:gd name="connsiteX287" fmla="*/ 4480917 w 5336589"/>
                <a:gd name="connsiteY287" fmla="*/ 1552564 h 3831857"/>
                <a:gd name="connsiteX288" fmla="*/ 4634362 w 5336589"/>
                <a:gd name="connsiteY288" fmla="*/ 452124 h 3831857"/>
                <a:gd name="connsiteX289" fmla="*/ 4879773 w 5336589"/>
                <a:gd name="connsiteY289" fmla="*/ 327805 h 3831857"/>
                <a:gd name="connsiteX290" fmla="*/ 5047686 w 5336589"/>
                <a:gd name="connsiteY290" fmla="*/ 134060 h 3831857"/>
                <a:gd name="connsiteX291" fmla="*/ 4832951 w 5336589"/>
                <a:gd name="connsiteY291" fmla="*/ 2253951 h 3831857"/>
                <a:gd name="connsiteX292" fmla="*/ 3533920 w 5336589"/>
                <a:gd name="connsiteY292" fmla="*/ 1925500 h 3831857"/>
                <a:gd name="connsiteX293" fmla="*/ 3502202 w 5336589"/>
                <a:gd name="connsiteY293" fmla="*/ 1890933 h 3831857"/>
                <a:gd name="connsiteX294" fmla="*/ 3485470 w 5336589"/>
                <a:gd name="connsiteY294" fmla="*/ 1977379 h 3831857"/>
                <a:gd name="connsiteX295" fmla="*/ 3988542 w 5336589"/>
                <a:gd name="connsiteY295" fmla="*/ 2378272 h 3831857"/>
                <a:gd name="connsiteX296" fmla="*/ 4048279 w 5336589"/>
                <a:gd name="connsiteY296" fmla="*/ 2383116 h 3831857"/>
                <a:gd name="connsiteX297" fmla="*/ 3668861 w 5336589"/>
                <a:gd name="connsiteY297" fmla="*/ 2715711 h 3831857"/>
                <a:gd name="connsiteX298" fmla="*/ 3282985 w 5336589"/>
                <a:gd name="connsiteY298" fmla="*/ 2454156 h 3831857"/>
                <a:gd name="connsiteX299" fmla="*/ 2936059 w 5336589"/>
                <a:gd name="connsiteY299" fmla="*/ 2262076 h 3831857"/>
                <a:gd name="connsiteX300" fmla="*/ 2888664 w 5336589"/>
                <a:gd name="connsiteY300" fmla="*/ 2232241 h 3831857"/>
                <a:gd name="connsiteX301" fmla="*/ 2892176 w 5336589"/>
                <a:gd name="connsiteY301" fmla="*/ 2241439 h 3831857"/>
                <a:gd name="connsiteX302" fmla="*/ 3197413 w 5336589"/>
                <a:gd name="connsiteY302" fmla="*/ 2572016 h 3831857"/>
                <a:gd name="connsiteX303" fmla="*/ 2851900 w 5336589"/>
                <a:gd name="connsiteY303" fmla="*/ 3329236 h 3831857"/>
                <a:gd name="connsiteX304" fmla="*/ 2217382 w 5336589"/>
                <a:gd name="connsiteY304" fmla="*/ 3831358 h 3831857"/>
                <a:gd name="connsiteX305" fmla="*/ 1875099 w 5336589"/>
                <a:gd name="connsiteY305" fmla="*/ 3416420 h 3831857"/>
                <a:gd name="connsiteX306" fmla="*/ 2183477 w 5336589"/>
                <a:gd name="connsiteY306" fmla="*/ 3187156 h 3831857"/>
                <a:gd name="connsiteX307" fmla="*/ 2167331 w 5336589"/>
                <a:gd name="connsiteY307" fmla="*/ 2938517 h 3831857"/>
                <a:gd name="connsiteX308" fmla="*/ 1454676 w 5336589"/>
                <a:gd name="connsiteY308" fmla="*/ 2978382 h 3831857"/>
                <a:gd name="connsiteX309" fmla="*/ 1425919 w 5336589"/>
                <a:gd name="connsiteY309" fmla="*/ 2944899 h 3831857"/>
                <a:gd name="connsiteX310" fmla="*/ 1429686 w 5336589"/>
                <a:gd name="connsiteY310" fmla="*/ 3047700 h 3831857"/>
                <a:gd name="connsiteX311" fmla="*/ 1424641 w 5336589"/>
                <a:gd name="connsiteY311" fmla="*/ 3321163 h 3831857"/>
                <a:gd name="connsiteX312" fmla="*/ 1305164 w 5336589"/>
                <a:gd name="connsiteY312" fmla="*/ 3577875 h 3831857"/>
                <a:gd name="connsiteX313" fmla="*/ 1284175 w 5336589"/>
                <a:gd name="connsiteY313" fmla="*/ 3774849 h 3831857"/>
                <a:gd name="connsiteX314" fmla="*/ 665804 w 5336589"/>
                <a:gd name="connsiteY314" fmla="*/ 3655372 h 3831857"/>
                <a:gd name="connsiteX315" fmla="*/ 725542 w 5336589"/>
                <a:gd name="connsiteY315" fmla="*/ 3450326 h 3831857"/>
                <a:gd name="connsiteX316" fmla="*/ 750895 w 5336589"/>
                <a:gd name="connsiteY316" fmla="*/ 3207010 h 3831857"/>
                <a:gd name="connsiteX317" fmla="*/ 751509 w 5336589"/>
                <a:gd name="connsiteY317" fmla="*/ 3191301 h 3831857"/>
                <a:gd name="connsiteX318" fmla="*/ 734096 w 5336589"/>
                <a:gd name="connsiteY318" fmla="*/ 3157825 h 3831857"/>
                <a:gd name="connsiteX319" fmla="*/ 404246 w 5336589"/>
                <a:gd name="connsiteY319" fmla="*/ 1879378 h 3831857"/>
                <a:gd name="connsiteX320" fmla="*/ 50283 w 5336589"/>
                <a:gd name="connsiteY320" fmla="*/ 1628721 h 3831857"/>
                <a:gd name="connsiteX321" fmla="*/ 48072 w 5336589"/>
                <a:gd name="connsiteY321" fmla="*/ 1607470 h 3831857"/>
                <a:gd name="connsiteX322" fmla="*/ 33171 w 5336589"/>
                <a:gd name="connsiteY322" fmla="*/ 1600317 h 3831857"/>
                <a:gd name="connsiteX323" fmla="*/ 216958 w 5336589"/>
                <a:gd name="connsiteY323" fmla="*/ 1233562 h 3831857"/>
                <a:gd name="connsiteX324" fmla="*/ 145882 w 5336589"/>
                <a:gd name="connsiteY324" fmla="*/ 1591444 h 3831857"/>
                <a:gd name="connsiteX325" fmla="*/ 126829 w 5336589"/>
                <a:gd name="connsiteY325" fmla="*/ 1602136 h 3831857"/>
                <a:gd name="connsiteX326" fmla="*/ 191997 w 5336589"/>
                <a:gd name="connsiteY326" fmla="*/ 1660810 h 3831857"/>
                <a:gd name="connsiteX327" fmla="*/ 1631301 w 5336589"/>
                <a:gd name="connsiteY327" fmla="*/ 808937 h 3831857"/>
                <a:gd name="connsiteX328" fmla="*/ 1087199 w 5336589"/>
                <a:gd name="connsiteY328" fmla="*/ 1638812 h 3831857"/>
                <a:gd name="connsiteX329" fmla="*/ 1393964 w 5336589"/>
                <a:gd name="connsiteY329" fmla="*/ 2124788 h 3831857"/>
                <a:gd name="connsiteX330" fmla="*/ 1284667 w 5336589"/>
                <a:gd name="connsiteY330" fmla="*/ 2283076 h 3831857"/>
                <a:gd name="connsiteX331" fmla="*/ 1253706 w 5336589"/>
                <a:gd name="connsiteY331" fmla="*/ 2334812 h 3831857"/>
                <a:gd name="connsiteX332" fmla="*/ 1261937 w 5336589"/>
                <a:gd name="connsiteY332" fmla="*/ 2345475 h 3831857"/>
                <a:gd name="connsiteX333" fmla="*/ 1663592 w 5336589"/>
                <a:gd name="connsiteY333" fmla="*/ 2664045 h 3831857"/>
                <a:gd name="connsiteX334" fmla="*/ 2368873 w 5336589"/>
                <a:gd name="connsiteY334" fmla="*/ 2377439 h 3831857"/>
                <a:gd name="connsiteX335" fmla="*/ 2379579 w 5336589"/>
                <a:gd name="connsiteY335" fmla="*/ 2376508 h 3831857"/>
                <a:gd name="connsiteX336" fmla="*/ 2397307 w 5336589"/>
                <a:gd name="connsiteY336" fmla="*/ 2372375 h 3831857"/>
                <a:gd name="connsiteX337" fmla="*/ 2519040 w 5336589"/>
                <a:gd name="connsiteY337" fmla="*/ 2376501 h 3831857"/>
                <a:gd name="connsiteX338" fmla="*/ 2532815 w 5336589"/>
                <a:gd name="connsiteY338" fmla="*/ 2379692 h 3831857"/>
                <a:gd name="connsiteX339" fmla="*/ 2581963 w 5336589"/>
                <a:gd name="connsiteY339" fmla="*/ 2387364 h 3831857"/>
                <a:gd name="connsiteX340" fmla="*/ 2629946 w 5336589"/>
                <a:gd name="connsiteY340" fmla="*/ 2399633 h 3831857"/>
                <a:gd name="connsiteX341" fmla="*/ 2667842 w 5336589"/>
                <a:gd name="connsiteY341" fmla="*/ 2405842 h 3831857"/>
                <a:gd name="connsiteX342" fmla="*/ 2654801 w 5336589"/>
                <a:gd name="connsiteY342" fmla="*/ 1005291 h 3831857"/>
                <a:gd name="connsiteX343" fmla="*/ 2542653 w 5336589"/>
                <a:gd name="connsiteY343" fmla="*/ 2246748 h 3831857"/>
                <a:gd name="connsiteX344" fmla="*/ 2229679 w 5336589"/>
                <a:gd name="connsiteY344" fmla="*/ 2278045 h 3831857"/>
                <a:gd name="connsiteX345" fmla="*/ 1741465 w 5336589"/>
                <a:gd name="connsiteY345" fmla="*/ 2519729 h 3831857"/>
                <a:gd name="connsiteX346" fmla="*/ 1455068 w 5336589"/>
                <a:gd name="connsiteY346" fmla="*/ 2351072 h 3831857"/>
                <a:gd name="connsiteX347" fmla="*/ 1760218 w 5336589"/>
                <a:gd name="connsiteY347" fmla="*/ 1719911 h 3831857"/>
                <a:gd name="connsiteX348" fmla="*/ 1499406 w 5336589"/>
                <a:gd name="connsiteY348" fmla="*/ 2017234 h 3831857"/>
                <a:gd name="connsiteX349" fmla="*/ 1248034 w 5336589"/>
                <a:gd name="connsiteY349" fmla="*/ 1619686 h 3831857"/>
                <a:gd name="connsiteX350" fmla="*/ 2083625 w 5336589"/>
                <a:gd name="connsiteY350" fmla="*/ 535832 h 3831857"/>
                <a:gd name="connsiteX351" fmla="*/ 2525883 w 5336589"/>
                <a:gd name="connsiteY351" fmla="*/ 443835 h 3831857"/>
                <a:gd name="connsiteX352" fmla="*/ 2569214 w 5336589"/>
                <a:gd name="connsiteY352" fmla="*/ 432048 h 3831857"/>
                <a:gd name="connsiteX353" fmla="*/ 2558835 w 5336589"/>
                <a:gd name="connsiteY353" fmla="*/ 430557 h 3831857"/>
                <a:gd name="connsiteX354" fmla="*/ 2302954 w 5336589"/>
                <a:gd name="connsiteY354" fmla="*/ 424679 h 3831857"/>
                <a:gd name="connsiteX355" fmla="*/ 3210329 w 5336589"/>
                <a:gd name="connsiteY355" fmla="*/ 56 h 3831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5336589" h="3831857">
                  <a:moveTo>
                    <a:pt x="3221632" y="2948204"/>
                  </a:moveTo>
                  <a:cubicBezTo>
                    <a:pt x="3280831" y="3014939"/>
                    <a:pt x="3340301" y="3155943"/>
                    <a:pt x="3360482" y="3245280"/>
                  </a:cubicBezTo>
                  <a:cubicBezTo>
                    <a:pt x="3380664" y="3334618"/>
                    <a:pt x="3328729" y="3417497"/>
                    <a:pt x="3342722" y="3484231"/>
                  </a:cubicBezTo>
                  <a:cubicBezTo>
                    <a:pt x="3370169" y="3545045"/>
                    <a:pt x="3413764" y="3592944"/>
                    <a:pt x="3396003" y="3655372"/>
                  </a:cubicBezTo>
                  <a:cubicBezTo>
                    <a:pt x="3369633" y="3746055"/>
                    <a:pt x="3197951" y="3719416"/>
                    <a:pt x="3098926" y="3719954"/>
                  </a:cubicBezTo>
                  <a:cubicBezTo>
                    <a:pt x="2999901" y="3720493"/>
                    <a:pt x="2777093" y="3791532"/>
                    <a:pt x="2801850" y="3658602"/>
                  </a:cubicBezTo>
                  <a:cubicBezTo>
                    <a:pt x="3046722" y="3476697"/>
                    <a:pt x="3139828" y="3272188"/>
                    <a:pt x="3221632" y="2948204"/>
                  </a:cubicBezTo>
                  <a:close/>
                  <a:moveTo>
                    <a:pt x="325133" y="2651130"/>
                  </a:moveTo>
                  <a:cubicBezTo>
                    <a:pt x="421467" y="2964889"/>
                    <a:pt x="482283" y="3070372"/>
                    <a:pt x="628668" y="3277571"/>
                  </a:cubicBezTo>
                  <a:cubicBezTo>
                    <a:pt x="582922" y="3355608"/>
                    <a:pt x="572696" y="3411038"/>
                    <a:pt x="467213" y="3408348"/>
                  </a:cubicBezTo>
                  <a:cubicBezTo>
                    <a:pt x="339663" y="3396510"/>
                    <a:pt x="82951" y="3113426"/>
                    <a:pt x="78108" y="3017631"/>
                  </a:cubicBezTo>
                  <a:cubicBezTo>
                    <a:pt x="78106" y="2940671"/>
                    <a:pt x="237948" y="2750693"/>
                    <a:pt x="325133" y="2651130"/>
                  </a:cubicBezTo>
                  <a:close/>
                  <a:moveTo>
                    <a:pt x="3683393" y="922762"/>
                  </a:moveTo>
                  <a:cubicBezTo>
                    <a:pt x="3501488" y="978733"/>
                    <a:pt x="3379318" y="995149"/>
                    <a:pt x="3249079" y="1251322"/>
                  </a:cubicBezTo>
                  <a:cubicBezTo>
                    <a:pt x="3323214" y="1176380"/>
                    <a:pt x="3331353" y="1180552"/>
                    <a:pt x="3336263" y="1177862"/>
                  </a:cubicBezTo>
                  <a:cubicBezTo>
                    <a:pt x="3373527" y="1269912"/>
                    <a:pt x="3396260" y="1276391"/>
                    <a:pt x="3477115" y="1303862"/>
                  </a:cubicBezTo>
                  <a:cubicBezTo>
                    <a:pt x="3476782" y="1305055"/>
                    <a:pt x="3435156" y="1345773"/>
                    <a:pt x="3386316" y="1441839"/>
                  </a:cubicBezTo>
                  <a:cubicBezTo>
                    <a:pt x="3540773" y="1271236"/>
                    <a:pt x="3648411" y="1179743"/>
                    <a:pt x="3860993" y="1094711"/>
                  </a:cubicBezTo>
                  <a:cubicBezTo>
                    <a:pt x="3767351" y="1103389"/>
                    <a:pt x="3740306" y="1125213"/>
                    <a:pt x="3736440" y="1125953"/>
                  </a:cubicBezTo>
                  <a:cubicBezTo>
                    <a:pt x="3722118" y="1027547"/>
                    <a:pt x="3693273" y="1001796"/>
                    <a:pt x="3611142" y="974427"/>
                  </a:cubicBezTo>
                  <a:cubicBezTo>
                    <a:pt x="3630988" y="945095"/>
                    <a:pt x="3682719" y="925858"/>
                    <a:pt x="3683393" y="922762"/>
                  </a:cubicBezTo>
                  <a:close/>
                  <a:moveTo>
                    <a:pt x="3202477" y="625701"/>
                  </a:moveTo>
                  <a:cubicBezTo>
                    <a:pt x="3113729" y="632735"/>
                    <a:pt x="3077129" y="706716"/>
                    <a:pt x="3048875" y="991380"/>
                  </a:cubicBezTo>
                  <a:cubicBezTo>
                    <a:pt x="3133908" y="793330"/>
                    <a:pt x="3189879" y="680851"/>
                    <a:pt x="3391159" y="649097"/>
                  </a:cubicBezTo>
                  <a:cubicBezTo>
                    <a:pt x="3331960" y="640082"/>
                    <a:pt x="3283657" y="629857"/>
                    <a:pt x="3243832" y="626367"/>
                  </a:cubicBezTo>
                  <a:cubicBezTo>
                    <a:pt x="3228898" y="625059"/>
                    <a:pt x="3215155" y="624697"/>
                    <a:pt x="3202477" y="625701"/>
                  </a:cubicBezTo>
                  <a:close/>
                  <a:moveTo>
                    <a:pt x="2674610" y="621340"/>
                  </a:moveTo>
                  <a:lnTo>
                    <a:pt x="2673929" y="621683"/>
                  </a:lnTo>
                  <a:lnTo>
                    <a:pt x="2673248" y="621683"/>
                  </a:lnTo>
                  <a:lnTo>
                    <a:pt x="2671886" y="622370"/>
                  </a:lnTo>
                  <a:lnTo>
                    <a:pt x="2670184" y="622713"/>
                  </a:lnTo>
                  <a:lnTo>
                    <a:pt x="2667800" y="623400"/>
                  </a:lnTo>
                  <a:lnTo>
                    <a:pt x="2665416" y="624087"/>
                  </a:lnTo>
                  <a:lnTo>
                    <a:pt x="2662692" y="624773"/>
                  </a:lnTo>
                  <a:lnTo>
                    <a:pt x="2659628" y="625803"/>
                  </a:lnTo>
                  <a:lnTo>
                    <a:pt x="2655542" y="627176"/>
                  </a:lnTo>
                  <a:lnTo>
                    <a:pt x="2651796" y="628206"/>
                  </a:lnTo>
                  <a:lnTo>
                    <a:pt x="2647029" y="629236"/>
                  </a:lnTo>
                  <a:lnTo>
                    <a:pt x="2642602" y="630610"/>
                  </a:lnTo>
                  <a:lnTo>
                    <a:pt x="2637495" y="631983"/>
                  </a:lnTo>
                  <a:lnTo>
                    <a:pt x="2631706" y="633356"/>
                  </a:lnTo>
                  <a:lnTo>
                    <a:pt x="2625577" y="634729"/>
                  </a:lnTo>
                  <a:lnTo>
                    <a:pt x="2619448" y="636103"/>
                  </a:lnTo>
                  <a:lnTo>
                    <a:pt x="2612297" y="637819"/>
                  </a:lnTo>
                  <a:lnTo>
                    <a:pt x="2605487" y="639536"/>
                  </a:lnTo>
                  <a:lnTo>
                    <a:pt x="2597655" y="641252"/>
                  </a:lnTo>
                  <a:lnTo>
                    <a:pt x="2589483" y="642969"/>
                  </a:lnTo>
                  <a:lnTo>
                    <a:pt x="2580970" y="644685"/>
                  </a:lnTo>
                  <a:lnTo>
                    <a:pt x="2572458" y="646402"/>
                  </a:lnTo>
                  <a:lnTo>
                    <a:pt x="2562923" y="648462"/>
                  </a:lnTo>
                  <a:lnTo>
                    <a:pt x="2553049" y="650522"/>
                  </a:lnTo>
                  <a:lnTo>
                    <a:pt x="2543174" y="652238"/>
                  </a:lnTo>
                  <a:lnTo>
                    <a:pt x="2532618" y="654298"/>
                  </a:lnTo>
                  <a:lnTo>
                    <a:pt x="2521381" y="656358"/>
                  </a:lnTo>
                  <a:lnTo>
                    <a:pt x="2510145" y="658075"/>
                  </a:lnTo>
                  <a:lnTo>
                    <a:pt x="2498227" y="660135"/>
                  </a:lnTo>
                  <a:lnTo>
                    <a:pt x="2485968" y="662194"/>
                  </a:lnTo>
                  <a:lnTo>
                    <a:pt x="2473029" y="664254"/>
                  </a:lnTo>
                  <a:lnTo>
                    <a:pt x="2449534" y="667687"/>
                  </a:lnTo>
                  <a:lnTo>
                    <a:pt x="2426720" y="670777"/>
                  </a:lnTo>
                  <a:lnTo>
                    <a:pt x="2404927" y="673524"/>
                  </a:lnTo>
                  <a:lnTo>
                    <a:pt x="2383475" y="675584"/>
                  </a:lnTo>
                  <a:lnTo>
                    <a:pt x="2363045" y="677300"/>
                  </a:lnTo>
                  <a:lnTo>
                    <a:pt x="2343636" y="678674"/>
                  </a:lnTo>
                  <a:lnTo>
                    <a:pt x="2324227" y="680047"/>
                  </a:lnTo>
                  <a:lnTo>
                    <a:pt x="2305839" y="681420"/>
                  </a:lnTo>
                  <a:lnTo>
                    <a:pt x="2288814" y="683136"/>
                  </a:lnTo>
                  <a:lnTo>
                    <a:pt x="2271789" y="684853"/>
                  </a:lnTo>
                  <a:lnTo>
                    <a:pt x="2255444" y="687256"/>
                  </a:lnTo>
                  <a:lnTo>
                    <a:pt x="2240462" y="689659"/>
                  </a:lnTo>
                  <a:lnTo>
                    <a:pt x="2225820" y="692749"/>
                  </a:lnTo>
                  <a:lnTo>
                    <a:pt x="2211859" y="696526"/>
                  </a:lnTo>
                  <a:lnTo>
                    <a:pt x="2198920" y="701332"/>
                  </a:lnTo>
                  <a:lnTo>
                    <a:pt x="2186661" y="706825"/>
                  </a:lnTo>
                  <a:lnTo>
                    <a:pt x="2169295" y="717125"/>
                  </a:lnTo>
                  <a:lnTo>
                    <a:pt x="2153292" y="728454"/>
                  </a:lnTo>
                  <a:lnTo>
                    <a:pt x="2138309" y="740470"/>
                  </a:lnTo>
                  <a:lnTo>
                    <a:pt x="2124008" y="753172"/>
                  </a:lnTo>
                  <a:lnTo>
                    <a:pt x="2111068" y="766905"/>
                  </a:lnTo>
                  <a:lnTo>
                    <a:pt x="2098810" y="782011"/>
                  </a:lnTo>
                  <a:lnTo>
                    <a:pt x="2087233" y="797460"/>
                  </a:lnTo>
                  <a:lnTo>
                    <a:pt x="2076677" y="813939"/>
                  </a:lnTo>
                  <a:lnTo>
                    <a:pt x="2066462" y="831448"/>
                  </a:lnTo>
                  <a:lnTo>
                    <a:pt x="2056587" y="850330"/>
                  </a:lnTo>
                  <a:lnTo>
                    <a:pt x="2047393" y="869556"/>
                  </a:lnTo>
                  <a:lnTo>
                    <a:pt x="2039221" y="890498"/>
                  </a:lnTo>
                  <a:lnTo>
                    <a:pt x="2030708" y="912470"/>
                  </a:lnTo>
                  <a:lnTo>
                    <a:pt x="2022196" y="935472"/>
                  </a:lnTo>
                  <a:lnTo>
                    <a:pt x="2014024" y="959847"/>
                  </a:lnTo>
                  <a:lnTo>
                    <a:pt x="2006532" y="985252"/>
                  </a:lnTo>
                  <a:lnTo>
                    <a:pt x="2001425" y="1000358"/>
                  </a:lnTo>
                  <a:lnTo>
                    <a:pt x="1996998" y="1015807"/>
                  </a:lnTo>
                  <a:lnTo>
                    <a:pt x="1989166" y="1046705"/>
                  </a:lnTo>
                  <a:lnTo>
                    <a:pt x="1982356" y="1078290"/>
                  </a:lnTo>
                  <a:lnTo>
                    <a:pt x="1977249" y="1109875"/>
                  </a:lnTo>
                  <a:lnTo>
                    <a:pt x="1972822" y="1140430"/>
                  </a:lnTo>
                  <a:lnTo>
                    <a:pt x="1969417" y="1170642"/>
                  </a:lnTo>
                  <a:lnTo>
                    <a:pt x="1968055" y="1185404"/>
                  </a:lnTo>
                  <a:lnTo>
                    <a:pt x="1967033" y="1199480"/>
                  </a:lnTo>
                  <a:lnTo>
                    <a:pt x="1966012" y="1213556"/>
                  </a:lnTo>
                  <a:lnTo>
                    <a:pt x="1965331" y="1227288"/>
                  </a:lnTo>
                  <a:lnTo>
                    <a:pt x="1964650" y="1240334"/>
                  </a:lnTo>
                  <a:lnTo>
                    <a:pt x="1963969" y="1252693"/>
                  </a:lnTo>
                  <a:lnTo>
                    <a:pt x="1963628" y="1264709"/>
                  </a:lnTo>
                  <a:lnTo>
                    <a:pt x="1963288" y="1276039"/>
                  </a:lnTo>
                  <a:lnTo>
                    <a:pt x="1963288" y="1287025"/>
                  </a:lnTo>
                  <a:lnTo>
                    <a:pt x="1962947" y="1296638"/>
                  </a:lnTo>
                  <a:lnTo>
                    <a:pt x="1962947" y="1305907"/>
                  </a:lnTo>
                  <a:lnTo>
                    <a:pt x="1963288" y="1314490"/>
                  </a:lnTo>
                  <a:lnTo>
                    <a:pt x="1963288" y="1322386"/>
                  </a:lnTo>
                  <a:lnTo>
                    <a:pt x="1963288" y="1328909"/>
                  </a:lnTo>
                  <a:lnTo>
                    <a:pt x="1963288" y="1335089"/>
                  </a:lnTo>
                  <a:lnTo>
                    <a:pt x="1963628" y="1339895"/>
                  </a:lnTo>
                  <a:lnTo>
                    <a:pt x="1963628" y="1343671"/>
                  </a:lnTo>
                  <a:lnTo>
                    <a:pt x="1963969" y="1346761"/>
                  </a:lnTo>
                  <a:lnTo>
                    <a:pt x="1963969" y="1348135"/>
                  </a:lnTo>
                  <a:lnTo>
                    <a:pt x="1963969" y="1348821"/>
                  </a:lnTo>
                  <a:lnTo>
                    <a:pt x="1964309" y="1348135"/>
                  </a:lnTo>
                  <a:lnTo>
                    <a:pt x="1964309" y="1347105"/>
                  </a:lnTo>
                  <a:lnTo>
                    <a:pt x="1964650" y="1345731"/>
                  </a:lnTo>
                  <a:lnTo>
                    <a:pt x="1965331" y="1343671"/>
                  </a:lnTo>
                  <a:lnTo>
                    <a:pt x="1965671" y="1341612"/>
                  </a:lnTo>
                  <a:lnTo>
                    <a:pt x="1966352" y="1339208"/>
                  </a:lnTo>
                  <a:lnTo>
                    <a:pt x="1967033" y="1336119"/>
                  </a:lnTo>
                  <a:lnTo>
                    <a:pt x="1969076" y="1329252"/>
                  </a:lnTo>
                  <a:lnTo>
                    <a:pt x="1971119" y="1321699"/>
                  </a:lnTo>
                  <a:lnTo>
                    <a:pt x="1973844" y="1312430"/>
                  </a:lnTo>
                  <a:lnTo>
                    <a:pt x="1976568" y="1302131"/>
                  </a:lnTo>
                  <a:lnTo>
                    <a:pt x="1979632" y="1290801"/>
                  </a:lnTo>
                  <a:lnTo>
                    <a:pt x="1983037" y="1278442"/>
                  </a:lnTo>
                  <a:lnTo>
                    <a:pt x="1987123" y="1265739"/>
                  </a:lnTo>
                  <a:lnTo>
                    <a:pt x="1991209" y="1252007"/>
                  </a:lnTo>
                  <a:lnTo>
                    <a:pt x="1995636" y="1237244"/>
                  </a:lnTo>
                  <a:lnTo>
                    <a:pt x="2000403" y="1222482"/>
                  </a:lnTo>
                  <a:lnTo>
                    <a:pt x="2004830" y="1207033"/>
                  </a:lnTo>
                  <a:lnTo>
                    <a:pt x="2010278" y="1190897"/>
                  </a:lnTo>
                  <a:lnTo>
                    <a:pt x="2021174" y="1158626"/>
                  </a:lnTo>
                  <a:lnTo>
                    <a:pt x="2032752" y="1125324"/>
                  </a:lnTo>
                  <a:lnTo>
                    <a:pt x="2045010" y="1092366"/>
                  </a:lnTo>
                  <a:lnTo>
                    <a:pt x="2051479" y="1076230"/>
                  </a:lnTo>
                  <a:lnTo>
                    <a:pt x="2057609" y="1059751"/>
                  </a:lnTo>
                  <a:lnTo>
                    <a:pt x="2064419" y="1044302"/>
                  </a:lnTo>
                  <a:lnTo>
                    <a:pt x="2070888" y="1029540"/>
                  </a:lnTo>
                  <a:lnTo>
                    <a:pt x="2077699" y="1014434"/>
                  </a:lnTo>
                  <a:lnTo>
                    <a:pt x="2084849" y="1000701"/>
                  </a:lnTo>
                  <a:lnTo>
                    <a:pt x="2091319" y="987312"/>
                  </a:lnTo>
                  <a:lnTo>
                    <a:pt x="2098470" y="974953"/>
                  </a:lnTo>
                  <a:lnTo>
                    <a:pt x="2105620" y="963624"/>
                  </a:lnTo>
                  <a:lnTo>
                    <a:pt x="2112090" y="952981"/>
                  </a:lnTo>
                  <a:lnTo>
                    <a:pt x="2117198" y="945428"/>
                  </a:lnTo>
                  <a:lnTo>
                    <a:pt x="2121965" y="937875"/>
                  </a:lnTo>
                  <a:lnTo>
                    <a:pt x="2126732" y="930665"/>
                  </a:lnTo>
                  <a:lnTo>
                    <a:pt x="2131158" y="923799"/>
                  </a:lnTo>
                  <a:lnTo>
                    <a:pt x="2140012" y="911440"/>
                  </a:lnTo>
                  <a:lnTo>
                    <a:pt x="2148184" y="900454"/>
                  </a:lnTo>
                  <a:lnTo>
                    <a:pt x="2155335" y="890498"/>
                  </a:lnTo>
                  <a:lnTo>
                    <a:pt x="2162485" y="881572"/>
                  </a:lnTo>
                  <a:lnTo>
                    <a:pt x="2168614" y="874019"/>
                  </a:lnTo>
                  <a:lnTo>
                    <a:pt x="2174744" y="867496"/>
                  </a:lnTo>
                  <a:lnTo>
                    <a:pt x="2179511" y="862003"/>
                  </a:lnTo>
                  <a:lnTo>
                    <a:pt x="2184278" y="857196"/>
                  </a:lnTo>
                  <a:lnTo>
                    <a:pt x="2188023" y="853763"/>
                  </a:lnTo>
                  <a:lnTo>
                    <a:pt x="2191429" y="851017"/>
                  </a:lnTo>
                  <a:lnTo>
                    <a:pt x="2194153" y="848614"/>
                  </a:lnTo>
                  <a:lnTo>
                    <a:pt x="2195855" y="846897"/>
                  </a:lnTo>
                  <a:lnTo>
                    <a:pt x="2196877" y="846210"/>
                  </a:lnTo>
                  <a:lnTo>
                    <a:pt x="2197217" y="845867"/>
                  </a:lnTo>
                  <a:lnTo>
                    <a:pt x="2196877" y="846554"/>
                  </a:lnTo>
                  <a:lnTo>
                    <a:pt x="2196196" y="848270"/>
                  </a:lnTo>
                  <a:lnTo>
                    <a:pt x="2195515" y="851360"/>
                  </a:lnTo>
                  <a:lnTo>
                    <a:pt x="2194153" y="855137"/>
                  </a:lnTo>
                  <a:lnTo>
                    <a:pt x="2192791" y="859600"/>
                  </a:lnTo>
                  <a:lnTo>
                    <a:pt x="2191088" y="865436"/>
                  </a:lnTo>
                  <a:lnTo>
                    <a:pt x="2189385" y="871272"/>
                  </a:lnTo>
                  <a:lnTo>
                    <a:pt x="2188023" y="878139"/>
                  </a:lnTo>
                  <a:lnTo>
                    <a:pt x="2186661" y="885691"/>
                  </a:lnTo>
                  <a:lnTo>
                    <a:pt x="2185299" y="892901"/>
                  </a:lnTo>
                  <a:lnTo>
                    <a:pt x="2184278" y="901141"/>
                  </a:lnTo>
                  <a:lnTo>
                    <a:pt x="2183937" y="909380"/>
                  </a:lnTo>
                  <a:lnTo>
                    <a:pt x="2183597" y="917620"/>
                  </a:lnTo>
                  <a:lnTo>
                    <a:pt x="2183937" y="925859"/>
                  </a:lnTo>
                  <a:lnTo>
                    <a:pt x="2184959" y="934442"/>
                  </a:lnTo>
                  <a:lnTo>
                    <a:pt x="2186661" y="942338"/>
                  </a:lnTo>
                  <a:lnTo>
                    <a:pt x="2188704" y="960190"/>
                  </a:lnTo>
                  <a:lnTo>
                    <a:pt x="2191769" y="977356"/>
                  </a:lnTo>
                  <a:lnTo>
                    <a:pt x="2194493" y="993835"/>
                  </a:lnTo>
                  <a:lnTo>
                    <a:pt x="2197558" y="1009628"/>
                  </a:lnTo>
                  <a:lnTo>
                    <a:pt x="2200963" y="1024733"/>
                  </a:lnTo>
                  <a:lnTo>
                    <a:pt x="2204708" y="1038809"/>
                  </a:lnTo>
                  <a:lnTo>
                    <a:pt x="2208113" y="1052198"/>
                  </a:lnTo>
                  <a:lnTo>
                    <a:pt x="2211859" y="1064214"/>
                  </a:lnTo>
                  <a:lnTo>
                    <a:pt x="2215264" y="1075200"/>
                  </a:lnTo>
                  <a:lnTo>
                    <a:pt x="2218329" y="1084470"/>
                  </a:lnTo>
                  <a:lnTo>
                    <a:pt x="2221393" y="1093053"/>
                  </a:lnTo>
                  <a:lnTo>
                    <a:pt x="2222415" y="1096829"/>
                  </a:lnTo>
                  <a:lnTo>
                    <a:pt x="2224117" y="1100262"/>
                  </a:lnTo>
                  <a:lnTo>
                    <a:pt x="2225139" y="1103352"/>
                  </a:lnTo>
                  <a:lnTo>
                    <a:pt x="2226160" y="1105755"/>
                  </a:lnTo>
                  <a:lnTo>
                    <a:pt x="2227182" y="1108158"/>
                  </a:lnTo>
                  <a:lnTo>
                    <a:pt x="2227863" y="1110218"/>
                  </a:lnTo>
                  <a:lnTo>
                    <a:pt x="2228203" y="1111592"/>
                  </a:lnTo>
                  <a:lnTo>
                    <a:pt x="2228884" y="1112622"/>
                  </a:lnTo>
                  <a:lnTo>
                    <a:pt x="2228884" y="1113308"/>
                  </a:lnTo>
                  <a:lnTo>
                    <a:pt x="2229225" y="1113651"/>
                  </a:lnTo>
                  <a:lnTo>
                    <a:pt x="2229225" y="1112965"/>
                  </a:lnTo>
                  <a:lnTo>
                    <a:pt x="2229225" y="1111248"/>
                  </a:lnTo>
                  <a:lnTo>
                    <a:pt x="2229565" y="1108158"/>
                  </a:lnTo>
                  <a:lnTo>
                    <a:pt x="2229565" y="1104382"/>
                  </a:lnTo>
                  <a:lnTo>
                    <a:pt x="2229906" y="1099919"/>
                  </a:lnTo>
                  <a:lnTo>
                    <a:pt x="2230587" y="1094083"/>
                  </a:lnTo>
                  <a:lnTo>
                    <a:pt x="2231268" y="1087560"/>
                  </a:lnTo>
                  <a:lnTo>
                    <a:pt x="2231949" y="1080350"/>
                  </a:lnTo>
                  <a:lnTo>
                    <a:pt x="2232630" y="1072111"/>
                  </a:lnTo>
                  <a:lnTo>
                    <a:pt x="2233652" y="1063528"/>
                  </a:lnTo>
                  <a:lnTo>
                    <a:pt x="2235014" y="1054258"/>
                  </a:lnTo>
                  <a:lnTo>
                    <a:pt x="2236376" y="1043959"/>
                  </a:lnTo>
                  <a:lnTo>
                    <a:pt x="2238078" y="1033659"/>
                  </a:lnTo>
                  <a:lnTo>
                    <a:pt x="2239781" y="1022673"/>
                  </a:lnTo>
                  <a:lnTo>
                    <a:pt x="2241483" y="1011344"/>
                  </a:lnTo>
                  <a:lnTo>
                    <a:pt x="2243526" y="999671"/>
                  </a:lnTo>
                  <a:lnTo>
                    <a:pt x="2248634" y="975640"/>
                  </a:lnTo>
                  <a:lnTo>
                    <a:pt x="2254423" y="950921"/>
                  </a:lnTo>
                  <a:lnTo>
                    <a:pt x="2261233" y="926202"/>
                  </a:lnTo>
                  <a:lnTo>
                    <a:pt x="2269405" y="901484"/>
                  </a:lnTo>
                  <a:lnTo>
                    <a:pt x="2278599" y="877452"/>
                  </a:lnTo>
                  <a:lnTo>
                    <a:pt x="2283706" y="865779"/>
                  </a:lnTo>
                  <a:lnTo>
                    <a:pt x="2289154" y="854450"/>
                  </a:lnTo>
                  <a:lnTo>
                    <a:pt x="2294603" y="843464"/>
                  </a:lnTo>
                  <a:lnTo>
                    <a:pt x="2301072" y="833164"/>
                  </a:lnTo>
                  <a:lnTo>
                    <a:pt x="2307201" y="823208"/>
                  </a:lnTo>
                  <a:lnTo>
                    <a:pt x="2314012" y="813939"/>
                  </a:lnTo>
                  <a:lnTo>
                    <a:pt x="2322184" y="804326"/>
                  </a:lnTo>
                  <a:lnTo>
                    <a:pt x="2330697" y="795057"/>
                  </a:lnTo>
                  <a:lnTo>
                    <a:pt x="2339890" y="786131"/>
                  </a:lnTo>
                  <a:lnTo>
                    <a:pt x="2349765" y="777548"/>
                  </a:lnTo>
                  <a:lnTo>
                    <a:pt x="2359640" y="769995"/>
                  </a:lnTo>
                  <a:lnTo>
                    <a:pt x="2370196" y="762099"/>
                  </a:lnTo>
                  <a:lnTo>
                    <a:pt x="2381092" y="754889"/>
                  </a:lnTo>
                  <a:lnTo>
                    <a:pt x="2392329" y="748366"/>
                  </a:lnTo>
                  <a:lnTo>
                    <a:pt x="2403906" y="741843"/>
                  </a:lnTo>
                  <a:lnTo>
                    <a:pt x="2415824" y="736007"/>
                  </a:lnTo>
                  <a:lnTo>
                    <a:pt x="2440681" y="725021"/>
                  </a:lnTo>
                  <a:lnTo>
                    <a:pt x="2467240" y="715408"/>
                  </a:lnTo>
                  <a:lnTo>
                    <a:pt x="2494141" y="706825"/>
                  </a:lnTo>
                  <a:lnTo>
                    <a:pt x="2508783" y="702362"/>
                  </a:lnTo>
                  <a:lnTo>
                    <a:pt x="2523424" y="697212"/>
                  </a:lnTo>
                  <a:lnTo>
                    <a:pt x="2538407" y="691033"/>
                  </a:lnTo>
                  <a:lnTo>
                    <a:pt x="2554070" y="684510"/>
                  </a:lnTo>
                  <a:lnTo>
                    <a:pt x="2569053" y="677643"/>
                  </a:lnTo>
                  <a:lnTo>
                    <a:pt x="2584375" y="670434"/>
                  </a:lnTo>
                  <a:lnTo>
                    <a:pt x="2598677" y="663224"/>
                  </a:lnTo>
                  <a:lnTo>
                    <a:pt x="2612297" y="656015"/>
                  </a:lnTo>
                  <a:lnTo>
                    <a:pt x="2625236" y="649149"/>
                  </a:lnTo>
                  <a:lnTo>
                    <a:pt x="2637495" y="642969"/>
                  </a:lnTo>
                  <a:lnTo>
                    <a:pt x="2642602" y="639879"/>
                  </a:lnTo>
                  <a:lnTo>
                    <a:pt x="2648051" y="636789"/>
                  </a:lnTo>
                  <a:lnTo>
                    <a:pt x="2652818" y="634043"/>
                  </a:lnTo>
                  <a:lnTo>
                    <a:pt x="2656904" y="631639"/>
                  </a:lnTo>
                  <a:lnTo>
                    <a:pt x="2660990" y="629580"/>
                  </a:lnTo>
                  <a:lnTo>
                    <a:pt x="2664395" y="627520"/>
                  </a:lnTo>
                  <a:lnTo>
                    <a:pt x="2667460" y="625460"/>
                  </a:lnTo>
                  <a:lnTo>
                    <a:pt x="2670184" y="624087"/>
                  </a:lnTo>
                  <a:lnTo>
                    <a:pt x="2672227" y="622713"/>
                  </a:lnTo>
                  <a:lnTo>
                    <a:pt x="2673589" y="622027"/>
                  </a:lnTo>
                  <a:close/>
                  <a:moveTo>
                    <a:pt x="5059675" y="226079"/>
                  </a:moveTo>
                  <a:cubicBezTo>
                    <a:pt x="5039238" y="208231"/>
                    <a:pt x="4954026" y="346116"/>
                    <a:pt x="4892564" y="394121"/>
                  </a:cubicBezTo>
                  <a:cubicBezTo>
                    <a:pt x="4831100" y="442127"/>
                    <a:pt x="4691408" y="483172"/>
                    <a:pt x="4690898" y="514113"/>
                  </a:cubicBezTo>
                  <a:cubicBezTo>
                    <a:pt x="4690387" y="545056"/>
                    <a:pt x="4821977" y="552705"/>
                    <a:pt x="4911291" y="478060"/>
                  </a:cubicBezTo>
                  <a:cubicBezTo>
                    <a:pt x="5000605" y="403415"/>
                    <a:pt x="5088588" y="263302"/>
                    <a:pt x="5059675" y="226079"/>
                  </a:cubicBezTo>
                  <a:close/>
                  <a:moveTo>
                    <a:pt x="3210329" y="56"/>
                  </a:moveTo>
                  <a:cubicBezTo>
                    <a:pt x="3464351" y="-3711"/>
                    <a:pt x="3758737" y="181422"/>
                    <a:pt x="3977240" y="469886"/>
                  </a:cubicBezTo>
                  <a:cubicBezTo>
                    <a:pt x="3925171" y="474730"/>
                    <a:pt x="3857662" y="485022"/>
                    <a:pt x="3837379" y="513025"/>
                  </a:cubicBezTo>
                  <a:lnTo>
                    <a:pt x="3837216" y="513453"/>
                  </a:lnTo>
                  <a:lnTo>
                    <a:pt x="3857107" y="514512"/>
                  </a:lnTo>
                  <a:cubicBezTo>
                    <a:pt x="3942526" y="520137"/>
                    <a:pt x="4036574" y="529622"/>
                    <a:pt x="4072498" y="540924"/>
                  </a:cubicBezTo>
                  <a:cubicBezTo>
                    <a:pt x="4139771" y="555992"/>
                    <a:pt x="4291000" y="743818"/>
                    <a:pt x="4279160" y="804094"/>
                  </a:cubicBezTo>
                  <a:cubicBezTo>
                    <a:pt x="4278622" y="859258"/>
                    <a:pt x="4172600" y="828850"/>
                    <a:pt x="4075728" y="850916"/>
                  </a:cubicBezTo>
                  <a:cubicBezTo>
                    <a:pt x="4063619" y="853673"/>
                    <a:pt x="4049379" y="857971"/>
                    <a:pt x="4033634" y="863267"/>
                  </a:cubicBezTo>
                  <a:lnTo>
                    <a:pt x="4005556" y="873348"/>
                  </a:lnTo>
                  <a:lnTo>
                    <a:pt x="4039703" y="873116"/>
                  </a:lnTo>
                  <a:cubicBezTo>
                    <a:pt x="4088946" y="869382"/>
                    <a:pt x="4113670" y="863833"/>
                    <a:pt x="4162913" y="930029"/>
                  </a:cubicBezTo>
                  <a:cubicBezTo>
                    <a:pt x="4198971" y="1036588"/>
                    <a:pt x="4175292" y="1015600"/>
                    <a:pt x="4101560" y="1070494"/>
                  </a:cubicBezTo>
                  <a:cubicBezTo>
                    <a:pt x="4217807" y="1040357"/>
                    <a:pt x="4251713" y="1029592"/>
                    <a:pt x="4314680" y="1072108"/>
                  </a:cubicBezTo>
                  <a:cubicBezTo>
                    <a:pt x="4393793" y="1198042"/>
                    <a:pt x="4337283" y="1207731"/>
                    <a:pt x="4290462" y="1261010"/>
                  </a:cubicBezTo>
                  <a:cubicBezTo>
                    <a:pt x="4363116" y="1199657"/>
                    <a:pt x="4422855" y="1141534"/>
                    <a:pt x="4518113" y="1217417"/>
                  </a:cubicBezTo>
                  <a:cubicBezTo>
                    <a:pt x="4599244" y="1280788"/>
                    <a:pt x="4527800" y="1431344"/>
                    <a:pt x="4459762" y="1562828"/>
                  </a:cubicBezTo>
                  <a:lnTo>
                    <a:pt x="4454121" y="1573706"/>
                  </a:lnTo>
                  <a:lnTo>
                    <a:pt x="4480917" y="1552564"/>
                  </a:lnTo>
                  <a:cubicBezTo>
                    <a:pt x="4839997" y="1212535"/>
                    <a:pt x="4557671" y="564132"/>
                    <a:pt x="4634362" y="452124"/>
                  </a:cubicBezTo>
                  <a:cubicBezTo>
                    <a:pt x="4673111" y="392386"/>
                    <a:pt x="4736079" y="403689"/>
                    <a:pt x="4879773" y="327805"/>
                  </a:cubicBezTo>
                  <a:cubicBezTo>
                    <a:pt x="4926595" y="300358"/>
                    <a:pt x="4976377" y="116569"/>
                    <a:pt x="5047686" y="134060"/>
                  </a:cubicBezTo>
                  <a:cubicBezTo>
                    <a:pt x="5359562" y="210554"/>
                    <a:pt x="5577796" y="1794884"/>
                    <a:pt x="4832951" y="2253951"/>
                  </a:cubicBezTo>
                  <a:cubicBezTo>
                    <a:pt x="4561002" y="2402288"/>
                    <a:pt x="4081872" y="2483928"/>
                    <a:pt x="3533920" y="1925500"/>
                  </a:cubicBezTo>
                  <a:lnTo>
                    <a:pt x="3502202" y="1890933"/>
                  </a:lnTo>
                  <a:lnTo>
                    <a:pt x="3485470" y="1977379"/>
                  </a:lnTo>
                  <a:cubicBezTo>
                    <a:pt x="3423986" y="2418763"/>
                    <a:pt x="3714069" y="2838416"/>
                    <a:pt x="3988542" y="2378272"/>
                  </a:cubicBezTo>
                  <a:lnTo>
                    <a:pt x="4048279" y="2383116"/>
                  </a:lnTo>
                  <a:cubicBezTo>
                    <a:pt x="3983698" y="2573092"/>
                    <a:pt x="3852920" y="2746925"/>
                    <a:pt x="3668861" y="2715711"/>
                  </a:cubicBezTo>
                  <a:cubicBezTo>
                    <a:pt x="3453050" y="2688264"/>
                    <a:pt x="3361559" y="2544569"/>
                    <a:pt x="3282985" y="2454156"/>
                  </a:cubicBezTo>
                  <a:cubicBezTo>
                    <a:pt x="3176425" y="2428727"/>
                    <a:pt x="3055334" y="2341542"/>
                    <a:pt x="2936059" y="2262076"/>
                  </a:cubicBezTo>
                  <a:lnTo>
                    <a:pt x="2888664" y="2232241"/>
                  </a:lnTo>
                  <a:lnTo>
                    <a:pt x="2892176" y="2241439"/>
                  </a:lnTo>
                  <a:cubicBezTo>
                    <a:pt x="2970350" y="2414538"/>
                    <a:pt x="3104703" y="2525456"/>
                    <a:pt x="3197413" y="2572016"/>
                  </a:cubicBezTo>
                  <a:cubicBezTo>
                    <a:pt x="3106460" y="2898691"/>
                    <a:pt x="2905139" y="3280579"/>
                    <a:pt x="2851900" y="3329236"/>
                  </a:cubicBezTo>
                  <a:cubicBezTo>
                    <a:pt x="2508001" y="3643534"/>
                    <a:pt x="2319100" y="3843197"/>
                    <a:pt x="2217382" y="3831358"/>
                  </a:cubicBezTo>
                  <a:cubicBezTo>
                    <a:pt x="2077456" y="3818979"/>
                    <a:pt x="1858415" y="3474006"/>
                    <a:pt x="1875099" y="3416420"/>
                  </a:cubicBezTo>
                  <a:cubicBezTo>
                    <a:pt x="1931069" y="3278647"/>
                    <a:pt x="2137194" y="3261963"/>
                    <a:pt x="2183477" y="3187156"/>
                  </a:cubicBezTo>
                  <a:cubicBezTo>
                    <a:pt x="2199622" y="3068757"/>
                    <a:pt x="2168946" y="3032698"/>
                    <a:pt x="2167331" y="2938517"/>
                  </a:cubicBezTo>
                  <a:cubicBezTo>
                    <a:pt x="2035007" y="3231894"/>
                    <a:pt x="1640619" y="3168026"/>
                    <a:pt x="1454676" y="2978382"/>
                  </a:cubicBezTo>
                  <a:lnTo>
                    <a:pt x="1425919" y="2944899"/>
                  </a:lnTo>
                  <a:lnTo>
                    <a:pt x="1429686" y="3047700"/>
                  </a:lnTo>
                  <a:cubicBezTo>
                    <a:pt x="1432848" y="3145043"/>
                    <a:pt x="1433790" y="3238553"/>
                    <a:pt x="1424641" y="3321163"/>
                  </a:cubicBezTo>
                  <a:cubicBezTo>
                    <a:pt x="1410649" y="3425031"/>
                    <a:pt x="1315928" y="3504682"/>
                    <a:pt x="1305164" y="3577875"/>
                  </a:cubicBezTo>
                  <a:cubicBezTo>
                    <a:pt x="1298168" y="3643533"/>
                    <a:pt x="1308932" y="3735024"/>
                    <a:pt x="1284175" y="3774849"/>
                  </a:cubicBezTo>
                  <a:cubicBezTo>
                    <a:pt x="1199142" y="3890019"/>
                    <a:pt x="671724" y="3745249"/>
                    <a:pt x="665804" y="3655372"/>
                  </a:cubicBezTo>
                  <a:cubicBezTo>
                    <a:pt x="656655" y="3511140"/>
                    <a:pt x="705629" y="3518675"/>
                    <a:pt x="725542" y="3450326"/>
                  </a:cubicBezTo>
                  <a:cubicBezTo>
                    <a:pt x="732404" y="3363544"/>
                    <a:pt x="745623" y="3299468"/>
                    <a:pt x="750895" y="3207010"/>
                  </a:cubicBezTo>
                  <a:lnTo>
                    <a:pt x="751509" y="3191301"/>
                  </a:lnTo>
                  <a:lnTo>
                    <a:pt x="734096" y="3157825"/>
                  </a:lnTo>
                  <a:cubicBezTo>
                    <a:pt x="558939" y="2854980"/>
                    <a:pt x="281337" y="2531585"/>
                    <a:pt x="404246" y="1879378"/>
                  </a:cubicBezTo>
                  <a:cubicBezTo>
                    <a:pt x="118472" y="1948399"/>
                    <a:pt x="68825" y="1780386"/>
                    <a:pt x="50283" y="1628721"/>
                  </a:cubicBezTo>
                  <a:lnTo>
                    <a:pt x="48072" y="1607470"/>
                  </a:lnTo>
                  <a:lnTo>
                    <a:pt x="33171" y="1600317"/>
                  </a:lnTo>
                  <a:cubicBezTo>
                    <a:pt x="-51225" y="1526584"/>
                    <a:pt x="30949" y="1314558"/>
                    <a:pt x="216958" y="1233562"/>
                  </a:cubicBezTo>
                  <a:cubicBezTo>
                    <a:pt x="124661" y="1402147"/>
                    <a:pt x="261049" y="1513870"/>
                    <a:pt x="145882" y="1591444"/>
                  </a:cubicBezTo>
                  <a:lnTo>
                    <a:pt x="126829" y="1602136"/>
                  </a:lnTo>
                  <a:lnTo>
                    <a:pt x="191997" y="1660810"/>
                  </a:lnTo>
                  <a:cubicBezTo>
                    <a:pt x="504474" y="1880783"/>
                    <a:pt x="501119" y="970929"/>
                    <a:pt x="1631301" y="808937"/>
                  </a:cubicBezTo>
                  <a:cubicBezTo>
                    <a:pt x="1206137" y="1240557"/>
                    <a:pt x="1171694" y="1397706"/>
                    <a:pt x="1087199" y="1638812"/>
                  </a:cubicBezTo>
                  <a:cubicBezTo>
                    <a:pt x="1139402" y="1871843"/>
                    <a:pt x="1324000" y="1936963"/>
                    <a:pt x="1393964" y="2124788"/>
                  </a:cubicBezTo>
                  <a:cubicBezTo>
                    <a:pt x="1353937" y="2178876"/>
                    <a:pt x="1317744" y="2231550"/>
                    <a:pt x="1284667" y="2283076"/>
                  </a:cubicBezTo>
                  <a:lnTo>
                    <a:pt x="1253706" y="2334812"/>
                  </a:lnTo>
                  <a:lnTo>
                    <a:pt x="1261937" y="2345475"/>
                  </a:lnTo>
                  <a:cubicBezTo>
                    <a:pt x="1368627" y="2475152"/>
                    <a:pt x="1550103" y="2641913"/>
                    <a:pt x="1663592" y="2664045"/>
                  </a:cubicBezTo>
                  <a:cubicBezTo>
                    <a:pt x="2044223" y="2623681"/>
                    <a:pt x="2131509" y="2414397"/>
                    <a:pt x="2368873" y="2377439"/>
                  </a:cubicBezTo>
                  <a:lnTo>
                    <a:pt x="2379579" y="2376508"/>
                  </a:lnTo>
                  <a:lnTo>
                    <a:pt x="2397307" y="2372375"/>
                  </a:lnTo>
                  <a:cubicBezTo>
                    <a:pt x="2442709" y="2365236"/>
                    <a:pt x="2481840" y="2369166"/>
                    <a:pt x="2519040" y="2376501"/>
                  </a:cubicBezTo>
                  <a:lnTo>
                    <a:pt x="2532815" y="2379692"/>
                  </a:lnTo>
                  <a:lnTo>
                    <a:pt x="2581963" y="2387364"/>
                  </a:lnTo>
                  <a:lnTo>
                    <a:pt x="2629946" y="2399633"/>
                  </a:lnTo>
                  <a:lnTo>
                    <a:pt x="2667842" y="2405842"/>
                  </a:lnTo>
                  <a:cubicBezTo>
                    <a:pt x="2905677" y="1528899"/>
                    <a:pt x="2570348" y="1528650"/>
                    <a:pt x="2654801" y="1005291"/>
                  </a:cubicBezTo>
                  <a:cubicBezTo>
                    <a:pt x="2417215" y="1653217"/>
                    <a:pt x="2762480" y="1650486"/>
                    <a:pt x="2542653" y="2246748"/>
                  </a:cubicBezTo>
                  <a:cubicBezTo>
                    <a:pt x="2438328" y="2257180"/>
                    <a:pt x="2390513" y="2211103"/>
                    <a:pt x="2229679" y="2278045"/>
                  </a:cubicBezTo>
                  <a:cubicBezTo>
                    <a:pt x="2066941" y="2358606"/>
                    <a:pt x="1910661" y="2497291"/>
                    <a:pt x="1741465" y="2519729"/>
                  </a:cubicBezTo>
                  <a:cubicBezTo>
                    <a:pt x="1583032" y="2521635"/>
                    <a:pt x="1531160" y="2462185"/>
                    <a:pt x="1455068" y="2351072"/>
                  </a:cubicBezTo>
                  <a:lnTo>
                    <a:pt x="1760218" y="1719911"/>
                  </a:lnTo>
                  <a:lnTo>
                    <a:pt x="1499406" y="2017234"/>
                  </a:lnTo>
                  <a:cubicBezTo>
                    <a:pt x="1335965" y="1676443"/>
                    <a:pt x="1322053" y="1813180"/>
                    <a:pt x="1248034" y="1619686"/>
                  </a:cubicBezTo>
                  <a:cubicBezTo>
                    <a:pt x="1276847" y="1255172"/>
                    <a:pt x="1975699" y="611343"/>
                    <a:pt x="2083625" y="535832"/>
                  </a:cubicBezTo>
                  <a:cubicBezTo>
                    <a:pt x="2135244" y="490951"/>
                    <a:pt x="2295643" y="499223"/>
                    <a:pt x="2525883" y="443835"/>
                  </a:cubicBezTo>
                  <a:lnTo>
                    <a:pt x="2569214" y="432048"/>
                  </a:lnTo>
                  <a:lnTo>
                    <a:pt x="2558835" y="430557"/>
                  </a:lnTo>
                  <a:cubicBezTo>
                    <a:pt x="2496767" y="423973"/>
                    <a:pt x="2414088" y="423468"/>
                    <a:pt x="2302954" y="424679"/>
                  </a:cubicBezTo>
                  <a:cubicBezTo>
                    <a:pt x="2520380" y="87778"/>
                    <a:pt x="2904103" y="9205"/>
                    <a:pt x="3210329" y="56"/>
                  </a:cubicBezTo>
                  <a:close/>
                </a:path>
              </a:pathLst>
            </a:custGeom>
            <a:solidFill>
              <a:sysClr val="window" lastClr="FFFFFF"/>
            </a:solidFill>
            <a:ln>
              <a:noFill/>
            </a:ln>
            <a:extLst/>
          </p:spPr>
          <p:txBody>
            <a:bodyPr vert="horz" wrap="square" lIns="91401" tIns="45700" rIns="91401" bIns="4570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endParaRPr>
            </a:p>
          </p:txBody>
        </p:sp>
      </p:grpSp>
      <p:grpSp>
        <p:nvGrpSpPr>
          <p:cNvPr id="227" name="Group 226"/>
          <p:cNvGrpSpPr/>
          <p:nvPr/>
        </p:nvGrpSpPr>
        <p:grpSpPr>
          <a:xfrm>
            <a:off x="4044081" y="3688930"/>
            <a:ext cx="1954828" cy="588878"/>
            <a:chOff x="5432480" y="3441712"/>
            <a:chExt cx="1954828" cy="588878"/>
          </a:xfrm>
        </p:grpSpPr>
        <p:sp>
          <p:nvSpPr>
            <p:cNvPr id="228" name="Freeform 182"/>
            <p:cNvSpPr/>
            <p:nvPr/>
          </p:nvSpPr>
          <p:spPr bwMode="auto">
            <a:xfrm flipH="1">
              <a:off x="5432480" y="3441712"/>
              <a:ext cx="660833" cy="588878"/>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0846" rtl="0" eaLnBrk="1" fontAlgn="auto" latinLnBrk="0" hangingPunct="1">
                <a:lnSpc>
                  <a:spcPct val="9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29" name="TextBox 228"/>
            <p:cNvSpPr txBox="1"/>
            <p:nvPr/>
          </p:nvSpPr>
          <p:spPr>
            <a:xfrm>
              <a:off x="6106398" y="3504874"/>
              <a:ext cx="1280910" cy="430887"/>
            </a:xfrm>
            <a:prstGeom prst="rect">
              <a:avLst/>
            </a:prstGeom>
            <a:noFill/>
          </p:spPr>
          <p:txBody>
            <a:bodyPr wrap="square" rtlCol="0">
              <a:sp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Azure SQL</a:t>
              </a:r>
              <a:br>
                <a:rPr kumimoji="0" lang="en-US" sz="11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br>
              <a:r>
                <a:rPr kumimoji="0" lang="en-US" sz="11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Data Warehouse</a:t>
              </a:r>
            </a:p>
          </p:txBody>
        </p:sp>
      </p:grpSp>
      <p:grpSp>
        <p:nvGrpSpPr>
          <p:cNvPr id="230" name="Group 229"/>
          <p:cNvGrpSpPr/>
          <p:nvPr/>
        </p:nvGrpSpPr>
        <p:grpSpPr>
          <a:xfrm>
            <a:off x="5963399" y="4881103"/>
            <a:ext cx="1375083" cy="491527"/>
            <a:chOff x="6886888" y="4926740"/>
            <a:chExt cx="1375083" cy="491527"/>
          </a:xfrm>
        </p:grpSpPr>
        <p:grpSp>
          <p:nvGrpSpPr>
            <p:cNvPr id="231" name="Group 230"/>
            <p:cNvGrpSpPr/>
            <p:nvPr/>
          </p:nvGrpSpPr>
          <p:grpSpPr>
            <a:xfrm>
              <a:off x="6886888" y="4935242"/>
              <a:ext cx="483025" cy="483025"/>
              <a:chOff x="6188925" y="4517872"/>
              <a:chExt cx="637039" cy="637040"/>
            </a:xfrm>
            <a:solidFill>
              <a:sysClr val="window" lastClr="FFFFFF"/>
            </a:solidFill>
          </p:grpSpPr>
          <p:sp>
            <p:nvSpPr>
              <p:cNvPr id="233" name="Freeform 34"/>
              <p:cNvSpPr>
                <a:spLocks/>
              </p:cNvSpPr>
              <p:nvPr/>
            </p:nvSpPr>
            <p:spPr bwMode="auto">
              <a:xfrm>
                <a:off x="6409741" y="4676543"/>
                <a:ext cx="195020" cy="324804"/>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505050"/>
                  </a:solidFill>
                  <a:effectLst/>
                  <a:uLnTx/>
                  <a:uFillTx/>
                  <a:latin typeface="Segoe UI"/>
                  <a:ea typeface="+mn-ea"/>
                  <a:cs typeface="+mn-cs"/>
                </a:endParaRPr>
              </a:p>
            </p:txBody>
          </p:sp>
          <p:sp>
            <p:nvSpPr>
              <p:cNvPr id="234" name="Freeform 35"/>
              <p:cNvSpPr>
                <a:spLocks noEditPoints="1"/>
              </p:cNvSpPr>
              <p:nvPr/>
            </p:nvSpPr>
            <p:spPr bwMode="auto">
              <a:xfrm>
                <a:off x="6188925" y="4517872"/>
                <a:ext cx="637039" cy="637040"/>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505050"/>
                  </a:solidFill>
                  <a:effectLst/>
                  <a:uLnTx/>
                  <a:uFillTx/>
                  <a:latin typeface="Segoe UI"/>
                  <a:ea typeface="+mn-ea"/>
                  <a:cs typeface="+mn-cs"/>
                </a:endParaRPr>
              </a:p>
            </p:txBody>
          </p:sp>
        </p:grpSp>
        <p:sp>
          <p:nvSpPr>
            <p:cNvPr id="232" name="TextBox 231"/>
            <p:cNvSpPr txBox="1"/>
            <p:nvPr/>
          </p:nvSpPr>
          <p:spPr>
            <a:xfrm>
              <a:off x="7402140" y="4926740"/>
              <a:ext cx="859831" cy="430887"/>
            </a:xfrm>
            <a:prstGeom prst="rect">
              <a:avLst/>
            </a:prstGeom>
            <a:noFill/>
          </p:spPr>
          <p:txBody>
            <a:bodyPr wrap="square" rtlCol="0">
              <a:sp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Azure</a:t>
              </a:r>
              <a:br>
                <a:rPr kumimoji="0" lang="en-US" sz="11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br>
              <a:r>
                <a:rPr kumimoji="0" lang="en-US" sz="11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Data Lake</a:t>
              </a:r>
            </a:p>
          </p:txBody>
        </p:sp>
      </p:grpSp>
      <p:sp>
        <p:nvSpPr>
          <p:cNvPr id="235" name="TextBox 234"/>
          <p:cNvSpPr txBox="1"/>
          <p:nvPr/>
        </p:nvSpPr>
        <p:spPr>
          <a:xfrm>
            <a:off x="6462326" y="2489617"/>
            <a:ext cx="1112855" cy="430887"/>
          </a:xfrm>
          <a:prstGeom prst="rect">
            <a:avLst/>
          </a:prstGeom>
          <a:noFill/>
        </p:spPr>
        <p:txBody>
          <a:bodyPr wrap="squar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Azure </a:t>
            </a:r>
            <a:br>
              <a:rPr kumimoji="0" lang="en-US" sz="11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br>
            <a:r>
              <a:rPr kumimoji="0" lang="en-US" sz="11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Cosmos DB</a:t>
            </a:r>
          </a:p>
        </p:txBody>
      </p:sp>
      <p:sp>
        <p:nvSpPr>
          <p:cNvPr id="236" name="TextBox 235"/>
          <p:cNvSpPr txBox="1"/>
          <p:nvPr/>
        </p:nvSpPr>
        <p:spPr>
          <a:xfrm>
            <a:off x="6002905" y="2435564"/>
            <a:ext cx="415967" cy="533500"/>
          </a:xfrm>
          <a:custGeom>
            <a:avLst/>
            <a:gdLst>
              <a:gd name="connsiteX0" fmla="*/ 295680 w 470979"/>
              <a:gd name="connsiteY0" fmla="*/ 226336 h 604054"/>
              <a:gd name="connsiteX1" fmla="*/ 295680 w 470979"/>
              <a:gd name="connsiteY1" fmla="*/ 262482 h 604054"/>
              <a:gd name="connsiteX2" fmla="*/ 315690 w 470979"/>
              <a:gd name="connsiteY2" fmla="*/ 268695 h 604054"/>
              <a:gd name="connsiteX3" fmla="*/ 321498 w 470979"/>
              <a:gd name="connsiteY3" fmla="*/ 289270 h 604054"/>
              <a:gd name="connsiteX4" fmla="*/ 321498 w 470979"/>
              <a:gd name="connsiteY4" fmla="*/ 309602 h 604054"/>
              <a:gd name="connsiteX5" fmla="*/ 327550 w 470979"/>
              <a:gd name="connsiteY5" fmla="*/ 347039 h 604054"/>
              <a:gd name="connsiteX6" fmla="*/ 346995 w 470979"/>
              <a:gd name="connsiteY6" fmla="*/ 368179 h 604054"/>
              <a:gd name="connsiteX7" fmla="*/ 346995 w 470979"/>
              <a:gd name="connsiteY7" fmla="*/ 368824 h 604054"/>
              <a:gd name="connsiteX8" fmla="*/ 327389 w 470979"/>
              <a:gd name="connsiteY8" fmla="*/ 389318 h 604054"/>
              <a:gd name="connsiteX9" fmla="*/ 321498 w 470979"/>
              <a:gd name="connsiteY9" fmla="*/ 424980 h 604054"/>
              <a:gd name="connsiteX10" fmla="*/ 321498 w 470979"/>
              <a:gd name="connsiteY10" fmla="*/ 447895 h 604054"/>
              <a:gd name="connsiteX11" fmla="*/ 315286 w 470979"/>
              <a:gd name="connsiteY11" fmla="*/ 468227 h 604054"/>
              <a:gd name="connsiteX12" fmla="*/ 295680 w 470979"/>
              <a:gd name="connsiteY12" fmla="*/ 474198 h 604054"/>
              <a:gd name="connsiteX13" fmla="*/ 295680 w 470979"/>
              <a:gd name="connsiteY13" fmla="*/ 510344 h 604054"/>
              <a:gd name="connsiteX14" fmla="*/ 343203 w 470979"/>
              <a:gd name="connsiteY14" fmla="*/ 504131 h 604054"/>
              <a:gd name="connsiteX15" fmla="*/ 367893 w 470979"/>
              <a:gd name="connsiteY15" fmla="*/ 484606 h 604054"/>
              <a:gd name="connsiteX16" fmla="*/ 375396 w 470979"/>
              <a:gd name="connsiteY16" fmla="*/ 442892 h 604054"/>
              <a:gd name="connsiteX17" fmla="*/ 375396 w 470979"/>
              <a:gd name="connsiteY17" fmla="*/ 415783 h 604054"/>
              <a:gd name="connsiteX18" fmla="*/ 399439 w 470979"/>
              <a:gd name="connsiteY18" fmla="*/ 386413 h 604054"/>
              <a:gd name="connsiteX19" fmla="*/ 399439 w 470979"/>
              <a:gd name="connsiteY19" fmla="*/ 350267 h 604054"/>
              <a:gd name="connsiteX20" fmla="*/ 375396 w 470979"/>
              <a:gd name="connsiteY20" fmla="*/ 321221 h 604054"/>
              <a:gd name="connsiteX21" fmla="*/ 375396 w 470979"/>
              <a:gd name="connsiteY21" fmla="*/ 292174 h 604054"/>
              <a:gd name="connsiteX22" fmla="*/ 367731 w 470979"/>
              <a:gd name="connsiteY22" fmla="*/ 251913 h 604054"/>
              <a:gd name="connsiteX23" fmla="*/ 342880 w 470979"/>
              <a:gd name="connsiteY23" fmla="*/ 232548 h 604054"/>
              <a:gd name="connsiteX24" fmla="*/ 295680 w 470979"/>
              <a:gd name="connsiteY24" fmla="*/ 226336 h 604054"/>
              <a:gd name="connsiteX25" fmla="*/ 175299 w 470979"/>
              <a:gd name="connsiteY25" fmla="*/ 226336 h 604054"/>
              <a:gd name="connsiteX26" fmla="*/ 127775 w 470979"/>
              <a:gd name="connsiteY26" fmla="*/ 232548 h 604054"/>
              <a:gd name="connsiteX27" fmla="*/ 103087 w 470979"/>
              <a:gd name="connsiteY27" fmla="*/ 252074 h 604054"/>
              <a:gd name="connsiteX28" fmla="*/ 95583 w 470979"/>
              <a:gd name="connsiteY28" fmla="*/ 293788 h 604054"/>
              <a:gd name="connsiteX29" fmla="*/ 95583 w 470979"/>
              <a:gd name="connsiteY29" fmla="*/ 320898 h 604054"/>
              <a:gd name="connsiteX30" fmla="*/ 71539 w 470979"/>
              <a:gd name="connsiteY30" fmla="*/ 350267 h 604054"/>
              <a:gd name="connsiteX31" fmla="*/ 71539 w 470979"/>
              <a:gd name="connsiteY31" fmla="*/ 386413 h 604054"/>
              <a:gd name="connsiteX32" fmla="*/ 95583 w 470979"/>
              <a:gd name="connsiteY32" fmla="*/ 415460 h 604054"/>
              <a:gd name="connsiteX33" fmla="*/ 95583 w 470979"/>
              <a:gd name="connsiteY33" fmla="*/ 444506 h 604054"/>
              <a:gd name="connsiteX34" fmla="*/ 103247 w 470979"/>
              <a:gd name="connsiteY34" fmla="*/ 484768 h 604054"/>
              <a:gd name="connsiteX35" fmla="*/ 128179 w 470979"/>
              <a:gd name="connsiteY35" fmla="*/ 504131 h 604054"/>
              <a:gd name="connsiteX36" fmla="*/ 175299 w 470979"/>
              <a:gd name="connsiteY36" fmla="*/ 510344 h 604054"/>
              <a:gd name="connsiteX37" fmla="*/ 175299 w 470979"/>
              <a:gd name="connsiteY37" fmla="*/ 474198 h 604054"/>
              <a:gd name="connsiteX38" fmla="*/ 155450 w 470979"/>
              <a:gd name="connsiteY38" fmla="*/ 468147 h 604054"/>
              <a:gd name="connsiteX39" fmla="*/ 149480 w 470979"/>
              <a:gd name="connsiteY39" fmla="*/ 447572 h 604054"/>
              <a:gd name="connsiteX40" fmla="*/ 149480 w 470979"/>
              <a:gd name="connsiteY40" fmla="*/ 427078 h 604054"/>
              <a:gd name="connsiteX41" fmla="*/ 143429 w 470979"/>
              <a:gd name="connsiteY41" fmla="*/ 389318 h 604054"/>
              <a:gd name="connsiteX42" fmla="*/ 123984 w 470979"/>
              <a:gd name="connsiteY42" fmla="*/ 368501 h 604054"/>
              <a:gd name="connsiteX43" fmla="*/ 123984 w 470979"/>
              <a:gd name="connsiteY43" fmla="*/ 367856 h 604054"/>
              <a:gd name="connsiteX44" fmla="*/ 143509 w 470979"/>
              <a:gd name="connsiteY44" fmla="*/ 347524 h 604054"/>
              <a:gd name="connsiteX45" fmla="*/ 149480 w 470979"/>
              <a:gd name="connsiteY45" fmla="*/ 311700 h 604054"/>
              <a:gd name="connsiteX46" fmla="*/ 149480 w 470979"/>
              <a:gd name="connsiteY46" fmla="*/ 288785 h 604054"/>
              <a:gd name="connsiteX47" fmla="*/ 155773 w 470979"/>
              <a:gd name="connsiteY47" fmla="*/ 268453 h 604054"/>
              <a:gd name="connsiteX48" fmla="*/ 175299 w 470979"/>
              <a:gd name="connsiteY48" fmla="*/ 262482 h 604054"/>
              <a:gd name="connsiteX49" fmla="*/ 0 w 470979"/>
              <a:gd name="connsiteY49" fmla="*/ 77154 h 604054"/>
              <a:gd name="connsiteX50" fmla="*/ 0 w 470979"/>
              <a:gd name="connsiteY50" fmla="*/ 96058 h 604054"/>
              <a:gd name="connsiteX51" fmla="*/ 0 w 470979"/>
              <a:gd name="connsiteY51" fmla="*/ 96059 h 604054"/>
              <a:gd name="connsiteX52" fmla="*/ 0 w 470979"/>
              <a:gd name="connsiteY52" fmla="*/ 77154 h 604054"/>
              <a:gd name="connsiteX53" fmla="*/ 235490 w 470979"/>
              <a:gd name="connsiteY53" fmla="*/ 34653 h 604054"/>
              <a:gd name="connsiteX54" fmla="*/ 72945 w 470979"/>
              <a:gd name="connsiteY54" fmla="*/ 82360 h 604054"/>
              <a:gd name="connsiteX55" fmla="*/ 235490 w 470979"/>
              <a:gd name="connsiteY55" fmla="*/ 130066 h 604054"/>
              <a:gd name="connsiteX56" fmla="*/ 398035 w 470979"/>
              <a:gd name="connsiteY56" fmla="*/ 82360 h 604054"/>
              <a:gd name="connsiteX57" fmla="*/ 235490 w 470979"/>
              <a:gd name="connsiteY57" fmla="*/ 34653 h 604054"/>
              <a:gd name="connsiteX58" fmla="*/ 235489 w 470979"/>
              <a:gd name="connsiteY58" fmla="*/ 0 h 604054"/>
              <a:gd name="connsiteX59" fmla="*/ 469763 w 470979"/>
              <a:gd name="connsiteY59" fmla="*/ 86237 h 604054"/>
              <a:gd name="connsiteX60" fmla="*/ 470619 w 470979"/>
              <a:gd name="connsiteY60" fmla="*/ 93153 h 604054"/>
              <a:gd name="connsiteX61" fmla="*/ 470979 w 470979"/>
              <a:gd name="connsiteY61" fmla="*/ 93153 h 604054"/>
              <a:gd name="connsiteX62" fmla="*/ 470979 w 470979"/>
              <a:gd name="connsiteY62" fmla="*/ 96059 h 604054"/>
              <a:gd name="connsiteX63" fmla="*/ 470979 w 470979"/>
              <a:gd name="connsiteY63" fmla="*/ 507994 h 604054"/>
              <a:gd name="connsiteX64" fmla="*/ 470979 w 470979"/>
              <a:gd name="connsiteY64" fmla="*/ 507995 h 604054"/>
              <a:gd name="connsiteX65" fmla="*/ 470979 w 470979"/>
              <a:gd name="connsiteY65" fmla="*/ 507996 h 604054"/>
              <a:gd name="connsiteX66" fmla="*/ 470979 w 470979"/>
              <a:gd name="connsiteY66" fmla="*/ 510901 h 604054"/>
              <a:gd name="connsiteX67" fmla="*/ 470619 w 470979"/>
              <a:gd name="connsiteY67" fmla="*/ 510901 h 604054"/>
              <a:gd name="connsiteX68" fmla="*/ 469763 w 470979"/>
              <a:gd name="connsiteY68" fmla="*/ 517817 h 604054"/>
              <a:gd name="connsiteX69" fmla="*/ 235490 w 470979"/>
              <a:gd name="connsiteY69" fmla="*/ 604054 h 604054"/>
              <a:gd name="connsiteX70" fmla="*/ 1216 w 470979"/>
              <a:gd name="connsiteY70" fmla="*/ 517817 h 604054"/>
              <a:gd name="connsiteX71" fmla="*/ 360 w 470979"/>
              <a:gd name="connsiteY71" fmla="*/ 510901 h 604054"/>
              <a:gd name="connsiteX72" fmla="*/ 0 w 470979"/>
              <a:gd name="connsiteY72" fmla="*/ 510901 h 604054"/>
              <a:gd name="connsiteX73" fmla="*/ 0 w 470979"/>
              <a:gd name="connsiteY73" fmla="*/ 507995 h 604054"/>
              <a:gd name="connsiteX74" fmla="*/ 0 w 470979"/>
              <a:gd name="connsiteY74" fmla="*/ 96060 h 604054"/>
              <a:gd name="connsiteX75" fmla="*/ 0 w 470979"/>
              <a:gd name="connsiteY75" fmla="*/ 96058 h 604054"/>
              <a:gd name="connsiteX76" fmla="*/ 0 w 470979"/>
              <a:gd name="connsiteY76" fmla="*/ 96058 h 604054"/>
              <a:gd name="connsiteX77" fmla="*/ 1216 w 470979"/>
              <a:gd name="connsiteY77" fmla="*/ 86237 h 604054"/>
              <a:gd name="connsiteX78" fmla="*/ 235489 w 470979"/>
              <a:gd name="connsiteY78" fmla="*/ 0 h 60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70979" h="604054">
                <a:moveTo>
                  <a:pt x="295680" y="226336"/>
                </a:moveTo>
                <a:lnTo>
                  <a:pt x="295680" y="262482"/>
                </a:lnTo>
                <a:cubicBezTo>
                  <a:pt x="305146" y="262482"/>
                  <a:pt x="311817" y="264553"/>
                  <a:pt x="315690" y="268695"/>
                </a:cubicBezTo>
                <a:cubicBezTo>
                  <a:pt x="319563" y="272837"/>
                  <a:pt x="321498" y="279695"/>
                  <a:pt x="321498" y="289270"/>
                </a:cubicBezTo>
                <a:lnTo>
                  <a:pt x="321498" y="309602"/>
                </a:lnTo>
                <a:cubicBezTo>
                  <a:pt x="321498" y="324878"/>
                  <a:pt x="323516" y="337357"/>
                  <a:pt x="327550" y="347039"/>
                </a:cubicBezTo>
                <a:cubicBezTo>
                  <a:pt x="331584" y="356722"/>
                  <a:pt x="338066" y="363768"/>
                  <a:pt x="346995" y="368179"/>
                </a:cubicBezTo>
                <a:lnTo>
                  <a:pt x="346995" y="368824"/>
                </a:lnTo>
                <a:cubicBezTo>
                  <a:pt x="337851" y="373235"/>
                  <a:pt x="331315" y="380066"/>
                  <a:pt x="327389" y="389318"/>
                </a:cubicBezTo>
                <a:cubicBezTo>
                  <a:pt x="323462" y="398570"/>
                  <a:pt x="321498" y="410458"/>
                  <a:pt x="321498" y="424980"/>
                </a:cubicBezTo>
                <a:lnTo>
                  <a:pt x="321498" y="447895"/>
                </a:lnTo>
                <a:cubicBezTo>
                  <a:pt x="321498" y="457469"/>
                  <a:pt x="319427" y="464247"/>
                  <a:pt x="315286" y="468227"/>
                </a:cubicBezTo>
                <a:cubicBezTo>
                  <a:pt x="311145" y="472208"/>
                  <a:pt x="304609" y="474198"/>
                  <a:pt x="295680" y="474198"/>
                </a:cubicBezTo>
                <a:lnTo>
                  <a:pt x="295680" y="510344"/>
                </a:lnTo>
                <a:cubicBezTo>
                  <a:pt x="315904" y="510344"/>
                  <a:pt x="331745" y="508273"/>
                  <a:pt x="343203" y="504131"/>
                </a:cubicBezTo>
                <a:cubicBezTo>
                  <a:pt x="354660" y="499990"/>
                  <a:pt x="362890" y="493482"/>
                  <a:pt x="367893" y="484606"/>
                </a:cubicBezTo>
                <a:cubicBezTo>
                  <a:pt x="372894" y="475730"/>
                  <a:pt x="375396" y="461826"/>
                  <a:pt x="375396" y="442892"/>
                </a:cubicBezTo>
                <a:lnTo>
                  <a:pt x="375396" y="415783"/>
                </a:lnTo>
                <a:cubicBezTo>
                  <a:pt x="375396" y="396203"/>
                  <a:pt x="383411" y="386413"/>
                  <a:pt x="399439" y="386413"/>
                </a:cubicBezTo>
                <a:lnTo>
                  <a:pt x="399439" y="350267"/>
                </a:lnTo>
                <a:cubicBezTo>
                  <a:pt x="383411" y="350267"/>
                  <a:pt x="375396" y="340585"/>
                  <a:pt x="375396" y="321221"/>
                </a:cubicBezTo>
                <a:lnTo>
                  <a:pt x="375396" y="292174"/>
                </a:lnTo>
                <a:cubicBezTo>
                  <a:pt x="375396" y="274101"/>
                  <a:pt x="372841" y="260680"/>
                  <a:pt x="367731" y="251913"/>
                </a:cubicBezTo>
                <a:cubicBezTo>
                  <a:pt x="362621" y="243144"/>
                  <a:pt x="354337" y="236690"/>
                  <a:pt x="342880" y="232548"/>
                </a:cubicBezTo>
                <a:cubicBezTo>
                  <a:pt x="331422" y="228407"/>
                  <a:pt x="315690" y="226336"/>
                  <a:pt x="295680" y="226336"/>
                </a:cubicBezTo>
                <a:close/>
                <a:moveTo>
                  <a:pt x="175299" y="226336"/>
                </a:moveTo>
                <a:cubicBezTo>
                  <a:pt x="155074" y="226336"/>
                  <a:pt x="139233" y="228407"/>
                  <a:pt x="127775" y="232548"/>
                </a:cubicBezTo>
                <a:cubicBezTo>
                  <a:pt x="116318" y="236690"/>
                  <a:pt x="108088" y="243199"/>
                  <a:pt x="103087" y="252074"/>
                </a:cubicBezTo>
                <a:cubicBezTo>
                  <a:pt x="98084" y="260949"/>
                  <a:pt x="95583" y="274854"/>
                  <a:pt x="95583" y="293788"/>
                </a:cubicBezTo>
                <a:lnTo>
                  <a:pt x="95583" y="320898"/>
                </a:lnTo>
                <a:cubicBezTo>
                  <a:pt x="95583" y="340477"/>
                  <a:pt x="87568" y="350267"/>
                  <a:pt x="71539" y="350267"/>
                </a:cubicBezTo>
                <a:lnTo>
                  <a:pt x="71539" y="386413"/>
                </a:lnTo>
                <a:cubicBezTo>
                  <a:pt x="87568" y="386413"/>
                  <a:pt x="95583" y="396096"/>
                  <a:pt x="95583" y="415460"/>
                </a:cubicBezTo>
                <a:lnTo>
                  <a:pt x="95583" y="444506"/>
                </a:lnTo>
                <a:cubicBezTo>
                  <a:pt x="95583" y="462579"/>
                  <a:pt x="98138" y="476000"/>
                  <a:pt x="103247" y="484768"/>
                </a:cubicBezTo>
                <a:cubicBezTo>
                  <a:pt x="108357" y="493535"/>
                  <a:pt x="116668" y="499990"/>
                  <a:pt x="128179" y="504131"/>
                </a:cubicBezTo>
                <a:cubicBezTo>
                  <a:pt x="139690" y="508273"/>
                  <a:pt x="155397" y="510344"/>
                  <a:pt x="175299" y="510344"/>
                </a:cubicBezTo>
                <a:lnTo>
                  <a:pt x="175299" y="474198"/>
                </a:lnTo>
                <a:cubicBezTo>
                  <a:pt x="166047" y="474198"/>
                  <a:pt x="159430" y="472180"/>
                  <a:pt x="155450" y="468147"/>
                </a:cubicBezTo>
                <a:cubicBezTo>
                  <a:pt x="151470" y="464112"/>
                  <a:pt x="149480" y="457255"/>
                  <a:pt x="149480" y="447572"/>
                </a:cubicBezTo>
                <a:lnTo>
                  <a:pt x="149480" y="427078"/>
                </a:lnTo>
                <a:cubicBezTo>
                  <a:pt x="149480" y="411479"/>
                  <a:pt x="147462" y="398892"/>
                  <a:pt x="143429" y="389318"/>
                </a:cubicBezTo>
                <a:cubicBezTo>
                  <a:pt x="139394" y="379744"/>
                  <a:pt x="132913" y="372805"/>
                  <a:pt x="123984" y="368501"/>
                </a:cubicBezTo>
                <a:lnTo>
                  <a:pt x="123984" y="367856"/>
                </a:lnTo>
                <a:cubicBezTo>
                  <a:pt x="133020" y="363553"/>
                  <a:pt x="139529" y="356775"/>
                  <a:pt x="143509" y="347524"/>
                </a:cubicBezTo>
                <a:cubicBezTo>
                  <a:pt x="147489" y="338272"/>
                  <a:pt x="149480" y="326330"/>
                  <a:pt x="149480" y="311700"/>
                </a:cubicBezTo>
                <a:lnTo>
                  <a:pt x="149480" y="288785"/>
                </a:lnTo>
                <a:cubicBezTo>
                  <a:pt x="149480" y="279211"/>
                  <a:pt x="151577" y="272434"/>
                  <a:pt x="155773" y="268453"/>
                </a:cubicBezTo>
                <a:cubicBezTo>
                  <a:pt x="159969" y="264473"/>
                  <a:pt x="166477" y="262482"/>
                  <a:pt x="175299" y="262482"/>
                </a:cubicBezTo>
                <a:close/>
                <a:moveTo>
                  <a:pt x="0" y="77154"/>
                </a:moveTo>
                <a:lnTo>
                  <a:pt x="0" y="96058"/>
                </a:lnTo>
                <a:lnTo>
                  <a:pt x="0" y="96059"/>
                </a:lnTo>
                <a:cubicBezTo>
                  <a:pt x="0" y="96059"/>
                  <a:pt x="0" y="70852"/>
                  <a:pt x="0" y="77154"/>
                </a:cubicBezTo>
                <a:close/>
                <a:moveTo>
                  <a:pt x="235490" y="34653"/>
                </a:moveTo>
                <a:cubicBezTo>
                  <a:pt x="145719" y="34653"/>
                  <a:pt x="72945" y="56012"/>
                  <a:pt x="72945" y="82360"/>
                </a:cubicBezTo>
                <a:cubicBezTo>
                  <a:pt x="72945" y="108707"/>
                  <a:pt x="145719" y="130066"/>
                  <a:pt x="235490" y="130066"/>
                </a:cubicBezTo>
                <a:cubicBezTo>
                  <a:pt x="325261" y="130066"/>
                  <a:pt x="398035" y="108707"/>
                  <a:pt x="398035" y="82360"/>
                </a:cubicBezTo>
                <a:cubicBezTo>
                  <a:pt x="398035" y="56012"/>
                  <a:pt x="325261" y="34653"/>
                  <a:pt x="235490" y="34653"/>
                </a:cubicBezTo>
                <a:close/>
                <a:moveTo>
                  <a:pt x="235489" y="0"/>
                </a:moveTo>
                <a:cubicBezTo>
                  <a:pt x="357418" y="0"/>
                  <a:pt x="457704" y="37799"/>
                  <a:pt x="469763" y="86237"/>
                </a:cubicBezTo>
                <a:lnTo>
                  <a:pt x="470619" y="93153"/>
                </a:lnTo>
                <a:lnTo>
                  <a:pt x="470979" y="93153"/>
                </a:lnTo>
                <a:lnTo>
                  <a:pt x="470979" y="96059"/>
                </a:lnTo>
                <a:cubicBezTo>
                  <a:pt x="470979" y="165199"/>
                  <a:pt x="470979" y="439338"/>
                  <a:pt x="470979" y="507994"/>
                </a:cubicBezTo>
                <a:lnTo>
                  <a:pt x="470979" y="507995"/>
                </a:lnTo>
                <a:lnTo>
                  <a:pt x="470979" y="507996"/>
                </a:lnTo>
                <a:lnTo>
                  <a:pt x="470979" y="510901"/>
                </a:lnTo>
                <a:lnTo>
                  <a:pt x="470619" y="510901"/>
                </a:lnTo>
                <a:lnTo>
                  <a:pt x="469763" y="517817"/>
                </a:lnTo>
                <a:cubicBezTo>
                  <a:pt x="457704" y="566255"/>
                  <a:pt x="357418" y="604054"/>
                  <a:pt x="235490" y="604054"/>
                </a:cubicBezTo>
                <a:cubicBezTo>
                  <a:pt x="113561" y="604054"/>
                  <a:pt x="13276" y="566255"/>
                  <a:pt x="1216" y="517817"/>
                </a:cubicBezTo>
                <a:lnTo>
                  <a:pt x="360" y="510901"/>
                </a:lnTo>
                <a:lnTo>
                  <a:pt x="0" y="510901"/>
                </a:lnTo>
                <a:lnTo>
                  <a:pt x="0" y="507995"/>
                </a:lnTo>
                <a:lnTo>
                  <a:pt x="0" y="96060"/>
                </a:lnTo>
                <a:lnTo>
                  <a:pt x="0" y="96058"/>
                </a:lnTo>
                <a:lnTo>
                  <a:pt x="0" y="96058"/>
                </a:lnTo>
                <a:lnTo>
                  <a:pt x="1216" y="86237"/>
                </a:lnTo>
                <a:cubicBezTo>
                  <a:pt x="13275" y="37799"/>
                  <a:pt x="113561" y="0"/>
                  <a:pt x="235489" y="0"/>
                </a:cubicBezTo>
                <a:close/>
              </a:path>
            </a:pathLst>
          </a:custGeom>
          <a:solidFill>
            <a:sysClr val="window" lastClr="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200" b="1" i="0" u="none" strike="noStrike" kern="0" cap="none" spc="0" normalizeH="0" baseline="0" noProof="0">
              <a:ln>
                <a:noFill/>
              </a:ln>
              <a:solidFill>
                <a:sysClr val="windowText" lastClr="000000"/>
              </a:solidFill>
              <a:effectLst/>
              <a:uLnTx/>
              <a:uFillTx/>
              <a:latin typeface="Segoe UI"/>
              <a:ea typeface="Segoe UI Black" panose="020B0A02040204020203" pitchFamily="34" charset="0"/>
              <a:cs typeface="Segoe UI Black" panose="020B0A02040204020203" pitchFamily="34" charset="0"/>
            </a:endParaRPr>
          </a:p>
        </p:txBody>
      </p:sp>
      <p:sp>
        <p:nvSpPr>
          <p:cNvPr id="237" name="TextBox 236"/>
          <p:cNvSpPr txBox="1"/>
          <p:nvPr/>
        </p:nvSpPr>
        <p:spPr>
          <a:xfrm>
            <a:off x="4181036" y="2418369"/>
            <a:ext cx="537534" cy="589263"/>
          </a:xfrm>
          <a:custGeom>
            <a:avLst/>
            <a:gdLst>
              <a:gd name="connsiteX0" fmla="*/ 2615664 w 3654515"/>
              <a:gd name="connsiteY0" fmla="*/ 2534931 h 4006207"/>
              <a:gd name="connsiteX1" fmla="*/ 1960582 w 3654515"/>
              <a:gd name="connsiteY1" fmla="*/ 3034209 h 4006207"/>
              <a:gd name="connsiteX2" fmla="*/ 1338741 w 3654515"/>
              <a:gd name="connsiteY2" fmla="*/ 3425023 h 4006207"/>
              <a:gd name="connsiteX3" fmla="*/ 1731746 w 3654515"/>
              <a:gd name="connsiteY3" fmla="*/ 3891938 h 4006207"/>
              <a:gd name="connsiteX4" fmla="*/ 1776343 w 3654515"/>
              <a:gd name="connsiteY4" fmla="*/ 3896192 h 4006207"/>
              <a:gd name="connsiteX5" fmla="*/ 1804775 w 3654515"/>
              <a:gd name="connsiteY5" fmla="*/ 3901622 h 4006207"/>
              <a:gd name="connsiteX6" fmla="*/ 3274309 w 3654515"/>
              <a:gd name="connsiteY6" fmla="*/ 3901622 h 4006207"/>
              <a:gd name="connsiteX7" fmla="*/ 3279764 w 3654515"/>
              <a:gd name="connsiteY7" fmla="*/ 3900582 h 4006207"/>
              <a:gd name="connsiteX8" fmla="*/ 3285213 w 3654515"/>
              <a:gd name="connsiteY8" fmla="*/ 3901622 h 4006207"/>
              <a:gd name="connsiteX9" fmla="*/ 3560897 w 3654515"/>
              <a:gd name="connsiteY9" fmla="*/ 3646315 h 4006207"/>
              <a:gd name="connsiteX10" fmla="*/ 3253200 w 3654515"/>
              <a:gd name="connsiteY10" fmla="*/ 3434254 h 4006207"/>
              <a:gd name="connsiteX11" fmla="*/ 3272188 w 3654515"/>
              <a:gd name="connsiteY11" fmla="*/ 3231989 h 4006207"/>
              <a:gd name="connsiteX12" fmla="*/ 2615664 w 3654515"/>
              <a:gd name="connsiteY12" fmla="*/ 2534931 h 4006207"/>
              <a:gd name="connsiteX13" fmla="*/ 2610633 w 3654515"/>
              <a:gd name="connsiteY13" fmla="*/ 2448880 h 4006207"/>
              <a:gd name="connsiteX14" fmla="*/ 3372712 w 3654515"/>
              <a:gd name="connsiteY14" fmla="*/ 3227544 h 4006207"/>
              <a:gd name="connsiteX15" fmla="*/ 3352240 w 3654515"/>
              <a:gd name="connsiteY15" fmla="*/ 3365886 h 4006207"/>
              <a:gd name="connsiteX16" fmla="*/ 3457751 w 3654515"/>
              <a:gd name="connsiteY16" fmla="*/ 3387188 h 4006207"/>
              <a:gd name="connsiteX17" fmla="*/ 3654515 w 3654515"/>
              <a:gd name="connsiteY17" fmla="*/ 3684038 h 4006207"/>
              <a:gd name="connsiteX18" fmla="*/ 3332349 w 3654515"/>
              <a:gd name="connsiteY18" fmla="*/ 4006204 h 4006207"/>
              <a:gd name="connsiteX19" fmla="*/ 3326473 w 3654515"/>
              <a:gd name="connsiteY19" fmla="*/ 4005021 h 4006207"/>
              <a:gd name="connsiteX20" fmla="*/ 3320592 w 3654515"/>
              <a:gd name="connsiteY20" fmla="*/ 4006207 h 4006207"/>
              <a:gd name="connsiteX21" fmla="*/ 1736561 w 3654515"/>
              <a:gd name="connsiteY21" fmla="*/ 4006204 h 4006207"/>
              <a:gd name="connsiteX22" fmla="*/ 1705914 w 3654515"/>
              <a:gd name="connsiteY22" fmla="*/ 4000020 h 4006207"/>
              <a:gd name="connsiteX23" fmla="*/ 1657844 w 3654515"/>
              <a:gd name="connsiteY23" fmla="*/ 3995171 h 4006207"/>
              <a:gd name="connsiteX24" fmla="*/ 1224216 w 3654515"/>
              <a:gd name="connsiteY24" fmla="*/ 3463131 h 4006207"/>
              <a:gd name="connsiteX25" fmla="*/ 1767292 w 3654515"/>
              <a:gd name="connsiteY25" fmla="*/ 2920055 h 4006207"/>
              <a:gd name="connsiteX26" fmla="*/ 1876738 w 3654515"/>
              <a:gd name="connsiteY26" fmla="*/ 2931089 h 4006207"/>
              <a:gd name="connsiteX27" fmla="*/ 1903868 w 3654515"/>
              <a:gd name="connsiteY27" fmla="*/ 2939508 h 4006207"/>
              <a:gd name="connsiteX28" fmla="*/ 1908440 w 3654515"/>
              <a:gd name="connsiteY28" fmla="*/ 2924453 h 4006207"/>
              <a:gd name="connsiteX29" fmla="*/ 2610633 w 3654515"/>
              <a:gd name="connsiteY29" fmla="*/ 2448880 h 4006207"/>
              <a:gd name="connsiteX30" fmla="*/ 1328895 w 3654515"/>
              <a:gd name="connsiteY30" fmla="*/ 1748195 h 4006207"/>
              <a:gd name="connsiteX31" fmla="*/ 1421457 w 3654515"/>
              <a:gd name="connsiteY31" fmla="*/ 1798955 h 4006207"/>
              <a:gd name="connsiteX32" fmla="*/ 1455297 w 3654515"/>
              <a:gd name="connsiteY32" fmla="*/ 1937798 h 4006207"/>
              <a:gd name="connsiteX33" fmla="*/ 1419466 w 3654515"/>
              <a:gd name="connsiteY33" fmla="*/ 2070171 h 4006207"/>
              <a:gd name="connsiteX34" fmla="*/ 1325411 w 3654515"/>
              <a:gd name="connsiteY34" fmla="*/ 2119438 h 4006207"/>
              <a:gd name="connsiteX35" fmla="*/ 1228620 w 3654515"/>
              <a:gd name="connsiteY35" fmla="*/ 2070668 h 4006207"/>
              <a:gd name="connsiteX36" fmla="*/ 1193038 w 3654515"/>
              <a:gd name="connsiteY36" fmla="*/ 1934812 h 4006207"/>
              <a:gd name="connsiteX37" fmla="*/ 1228869 w 3654515"/>
              <a:gd name="connsiteY37" fmla="*/ 1796964 h 4006207"/>
              <a:gd name="connsiteX38" fmla="*/ 1328895 w 3654515"/>
              <a:gd name="connsiteY38" fmla="*/ 1748195 h 4006207"/>
              <a:gd name="connsiteX39" fmla="*/ 1785481 w 3654515"/>
              <a:gd name="connsiteY39" fmla="*/ 1577006 h 4006207"/>
              <a:gd name="connsiteX40" fmla="*/ 1785481 w 3654515"/>
              <a:gd name="connsiteY40" fmla="*/ 2290627 h 4006207"/>
              <a:gd name="connsiteX41" fmla="*/ 2246299 w 3654515"/>
              <a:gd name="connsiteY41" fmla="*/ 2290627 h 4006207"/>
              <a:gd name="connsiteX42" fmla="*/ 2246299 w 3654515"/>
              <a:gd name="connsiteY42" fmla="*/ 2122423 h 4006207"/>
              <a:gd name="connsiteX43" fmla="*/ 2000463 w 3654515"/>
              <a:gd name="connsiteY43" fmla="*/ 2122423 h 4006207"/>
              <a:gd name="connsiteX44" fmla="*/ 2000463 w 3654515"/>
              <a:gd name="connsiteY44" fmla="*/ 1577006 h 4006207"/>
              <a:gd name="connsiteX45" fmla="*/ 1330885 w 3654515"/>
              <a:gd name="connsiteY45" fmla="*/ 1565062 h 4006207"/>
              <a:gd name="connsiteX46" fmla="*/ 1140785 w 3654515"/>
              <a:gd name="connsiteY46" fmla="*/ 1612587 h 4006207"/>
              <a:gd name="connsiteX47" fmla="*/ 1010900 w 3654515"/>
              <a:gd name="connsiteY47" fmla="*/ 1747200 h 4006207"/>
              <a:gd name="connsiteX48" fmla="*/ 964619 w 3654515"/>
              <a:gd name="connsiteY48" fmla="*/ 1943272 h 4006207"/>
              <a:gd name="connsiteX49" fmla="*/ 1010403 w 3654515"/>
              <a:gd name="connsiteY49" fmla="*/ 2129639 h 4006207"/>
              <a:gd name="connsiteX50" fmla="*/ 1138546 w 3654515"/>
              <a:gd name="connsiteY50" fmla="*/ 2257534 h 4006207"/>
              <a:gd name="connsiteX51" fmla="*/ 1321430 w 3654515"/>
              <a:gd name="connsiteY51" fmla="*/ 2303068 h 4006207"/>
              <a:gd name="connsiteX52" fmla="*/ 1404537 w 3654515"/>
              <a:gd name="connsiteY52" fmla="*/ 2294608 h 4006207"/>
              <a:gd name="connsiteX53" fmla="*/ 1495108 w 3654515"/>
              <a:gd name="connsiteY53" fmla="*/ 2386672 h 4006207"/>
              <a:gd name="connsiteX54" fmla="*/ 1764831 w 3654515"/>
              <a:gd name="connsiteY54" fmla="*/ 2386672 h 4006207"/>
              <a:gd name="connsiteX55" fmla="*/ 1576224 w 3654515"/>
              <a:gd name="connsiteY55" fmla="*/ 2204535 h 4006207"/>
              <a:gd name="connsiteX56" fmla="*/ 1683217 w 3654515"/>
              <a:gd name="connsiteY56" fmla="*/ 1931826 h 4006207"/>
              <a:gd name="connsiteX57" fmla="*/ 1639176 w 3654515"/>
              <a:gd name="connsiteY57" fmla="*/ 1740482 h 4006207"/>
              <a:gd name="connsiteX58" fmla="*/ 1514267 w 3654515"/>
              <a:gd name="connsiteY58" fmla="*/ 1610597 h 4006207"/>
              <a:gd name="connsiteX59" fmla="*/ 1330885 w 3654515"/>
              <a:gd name="connsiteY59" fmla="*/ 1565062 h 4006207"/>
              <a:gd name="connsiteX60" fmla="*/ 683674 w 3654515"/>
              <a:gd name="connsiteY60" fmla="*/ 1565062 h 4006207"/>
              <a:gd name="connsiteX61" fmla="*/ 472673 w 3654515"/>
              <a:gd name="connsiteY61" fmla="*/ 1627019 h 4006207"/>
              <a:gd name="connsiteX62" fmla="*/ 394045 w 3654515"/>
              <a:gd name="connsiteY62" fmla="*/ 1792485 h 4006207"/>
              <a:gd name="connsiteX63" fmla="*/ 566230 w 3654515"/>
              <a:gd name="connsiteY63" fmla="*/ 2006472 h 4006207"/>
              <a:gd name="connsiteX64" fmla="*/ 639135 w 3654515"/>
              <a:gd name="connsiteY64" fmla="*/ 2037824 h 4006207"/>
              <a:gd name="connsiteX65" fmla="*/ 668496 w 3654515"/>
              <a:gd name="connsiteY65" fmla="*/ 2062457 h 4006207"/>
              <a:gd name="connsiteX66" fmla="*/ 678200 w 3654515"/>
              <a:gd name="connsiteY66" fmla="*/ 2093062 h 4006207"/>
              <a:gd name="connsiteX67" fmla="*/ 658792 w 3654515"/>
              <a:gd name="connsiteY67" fmla="*/ 2130137 h 4006207"/>
              <a:gd name="connsiteX68" fmla="*/ 604051 w 3654515"/>
              <a:gd name="connsiteY68" fmla="*/ 2142827 h 4006207"/>
              <a:gd name="connsiteX69" fmla="*/ 503029 w 3654515"/>
              <a:gd name="connsiteY69" fmla="*/ 2122672 h 4006207"/>
              <a:gd name="connsiteX70" fmla="*/ 403998 w 3654515"/>
              <a:gd name="connsiteY70" fmla="*/ 2069673 h 4006207"/>
              <a:gd name="connsiteX71" fmla="*/ 403998 w 3654515"/>
              <a:gd name="connsiteY71" fmla="*/ 2265247 h 4006207"/>
              <a:gd name="connsiteX72" fmla="*/ 609027 w 3654515"/>
              <a:gd name="connsiteY72" fmla="*/ 2303068 h 4006207"/>
              <a:gd name="connsiteX73" fmla="*/ 774245 w 3654515"/>
              <a:gd name="connsiteY73" fmla="*/ 2277191 h 4006207"/>
              <a:gd name="connsiteX74" fmla="*/ 880990 w 3654515"/>
              <a:gd name="connsiteY74" fmla="*/ 2198563 h 4006207"/>
              <a:gd name="connsiteX75" fmla="*/ 919059 w 3654515"/>
              <a:gd name="connsiteY75" fmla="*/ 2074650 h 4006207"/>
              <a:gd name="connsiteX76" fmla="*/ 873027 w 3654515"/>
              <a:gd name="connsiteY76" fmla="*/ 1948248 h 4006207"/>
              <a:gd name="connsiteX77" fmla="*/ 716021 w 3654515"/>
              <a:gd name="connsiteY77" fmla="*/ 1850212 h 4006207"/>
              <a:gd name="connsiteX78" fmla="*/ 642121 w 3654515"/>
              <a:gd name="connsiteY78" fmla="*/ 1812142 h 4006207"/>
              <a:gd name="connsiteX79" fmla="*/ 624454 w 3654515"/>
              <a:gd name="connsiteY79" fmla="*/ 1775068 h 4006207"/>
              <a:gd name="connsiteX80" fmla="*/ 646350 w 3654515"/>
              <a:gd name="connsiteY80" fmla="*/ 1738242 h 4006207"/>
              <a:gd name="connsiteX81" fmla="*/ 704077 w 3654515"/>
              <a:gd name="connsiteY81" fmla="*/ 1724806 h 4006207"/>
              <a:gd name="connsiteX82" fmla="*/ 881239 w 3654515"/>
              <a:gd name="connsiteY82" fmla="*/ 1774073 h 4006207"/>
              <a:gd name="connsiteX83" fmla="*/ 881239 w 3654515"/>
              <a:gd name="connsiteY83" fmla="*/ 1592433 h 4006207"/>
              <a:gd name="connsiteX84" fmla="*/ 809329 w 3654515"/>
              <a:gd name="connsiteY84" fmla="*/ 1575513 h 4006207"/>
              <a:gd name="connsiteX85" fmla="*/ 752349 w 3654515"/>
              <a:gd name="connsiteY85" fmla="*/ 1568048 h 4006207"/>
              <a:gd name="connsiteX86" fmla="*/ 683674 w 3654515"/>
              <a:gd name="connsiteY86" fmla="*/ 1565062 h 4006207"/>
              <a:gd name="connsiteX87" fmla="*/ 1309044 w 3654515"/>
              <a:gd name="connsiteY87" fmla="*/ 196190 h 4006207"/>
              <a:gd name="connsiteX88" fmla="*/ 347062 w 3654515"/>
              <a:gd name="connsiteY88" fmla="*/ 500340 h 4006207"/>
              <a:gd name="connsiteX89" fmla="*/ 1309044 w 3654515"/>
              <a:gd name="connsiteY89" fmla="*/ 804488 h 4006207"/>
              <a:gd name="connsiteX90" fmla="*/ 2271029 w 3654515"/>
              <a:gd name="connsiteY90" fmla="*/ 500340 h 4006207"/>
              <a:gd name="connsiteX91" fmla="*/ 1309044 w 3654515"/>
              <a:gd name="connsiteY91" fmla="*/ 196190 h 4006207"/>
              <a:gd name="connsiteX92" fmla="*/ 1315224 w 3654515"/>
              <a:gd name="connsiteY92" fmla="*/ 0 h 4006207"/>
              <a:gd name="connsiteX93" fmla="*/ 2630444 w 3654515"/>
              <a:gd name="connsiteY93" fmla="*/ 588894 h 4006207"/>
              <a:gd name="connsiteX94" fmla="*/ 2636856 w 3654515"/>
              <a:gd name="connsiteY94" fmla="*/ 2379088 h 4006207"/>
              <a:gd name="connsiteX95" fmla="*/ 1860931 w 3654515"/>
              <a:gd name="connsiteY95" fmla="*/ 2847882 h 4006207"/>
              <a:gd name="connsiteX96" fmla="*/ 1167213 w 3654515"/>
              <a:gd name="connsiteY96" fmla="*/ 3297268 h 4006207"/>
              <a:gd name="connsiteX97" fmla="*/ 1144936 w 3654515"/>
              <a:gd name="connsiteY97" fmla="*/ 3503600 h 4006207"/>
              <a:gd name="connsiteX98" fmla="*/ 1050193 w 3654515"/>
              <a:gd name="connsiteY98" fmla="*/ 3520680 h 4006207"/>
              <a:gd name="connsiteX99" fmla="*/ 0 w 3654515"/>
              <a:gd name="connsiteY99" fmla="*/ 2943751 h 4006207"/>
              <a:gd name="connsiteX100" fmla="*/ 0 w 3654515"/>
              <a:gd name="connsiteY100" fmla="*/ 588894 h 4006207"/>
              <a:gd name="connsiteX101" fmla="*/ 1315224 w 3654515"/>
              <a:gd name="connsiteY101" fmla="*/ 0 h 400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3654515" h="4006207">
                <a:moveTo>
                  <a:pt x="2615664" y="2534931"/>
                </a:moveTo>
                <a:cubicBezTo>
                  <a:pt x="2075168" y="2553950"/>
                  <a:pt x="1992068" y="3047282"/>
                  <a:pt x="1960582" y="3034209"/>
                </a:cubicBezTo>
                <a:cubicBezTo>
                  <a:pt x="1750630" y="2947045"/>
                  <a:pt x="1387344" y="3032852"/>
                  <a:pt x="1338741" y="3425023"/>
                </a:cubicBezTo>
                <a:cubicBezTo>
                  <a:pt x="1313406" y="3629467"/>
                  <a:pt x="1448733" y="3854175"/>
                  <a:pt x="1731746" y="3891938"/>
                </a:cubicBezTo>
                <a:lnTo>
                  <a:pt x="1776343" y="3896192"/>
                </a:lnTo>
                <a:lnTo>
                  <a:pt x="1804775" y="3901622"/>
                </a:lnTo>
                <a:lnTo>
                  <a:pt x="3274309" y="3901622"/>
                </a:lnTo>
                <a:lnTo>
                  <a:pt x="3279764" y="3900582"/>
                </a:lnTo>
                <a:lnTo>
                  <a:pt x="3285213" y="3901622"/>
                </a:lnTo>
                <a:cubicBezTo>
                  <a:pt x="3450282" y="3901622"/>
                  <a:pt x="3586162" y="3769274"/>
                  <a:pt x="3560897" y="3646315"/>
                </a:cubicBezTo>
                <a:cubicBezTo>
                  <a:pt x="3543701" y="3562623"/>
                  <a:pt x="3485290" y="3469652"/>
                  <a:pt x="3253200" y="3434254"/>
                </a:cubicBezTo>
                <a:cubicBezTo>
                  <a:pt x="3255079" y="3357929"/>
                  <a:pt x="3270309" y="3308317"/>
                  <a:pt x="3272188" y="3231989"/>
                </a:cubicBezTo>
                <a:cubicBezTo>
                  <a:pt x="3272188" y="2854587"/>
                  <a:pt x="3006128" y="2534931"/>
                  <a:pt x="2615664" y="2534931"/>
                </a:cubicBezTo>
                <a:close/>
                <a:moveTo>
                  <a:pt x="2610633" y="2448880"/>
                </a:moveTo>
                <a:cubicBezTo>
                  <a:pt x="3031516" y="2448880"/>
                  <a:pt x="3372712" y="2797500"/>
                  <a:pt x="3372712" y="3227544"/>
                </a:cubicBezTo>
                <a:lnTo>
                  <a:pt x="3352240" y="3365886"/>
                </a:lnTo>
                <a:lnTo>
                  <a:pt x="3457751" y="3387188"/>
                </a:lnTo>
                <a:cubicBezTo>
                  <a:pt x="3573383" y="3436096"/>
                  <a:pt x="3654515" y="3550593"/>
                  <a:pt x="3654515" y="3684038"/>
                </a:cubicBezTo>
                <a:cubicBezTo>
                  <a:pt x="3654515" y="3861967"/>
                  <a:pt x="3510277" y="4006204"/>
                  <a:pt x="3332349" y="4006204"/>
                </a:cubicBezTo>
                <a:lnTo>
                  <a:pt x="3326473" y="4005021"/>
                </a:lnTo>
                <a:lnTo>
                  <a:pt x="3320592" y="4006207"/>
                </a:lnTo>
                <a:lnTo>
                  <a:pt x="1736561" y="4006204"/>
                </a:lnTo>
                <a:lnTo>
                  <a:pt x="1705914" y="4000020"/>
                </a:lnTo>
                <a:lnTo>
                  <a:pt x="1657844" y="3995171"/>
                </a:lnTo>
                <a:cubicBezTo>
                  <a:pt x="1410373" y="3944532"/>
                  <a:pt x="1224216" y="3725571"/>
                  <a:pt x="1224216" y="3463131"/>
                </a:cubicBezTo>
                <a:cubicBezTo>
                  <a:pt x="1224216" y="3163198"/>
                  <a:pt x="1467359" y="2920055"/>
                  <a:pt x="1767292" y="2920055"/>
                </a:cubicBezTo>
                <a:cubicBezTo>
                  <a:pt x="1804783" y="2920055"/>
                  <a:pt x="1841387" y="2923852"/>
                  <a:pt x="1876738" y="2931089"/>
                </a:cubicBezTo>
                <a:lnTo>
                  <a:pt x="1903868" y="2939508"/>
                </a:lnTo>
                <a:lnTo>
                  <a:pt x="1908440" y="2924453"/>
                </a:lnTo>
                <a:cubicBezTo>
                  <a:pt x="2024131" y="2644980"/>
                  <a:pt x="2294968" y="2448880"/>
                  <a:pt x="2610633" y="2448880"/>
                </a:cubicBezTo>
                <a:close/>
                <a:moveTo>
                  <a:pt x="1328895" y="1748195"/>
                </a:moveTo>
                <a:cubicBezTo>
                  <a:pt x="1368043" y="1748195"/>
                  <a:pt x="1398897" y="1765115"/>
                  <a:pt x="1421457" y="1798955"/>
                </a:cubicBezTo>
                <a:cubicBezTo>
                  <a:pt x="1444017" y="1832795"/>
                  <a:pt x="1455297" y="1879076"/>
                  <a:pt x="1455297" y="1937798"/>
                </a:cubicBezTo>
                <a:cubicBezTo>
                  <a:pt x="1455297" y="1993202"/>
                  <a:pt x="1443353" y="2037326"/>
                  <a:pt x="1419466" y="2070171"/>
                </a:cubicBezTo>
                <a:cubicBezTo>
                  <a:pt x="1395579" y="2103015"/>
                  <a:pt x="1364228" y="2119438"/>
                  <a:pt x="1325411" y="2119438"/>
                </a:cubicBezTo>
                <a:cubicBezTo>
                  <a:pt x="1284605" y="2119438"/>
                  <a:pt x="1252341" y="2103181"/>
                  <a:pt x="1228620" y="2070668"/>
                </a:cubicBezTo>
                <a:cubicBezTo>
                  <a:pt x="1204899" y="2038156"/>
                  <a:pt x="1193038" y="1992870"/>
                  <a:pt x="1193038" y="1934812"/>
                </a:cubicBezTo>
                <a:cubicBezTo>
                  <a:pt x="1193038" y="1875426"/>
                  <a:pt x="1204981" y="1829477"/>
                  <a:pt x="1228869" y="1796964"/>
                </a:cubicBezTo>
                <a:cubicBezTo>
                  <a:pt x="1252755" y="1764451"/>
                  <a:pt x="1286097" y="1748195"/>
                  <a:pt x="1328895" y="1748195"/>
                </a:cubicBezTo>
                <a:close/>
                <a:moveTo>
                  <a:pt x="1785481" y="1577006"/>
                </a:moveTo>
                <a:lnTo>
                  <a:pt x="1785481" y="2290627"/>
                </a:lnTo>
                <a:lnTo>
                  <a:pt x="2246299" y="2290627"/>
                </a:lnTo>
                <a:lnTo>
                  <a:pt x="2246299" y="2122423"/>
                </a:lnTo>
                <a:lnTo>
                  <a:pt x="2000463" y="2122423"/>
                </a:lnTo>
                <a:lnTo>
                  <a:pt x="2000463" y="1577006"/>
                </a:lnTo>
                <a:close/>
                <a:moveTo>
                  <a:pt x="1330885" y="1565062"/>
                </a:moveTo>
                <a:cubicBezTo>
                  <a:pt x="1259888" y="1565062"/>
                  <a:pt x="1196522" y="1580904"/>
                  <a:pt x="1140785" y="1612587"/>
                </a:cubicBezTo>
                <a:cubicBezTo>
                  <a:pt x="1085049" y="1644270"/>
                  <a:pt x="1041754" y="1689141"/>
                  <a:pt x="1010900" y="1747200"/>
                </a:cubicBezTo>
                <a:cubicBezTo>
                  <a:pt x="980046" y="1805258"/>
                  <a:pt x="964619" y="1870616"/>
                  <a:pt x="964619" y="1943272"/>
                </a:cubicBezTo>
                <a:cubicBezTo>
                  <a:pt x="964619" y="2012610"/>
                  <a:pt x="979880" y="2074733"/>
                  <a:pt x="1010403" y="2129639"/>
                </a:cubicBezTo>
                <a:cubicBezTo>
                  <a:pt x="1040925" y="2184546"/>
                  <a:pt x="1083639" y="2227178"/>
                  <a:pt x="1138546" y="2257534"/>
                </a:cubicBezTo>
                <a:cubicBezTo>
                  <a:pt x="1193453" y="2287890"/>
                  <a:pt x="1254414" y="2303068"/>
                  <a:pt x="1321430" y="2303068"/>
                </a:cubicBezTo>
                <a:cubicBezTo>
                  <a:pt x="1350294" y="2303068"/>
                  <a:pt x="1377996" y="2300248"/>
                  <a:pt x="1404537" y="2294608"/>
                </a:cubicBezTo>
                <a:lnTo>
                  <a:pt x="1495108" y="2386672"/>
                </a:lnTo>
                <a:lnTo>
                  <a:pt x="1764831" y="2386672"/>
                </a:lnTo>
                <a:lnTo>
                  <a:pt x="1576224" y="2204535"/>
                </a:lnTo>
                <a:cubicBezTo>
                  <a:pt x="1647553" y="2133206"/>
                  <a:pt x="1683217" y="2042303"/>
                  <a:pt x="1683217" y="1931826"/>
                </a:cubicBezTo>
                <a:cubicBezTo>
                  <a:pt x="1683217" y="1860497"/>
                  <a:pt x="1668537" y="1796715"/>
                  <a:pt x="1639176" y="1740482"/>
                </a:cubicBezTo>
                <a:cubicBezTo>
                  <a:pt x="1609815" y="1684248"/>
                  <a:pt x="1568179" y="1640953"/>
                  <a:pt x="1514267" y="1610597"/>
                </a:cubicBezTo>
                <a:cubicBezTo>
                  <a:pt x="1460356" y="1580240"/>
                  <a:pt x="1399229" y="1565062"/>
                  <a:pt x="1330885" y="1565062"/>
                </a:cubicBezTo>
                <a:close/>
                <a:moveTo>
                  <a:pt x="683674" y="1565062"/>
                </a:moveTo>
                <a:cubicBezTo>
                  <a:pt x="595425" y="1565062"/>
                  <a:pt x="525091" y="1585714"/>
                  <a:pt x="472673" y="1627019"/>
                </a:cubicBezTo>
                <a:cubicBezTo>
                  <a:pt x="420254" y="1668323"/>
                  <a:pt x="394045" y="1723479"/>
                  <a:pt x="394045" y="1792485"/>
                </a:cubicBezTo>
                <a:cubicBezTo>
                  <a:pt x="394045" y="1891019"/>
                  <a:pt x="451440" y="1962348"/>
                  <a:pt x="566230" y="2006472"/>
                </a:cubicBezTo>
                <a:cubicBezTo>
                  <a:pt x="601728" y="2019743"/>
                  <a:pt x="626030" y="2030193"/>
                  <a:pt x="639135" y="2037824"/>
                </a:cubicBezTo>
                <a:cubicBezTo>
                  <a:pt x="652239" y="2045455"/>
                  <a:pt x="662026" y="2053666"/>
                  <a:pt x="668496" y="2062457"/>
                </a:cubicBezTo>
                <a:cubicBezTo>
                  <a:pt x="674965" y="2071249"/>
                  <a:pt x="678200" y="2081451"/>
                  <a:pt x="678200" y="2093062"/>
                </a:cubicBezTo>
                <a:cubicBezTo>
                  <a:pt x="678200" y="2109319"/>
                  <a:pt x="671730" y="2121677"/>
                  <a:pt x="658792" y="2130137"/>
                </a:cubicBezTo>
                <a:cubicBezTo>
                  <a:pt x="645853" y="2138597"/>
                  <a:pt x="627606" y="2142827"/>
                  <a:pt x="604051" y="2142827"/>
                </a:cubicBezTo>
                <a:cubicBezTo>
                  <a:pt x="572865" y="2142827"/>
                  <a:pt x="539191" y="2136109"/>
                  <a:pt x="503029" y="2122672"/>
                </a:cubicBezTo>
                <a:cubicBezTo>
                  <a:pt x="466867" y="2109236"/>
                  <a:pt x="433857" y="2091570"/>
                  <a:pt x="403998" y="2069673"/>
                </a:cubicBezTo>
                <a:lnTo>
                  <a:pt x="403998" y="2265247"/>
                </a:lnTo>
                <a:cubicBezTo>
                  <a:pt x="466037" y="2290461"/>
                  <a:pt x="534381" y="2303068"/>
                  <a:pt x="609027" y="2303068"/>
                </a:cubicBezTo>
                <a:cubicBezTo>
                  <a:pt x="673389" y="2303068"/>
                  <a:pt x="728462" y="2294442"/>
                  <a:pt x="774245" y="2277191"/>
                </a:cubicBezTo>
                <a:cubicBezTo>
                  <a:pt x="820028" y="2259939"/>
                  <a:pt x="855610" y="2233730"/>
                  <a:pt x="880990" y="2198563"/>
                </a:cubicBezTo>
                <a:cubicBezTo>
                  <a:pt x="906370" y="2163396"/>
                  <a:pt x="919059" y="2122092"/>
                  <a:pt x="919059" y="2074650"/>
                </a:cubicBezTo>
                <a:cubicBezTo>
                  <a:pt x="919059" y="2025881"/>
                  <a:pt x="903715" y="1983747"/>
                  <a:pt x="873027" y="1948248"/>
                </a:cubicBezTo>
                <a:cubicBezTo>
                  <a:pt x="842339" y="1912749"/>
                  <a:pt x="790004" y="1880071"/>
                  <a:pt x="716021" y="1850212"/>
                </a:cubicBezTo>
                <a:cubicBezTo>
                  <a:pt x="678532" y="1834619"/>
                  <a:pt x="653898" y="1821929"/>
                  <a:pt x="642121" y="1812142"/>
                </a:cubicBezTo>
                <a:cubicBezTo>
                  <a:pt x="630343" y="1802355"/>
                  <a:pt x="624454" y="1789997"/>
                  <a:pt x="624454" y="1775068"/>
                </a:cubicBezTo>
                <a:cubicBezTo>
                  <a:pt x="624454" y="1759475"/>
                  <a:pt x="631753" y="1747200"/>
                  <a:pt x="646350" y="1738242"/>
                </a:cubicBezTo>
                <a:cubicBezTo>
                  <a:pt x="660948" y="1729285"/>
                  <a:pt x="680190" y="1724806"/>
                  <a:pt x="704077" y="1724806"/>
                </a:cubicBezTo>
                <a:cubicBezTo>
                  <a:pt x="762136" y="1724806"/>
                  <a:pt x="821189" y="1741228"/>
                  <a:pt x="881239" y="1774073"/>
                </a:cubicBezTo>
                <a:lnTo>
                  <a:pt x="881239" y="1592433"/>
                </a:lnTo>
                <a:cubicBezTo>
                  <a:pt x="850385" y="1584139"/>
                  <a:pt x="826415" y="1578499"/>
                  <a:pt x="809329" y="1575513"/>
                </a:cubicBezTo>
                <a:cubicBezTo>
                  <a:pt x="792243" y="1572527"/>
                  <a:pt x="773250" y="1570039"/>
                  <a:pt x="752349" y="1568048"/>
                </a:cubicBezTo>
                <a:cubicBezTo>
                  <a:pt x="731448" y="1566057"/>
                  <a:pt x="708556" y="1565062"/>
                  <a:pt x="683674" y="1565062"/>
                </a:cubicBezTo>
                <a:close/>
                <a:moveTo>
                  <a:pt x="1309044" y="196190"/>
                </a:moveTo>
                <a:cubicBezTo>
                  <a:pt x="777755" y="196190"/>
                  <a:pt x="347062" y="332363"/>
                  <a:pt x="347062" y="500340"/>
                </a:cubicBezTo>
                <a:cubicBezTo>
                  <a:pt x="347062" y="668316"/>
                  <a:pt x="777755" y="804488"/>
                  <a:pt x="1309044" y="804488"/>
                </a:cubicBezTo>
                <a:cubicBezTo>
                  <a:pt x="1840335" y="804488"/>
                  <a:pt x="2271029" y="668316"/>
                  <a:pt x="2271029" y="500340"/>
                </a:cubicBezTo>
                <a:cubicBezTo>
                  <a:pt x="2271029" y="332363"/>
                  <a:pt x="1840335" y="196190"/>
                  <a:pt x="1309044" y="196190"/>
                </a:cubicBezTo>
                <a:close/>
                <a:moveTo>
                  <a:pt x="1315224" y="0"/>
                </a:moveTo>
                <a:cubicBezTo>
                  <a:pt x="2041487" y="0"/>
                  <a:pt x="2630444" y="263538"/>
                  <a:pt x="2630444" y="588894"/>
                </a:cubicBezTo>
                <a:cubicBezTo>
                  <a:pt x="2632582" y="1185624"/>
                  <a:pt x="2634718" y="1782357"/>
                  <a:pt x="2636856" y="2379088"/>
                </a:cubicBezTo>
                <a:cubicBezTo>
                  <a:pt x="2239277" y="2346543"/>
                  <a:pt x="1952849" y="2602556"/>
                  <a:pt x="1860931" y="2847882"/>
                </a:cubicBezTo>
                <a:cubicBezTo>
                  <a:pt x="1610647" y="2807470"/>
                  <a:pt x="1299367" y="2933621"/>
                  <a:pt x="1167213" y="3297268"/>
                </a:cubicBezTo>
                <a:cubicBezTo>
                  <a:pt x="1137653" y="3455719"/>
                  <a:pt x="1164439" y="3466365"/>
                  <a:pt x="1144936" y="3503600"/>
                </a:cubicBezTo>
                <a:cubicBezTo>
                  <a:pt x="1125433" y="3540836"/>
                  <a:pt x="1157653" y="3515663"/>
                  <a:pt x="1050193" y="3520680"/>
                </a:cubicBezTo>
                <a:cubicBezTo>
                  <a:pt x="450921" y="3465791"/>
                  <a:pt x="0" y="3228437"/>
                  <a:pt x="0" y="2943751"/>
                </a:cubicBezTo>
                <a:lnTo>
                  <a:pt x="0" y="588894"/>
                </a:lnTo>
                <a:cubicBezTo>
                  <a:pt x="0" y="263538"/>
                  <a:pt x="588957" y="0"/>
                  <a:pt x="1315224" y="0"/>
                </a:cubicBezTo>
                <a:close/>
              </a:path>
            </a:pathLst>
          </a:custGeom>
          <a:solidFill>
            <a:sysClr val="window" lastClr="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200" b="1" i="0" u="none" strike="noStrike" kern="0" cap="none" spc="0" normalizeH="0" baseline="0" noProof="0">
              <a:ln>
                <a:noFill/>
              </a:ln>
              <a:gradFill>
                <a:gsLst>
                  <a:gs pos="2917">
                    <a:srgbClr val="505050"/>
                  </a:gs>
                  <a:gs pos="30000">
                    <a:srgbClr val="505050"/>
                  </a:gs>
                </a:gsLst>
                <a:lin ang="5400000" scaled="0"/>
              </a:gradFill>
              <a:effectLst/>
              <a:uLnTx/>
              <a:uFillTx/>
              <a:latin typeface="Segoe UI"/>
              <a:ea typeface="Segoe UI Black" panose="020B0A02040204020203" pitchFamily="34" charset="0"/>
              <a:cs typeface="Segoe UI Black" panose="020B0A02040204020203" pitchFamily="34" charset="0"/>
            </a:endParaRPr>
          </a:p>
        </p:txBody>
      </p:sp>
      <p:sp>
        <p:nvSpPr>
          <p:cNvPr id="238" name="TextBox 237"/>
          <p:cNvSpPr txBox="1"/>
          <p:nvPr/>
        </p:nvSpPr>
        <p:spPr>
          <a:xfrm>
            <a:off x="4677974" y="2489617"/>
            <a:ext cx="1115196" cy="430887"/>
          </a:xfrm>
          <a:prstGeom prst="rect">
            <a:avLst/>
          </a:prstGeom>
          <a:noFill/>
        </p:spPr>
        <p:txBody>
          <a:bodyPr wrap="squar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Azure </a:t>
            </a:r>
            <a:br>
              <a:rPr kumimoji="0" lang="en-US" sz="11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br>
            <a:r>
              <a:rPr kumimoji="0" lang="en-US" sz="11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SQL Database</a:t>
            </a:r>
          </a:p>
        </p:txBody>
      </p:sp>
      <p:sp>
        <p:nvSpPr>
          <p:cNvPr id="239" name="Freeform 118"/>
          <p:cNvSpPr/>
          <p:nvPr/>
        </p:nvSpPr>
        <p:spPr bwMode="auto">
          <a:xfrm>
            <a:off x="1918470" y="2420926"/>
            <a:ext cx="419080" cy="542141"/>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ysClr val="window" lastClr="FFFFFF"/>
          </a:solidFill>
          <a:ln w="6350" cap="flat" cmpd="sng" algn="ctr">
            <a:noFill/>
            <a:prstDash val="solid"/>
            <a:miter lim="800000"/>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1" i="0" u="none" strike="noStrike" kern="0" cap="none" spc="0" normalizeH="0" baseline="0" noProof="0">
              <a:ln>
                <a:noFill/>
              </a:ln>
              <a:solidFill>
                <a:srgbClr val="FFFFFF">
                  <a:lumMod val="85000"/>
                </a:srgbClr>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240" name="TextBox 239"/>
          <p:cNvSpPr txBox="1"/>
          <p:nvPr/>
        </p:nvSpPr>
        <p:spPr>
          <a:xfrm>
            <a:off x="2442224" y="2555635"/>
            <a:ext cx="1050572" cy="261610"/>
          </a:xfrm>
          <a:prstGeom prst="rect">
            <a:avLst/>
          </a:prstGeom>
          <a:noFill/>
        </p:spPr>
        <p:txBody>
          <a:bodyPr wrap="squar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SQL Server</a:t>
            </a:r>
          </a:p>
        </p:txBody>
      </p:sp>
      <p:sp>
        <p:nvSpPr>
          <p:cNvPr id="241" name="Freeform 118"/>
          <p:cNvSpPr/>
          <p:nvPr/>
        </p:nvSpPr>
        <p:spPr bwMode="auto">
          <a:xfrm>
            <a:off x="1918470" y="3636790"/>
            <a:ext cx="419080" cy="542141"/>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ysClr val="window" lastClr="FFFFFF"/>
          </a:solidFill>
          <a:ln w="6350" cap="flat" cmpd="sng" algn="ctr">
            <a:noFill/>
            <a:prstDash val="solid"/>
            <a:miter lim="800000"/>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1" i="0" u="none" strike="noStrike" kern="0" cap="none" spc="0" normalizeH="0" baseline="0" noProof="0">
              <a:ln>
                <a:noFill/>
              </a:ln>
              <a:solidFill>
                <a:srgbClr val="FFFFFF">
                  <a:lumMod val="85000"/>
                </a:srgbClr>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242" name="TextBox 241"/>
          <p:cNvSpPr txBox="1"/>
          <p:nvPr/>
        </p:nvSpPr>
        <p:spPr>
          <a:xfrm>
            <a:off x="2442224" y="3771499"/>
            <a:ext cx="1273783" cy="261610"/>
          </a:xfrm>
          <a:prstGeom prst="rect">
            <a:avLst/>
          </a:prstGeom>
          <a:noFill/>
        </p:spPr>
        <p:txBody>
          <a:bodyPr wrap="squar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SQL Server</a:t>
            </a:r>
          </a:p>
        </p:txBody>
      </p:sp>
      <p:grpSp>
        <p:nvGrpSpPr>
          <p:cNvPr id="243" name="Group 242"/>
          <p:cNvGrpSpPr/>
          <p:nvPr/>
        </p:nvGrpSpPr>
        <p:grpSpPr>
          <a:xfrm>
            <a:off x="1810358" y="4865393"/>
            <a:ext cx="1537881" cy="472248"/>
            <a:chOff x="3849274" y="4940715"/>
            <a:chExt cx="1537881" cy="472248"/>
          </a:xfrm>
        </p:grpSpPr>
        <p:sp>
          <p:nvSpPr>
            <p:cNvPr id="244" name="TextBox 243"/>
            <p:cNvSpPr txBox="1"/>
            <p:nvPr/>
          </p:nvSpPr>
          <p:spPr>
            <a:xfrm>
              <a:off x="4508101" y="4940715"/>
              <a:ext cx="879054" cy="430887"/>
            </a:xfrm>
            <a:prstGeom prst="rect">
              <a:avLst/>
            </a:prstGeom>
            <a:noFill/>
          </p:spPr>
          <p:txBody>
            <a:bodyPr wrap="squar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Apache</a:t>
              </a:r>
              <a:br>
                <a:rPr kumimoji="0" lang="en-US" sz="11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br>
              <a:r>
                <a:rPr kumimoji="0" lang="en-US" sz="1100" b="1"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Hadoop</a:t>
              </a:r>
            </a:p>
          </p:txBody>
        </p:sp>
        <p:sp>
          <p:nvSpPr>
            <p:cNvPr id="245" name="Freeform: Shape 70"/>
            <p:cNvSpPr>
              <a:spLocks/>
            </p:cNvSpPr>
            <p:nvPr/>
          </p:nvSpPr>
          <p:spPr bwMode="auto">
            <a:xfrm>
              <a:off x="3849274" y="4942820"/>
              <a:ext cx="654765" cy="470143"/>
            </a:xfrm>
            <a:custGeom>
              <a:avLst/>
              <a:gdLst>
                <a:gd name="connsiteX0" fmla="*/ 3221632 w 5336589"/>
                <a:gd name="connsiteY0" fmla="*/ 2948204 h 3831857"/>
                <a:gd name="connsiteX1" fmla="*/ 3360482 w 5336589"/>
                <a:gd name="connsiteY1" fmla="*/ 3245280 h 3831857"/>
                <a:gd name="connsiteX2" fmla="*/ 3342722 w 5336589"/>
                <a:gd name="connsiteY2" fmla="*/ 3484231 h 3831857"/>
                <a:gd name="connsiteX3" fmla="*/ 3396003 w 5336589"/>
                <a:gd name="connsiteY3" fmla="*/ 3655372 h 3831857"/>
                <a:gd name="connsiteX4" fmla="*/ 3098926 w 5336589"/>
                <a:gd name="connsiteY4" fmla="*/ 3719954 h 3831857"/>
                <a:gd name="connsiteX5" fmla="*/ 2801850 w 5336589"/>
                <a:gd name="connsiteY5" fmla="*/ 3658602 h 3831857"/>
                <a:gd name="connsiteX6" fmla="*/ 3221632 w 5336589"/>
                <a:gd name="connsiteY6" fmla="*/ 2948204 h 3831857"/>
                <a:gd name="connsiteX7" fmla="*/ 325133 w 5336589"/>
                <a:gd name="connsiteY7" fmla="*/ 2651130 h 3831857"/>
                <a:gd name="connsiteX8" fmla="*/ 628668 w 5336589"/>
                <a:gd name="connsiteY8" fmla="*/ 3277571 h 3831857"/>
                <a:gd name="connsiteX9" fmla="*/ 467213 w 5336589"/>
                <a:gd name="connsiteY9" fmla="*/ 3408348 h 3831857"/>
                <a:gd name="connsiteX10" fmla="*/ 78108 w 5336589"/>
                <a:gd name="connsiteY10" fmla="*/ 3017631 h 3831857"/>
                <a:gd name="connsiteX11" fmla="*/ 325133 w 5336589"/>
                <a:gd name="connsiteY11" fmla="*/ 2651130 h 3831857"/>
                <a:gd name="connsiteX12" fmla="*/ 3683393 w 5336589"/>
                <a:gd name="connsiteY12" fmla="*/ 922762 h 3831857"/>
                <a:gd name="connsiteX13" fmla="*/ 3249079 w 5336589"/>
                <a:gd name="connsiteY13" fmla="*/ 1251322 h 3831857"/>
                <a:gd name="connsiteX14" fmla="*/ 3336263 w 5336589"/>
                <a:gd name="connsiteY14" fmla="*/ 1177862 h 3831857"/>
                <a:gd name="connsiteX15" fmla="*/ 3477115 w 5336589"/>
                <a:gd name="connsiteY15" fmla="*/ 1303862 h 3831857"/>
                <a:gd name="connsiteX16" fmla="*/ 3386316 w 5336589"/>
                <a:gd name="connsiteY16" fmla="*/ 1441839 h 3831857"/>
                <a:gd name="connsiteX17" fmla="*/ 3860993 w 5336589"/>
                <a:gd name="connsiteY17" fmla="*/ 1094711 h 3831857"/>
                <a:gd name="connsiteX18" fmla="*/ 3736440 w 5336589"/>
                <a:gd name="connsiteY18" fmla="*/ 1125953 h 3831857"/>
                <a:gd name="connsiteX19" fmla="*/ 3611142 w 5336589"/>
                <a:gd name="connsiteY19" fmla="*/ 974427 h 3831857"/>
                <a:gd name="connsiteX20" fmla="*/ 3683393 w 5336589"/>
                <a:gd name="connsiteY20" fmla="*/ 922762 h 3831857"/>
                <a:gd name="connsiteX21" fmla="*/ 3202477 w 5336589"/>
                <a:gd name="connsiteY21" fmla="*/ 625701 h 3831857"/>
                <a:gd name="connsiteX22" fmla="*/ 3048875 w 5336589"/>
                <a:gd name="connsiteY22" fmla="*/ 991380 h 3831857"/>
                <a:gd name="connsiteX23" fmla="*/ 3391159 w 5336589"/>
                <a:gd name="connsiteY23" fmla="*/ 649097 h 3831857"/>
                <a:gd name="connsiteX24" fmla="*/ 3243832 w 5336589"/>
                <a:gd name="connsiteY24" fmla="*/ 626367 h 3831857"/>
                <a:gd name="connsiteX25" fmla="*/ 3202477 w 5336589"/>
                <a:gd name="connsiteY25" fmla="*/ 625701 h 3831857"/>
                <a:gd name="connsiteX26" fmla="*/ 2674610 w 5336589"/>
                <a:gd name="connsiteY26" fmla="*/ 621340 h 3831857"/>
                <a:gd name="connsiteX27" fmla="*/ 2673929 w 5336589"/>
                <a:gd name="connsiteY27" fmla="*/ 621683 h 3831857"/>
                <a:gd name="connsiteX28" fmla="*/ 2673248 w 5336589"/>
                <a:gd name="connsiteY28" fmla="*/ 621683 h 3831857"/>
                <a:gd name="connsiteX29" fmla="*/ 2671886 w 5336589"/>
                <a:gd name="connsiteY29" fmla="*/ 622370 h 3831857"/>
                <a:gd name="connsiteX30" fmla="*/ 2670184 w 5336589"/>
                <a:gd name="connsiteY30" fmla="*/ 622713 h 3831857"/>
                <a:gd name="connsiteX31" fmla="*/ 2667800 w 5336589"/>
                <a:gd name="connsiteY31" fmla="*/ 623400 h 3831857"/>
                <a:gd name="connsiteX32" fmla="*/ 2665416 w 5336589"/>
                <a:gd name="connsiteY32" fmla="*/ 624087 h 3831857"/>
                <a:gd name="connsiteX33" fmla="*/ 2662692 w 5336589"/>
                <a:gd name="connsiteY33" fmla="*/ 624773 h 3831857"/>
                <a:gd name="connsiteX34" fmla="*/ 2659628 w 5336589"/>
                <a:gd name="connsiteY34" fmla="*/ 625803 h 3831857"/>
                <a:gd name="connsiteX35" fmla="*/ 2655542 w 5336589"/>
                <a:gd name="connsiteY35" fmla="*/ 627176 h 3831857"/>
                <a:gd name="connsiteX36" fmla="*/ 2651796 w 5336589"/>
                <a:gd name="connsiteY36" fmla="*/ 628206 h 3831857"/>
                <a:gd name="connsiteX37" fmla="*/ 2647029 w 5336589"/>
                <a:gd name="connsiteY37" fmla="*/ 629236 h 3831857"/>
                <a:gd name="connsiteX38" fmla="*/ 2642602 w 5336589"/>
                <a:gd name="connsiteY38" fmla="*/ 630610 h 3831857"/>
                <a:gd name="connsiteX39" fmla="*/ 2637495 w 5336589"/>
                <a:gd name="connsiteY39" fmla="*/ 631983 h 3831857"/>
                <a:gd name="connsiteX40" fmla="*/ 2631706 w 5336589"/>
                <a:gd name="connsiteY40" fmla="*/ 633356 h 3831857"/>
                <a:gd name="connsiteX41" fmla="*/ 2625577 w 5336589"/>
                <a:gd name="connsiteY41" fmla="*/ 634729 h 3831857"/>
                <a:gd name="connsiteX42" fmla="*/ 2619448 w 5336589"/>
                <a:gd name="connsiteY42" fmla="*/ 636103 h 3831857"/>
                <a:gd name="connsiteX43" fmla="*/ 2612297 w 5336589"/>
                <a:gd name="connsiteY43" fmla="*/ 637819 h 3831857"/>
                <a:gd name="connsiteX44" fmla="*/ 2605487 w 5336589"/>
                <a:gd name="connsiteY44" fmla="*/ 639536 h 3831857"/>
                <a:gd name="connsiteX45" fmla="*/ 2597655 w 5336589"/>
                <a:gd name="connsiteY45" fmla="*/ 641252 h 3831857"/>
                <a:gd name="connsiteX46" fmla="*/ 2589483 w 5336589"/>
                <a:gd name="connsiteY46" fmla="*/ 642969 h 3831857"/>
                <a:gd name="connsiteX47" fmla="*/ 2580970 w 5336589"/>
                <a:gd name="connsiteY47" fmla="*/ 644685 h 3831857"/>
                <a:gd name="connsiteX48" fmla="*/ 2572458 w 5336589"/>
                <a:gd name="connsiteY48" fmla="*/ 646402 h 3831857"/>
                <a:gd name="connsiteX49" fmla="*/ 2562923 w 5336589"/>
                <a:gd name="connsiteY49" fmla="*/ 648462 h 3831857"/>
                <a:gd name="connsiteX50" fmla="*/ 2553049 w 5336589"/>
                <a:gd name="connsiteY50" fmla="*/ 650522 h 3831857"/>
                <a:gd name="connsiteX51" fmla="*/ 2543174 w 5336589"/>
                <a:gd name="connsiteY51" fmla="*/ 652238 h 3831857"/>
                <a:gd name="connsiteX52" fmla="*/ 2532618 w 5336589"/>
                <a:gd name="connsiteY52" fmla="*/ 654298 h 3831857"/>
                <a:gd name="connsiteX53" fmla="*/ 2521381 w 5336589"/>
                <a:gd name="connsiteY53" fmla="*/ 656358 h 3831857"/>
                <a:gd name="connsiteX54" fmla="*/ 2510145 w 5336589"/>
                <a:gd name="connsiteY54" fmla="*/ 658075 h 3831857"/>
                <a:gd name="connsiteX55" fmla="*/ 2498227 w 5336589"/>
                <a:gd name="connsiteY55" fmla="*/ 660135 h 3831857"/>
                <a:gd name="connsiteX56" fmla="*/ 2485968 w 5336589"/>
                <a:gd name="connsiteY56" fmla="*/ 662194 h 3831857"/>
                <a:gd name="connsiteX57" fmla="*/ 2473029 w 5336589"/>
                <a:gd name="connsiteY57" fmla="*/ 664254 h 3831857"/>
                <a:gd name="connsiteX58" fmla="*/ 2449534 w 5336589"/>
                <a:gd name="connsiteY58" fmla="*/ 667687 h 3831857"/>
                <a:gd name="connsiteX59" fmla="*/ 2426720 w 5336589"/>
                <a:gd name="connsiteY59" fmla="*/ 670777 h 3831857"/>
                <a:gd name="connsiteX60" fmla="*/ 2404927 w 5336589"/>
                <a:gd name="connsiteY60" fmla="*/ 673524 h 3831857"/>
                <a:gd name="connsiteX61" fmla="*/ 2383475 w 5336589"/>
                <a:gd name="connsiteY61" fmla="*/ 675584 h 3831857"/>
                <a:gd name="connsiteX62" fmla="*/ 2363045 w 5336589"/>
                <a:gd name="connsiteY62" fmla="*/ 677300 h 3831857"/>
                <a:gd name="connsiteX63" fmla="*/ 2343636 w 5336589"/>
                <a:gd name="connsiteY63" fmla="*/ 678674 h 3831857"/>
                <a:gd name="connsiteX64" fmla="*/ 2324227 w 5336589"/>
                <a:gd name="connsiteY64" fmla="*/ 680047 h 3831857"/>
                <a:gd name="connsiteX65" fmla="*/ 2305839 w 5336589"/>
                <a:gd name="connsiteY65" fmla="*/ 681420 h 3831857"/>
                <a:gd name="connsiteX66" fmla="*/ 2288814 w 5336589"/>
                <a:gd name="connsiteY66" fmla="*/ 683136 h 3831857"/>
                <a:gd name="connsiteX67" fmla="*/ 2271789 w 5336589"/>
                <a:gd name="connsiteY67" fmla="*/ 684853 h 3831857"/>
                <a:gd name="connsiteX68" fmla="*/ 2255444 w 5336589"/>
                <a:gd name="connsiteY68" fmla="*/ 687256 h 3831857"/>
                <a:gd name="connsiteX69" fmla="*/ 2240462 w 5336589"/>
                <a:gd name="connsiteY69" fmla="*/ 689659 h 3831857"/>
                <a:gd name="connsiteX70" fmla="*/ 2225820 w 5336589"/>
                <a:gd name="connsiteY70" fmla="*/ 692749 h 3831857"/>
                <a:gd name="connsiteX71" fmla="*/ 2211859 w 5336589"/>
                <a:gd name="connsiteY71" fmla="*/ 696526 h 3831857"/>
                <a:gd name="connsiteX72" fmla="*/ 2198920 w 5336589"/>
                <a:gd name="connsiteY72" fmla="*/ 701332 h 3831857"/>
                <a:gd name="connsiteX73" fmla="*/ 2186661 w 5336589"/>
                <a:gd name="connsiteY73" fmla="*/ 706825 h 3831857"/>
                <a:gd name="connsiteX74" fmla="*/ 2169295 w 5336589"/>
                <a:gd name="connsiteY74" fmla="*/ 717125 h 3831857"/>
                <a:gd name="connsiteX75" fmla="*/ 2153292 w 5336589"/>
                <a:gd name="connsiteY75" fmla="*/ 728454 h 3831857"/>
                <a:gd name="connsiteX76" fmla="*/ 2138309 w 5336589"/>
                <a:gd name="connsiteY76" fmla="*/ 740470 h 3831857"/>
                <a:gd name="connsiteX77" fmla="*/ 2124008 w 5336589"/>
                <a:gd name="connsiteY77" fmla="*/ 753172 h 3831857"/>
                <a:gd name="connsiteX78" fmla="*/ 2111068 w 5336589"/>
                <a:gd name="connsiteY78" fmla="*/ 766905 h 3831857"/>
                <a:gd name="connsiteX79" fmla="*/ 2098810 w 5336589"/>
                <a:gd name="connsiteY79" fmla="*/ 782011 h 3831857"/>
                <a:gd name="connsiteX80" fmla="*/ 2087233 w 5336589"/>
                <a:gd name="connsiteY80" fmla="*/ 797460 h 3831857"/>
                <a:gd name="connsiteX81" fmla="*/ 2076677 w 5336589"/>
                <a:gd name="connsiteY81" fmla="*/ 813939 h 3831857"/>
                <a:gd name="connsiteX82" fmla="*/ 2066462 w 5336589"/>
                <a:gd name="connsiteY82" fmla="*/ 831448 h 3831857"/>
                <a:gd name="connsiteX83" fmla="*/ 2056587 w 5336589"/>
                <a:gd name="connsiteY83" fmla="*/ 850330 h 3831857"/>
                <a:gd name="connsiteX84" fmla="*/ 2047393 w 5336589"/>
                <a:gd name="connsiteY84" fmla="*/ 869556 h 3831857"/>
                <a:gd name="connsiteX85" fmla="*/ 2039221 w 5336589"/>
                <a:gd name="connsiteY85" fmla="*/ 890498 h 3831857"/>
                <a:gd name="connsiteX86" fmla="*/ 2030708 w 5336589"/>
                <a:gd name="connsiteY86" fmla="*/ 912470 h 3831857"/>
                <a:gd name="connsiteX87" fmla="*/ 2022196 w 5336589"/>
                <a:gd name="connsiteY87" fmla="*/ 935472 h 3831857"/>
                <a:gd name="connsiteX88" fmla="*/ 2014024 w 5336589"/>
                <a:gd name="connsiteY88" fmla="*/ 959847 h 3831857"/>
                <a:gd name="connsiteX89" fmla="*/ 2006532 w 5336589"/>
                <a:gd name="connsiteY89" fmla="*/ 985252 h 3831857"/>
                <a:gd name="connsiteX90" fmla="*/ 2001425 w 5336589"/>
                <a:gd name="connsiteY90" fmla="*/ 1000358 h 3831857"/>
                <a:gd name="connsiteX91" fmla="*/ 1996998 w 5336589"/>
                <a:gd name="connsiteY91" fmla="*/ 1015807 h 3831857"/>
                <a:gd name="connsiteX92" fmla="*/ 1989166 w 5336589"/>
                <a:gd name="connsiteY92" fmla="*/ 1046705 h 3831857"/>
                <a:gd name="connsiteX93" fmla="*/ 1982356 w 5336589"/>
                <a:gd name="connsiteY93" fmla="*/ 1078290 h 3831857"/>
                <a:gd name="connsiteX94" fmla="*/ 1977249 w 5336589"/>
                <a:gd name="connsiteY94" fmla="*/ 1109875 h 3831857"/>
                <a:gd name="connsiteX95" fmla="*/ 1972822 w 5336589"/>
                <a:gd name="connsiteY95" fmla="*/ 1140430 h 3831857"/>
                <a:gd name="connsiteX96" fmla="*/ 1969417 w 5336589"/>
                <a:gd name="connsiteY96" fmla="*/ 1170642 h 3831857"/>
                <a:gd name="connsiteX97" fmla="*/ 1968055 w 5336589"/>
                <a:gd name="connsiteY97" fmla="*/ 1185404 h 3831857"/>
                <a:gd name="connsiteX98" fmla="*/ 1967033 w 5336589"/>
                <a:gd name="connsiteY98" fmla="*/ 1199480 h 3831857"/>
                <a:gd name="connsiteX99" fmla="*/ 1966012 w 5336589"/>
                <a:gd name="connsiteY99" fmla="*/ 1213556 h 3831857"/>
                <a:gd name="connsiteX100" fmla="*/ 1965331 w 5336589"/>
                <a:gd name="connsiteY100" fmla="*/ 1227288 h 3831857"/>
                <a:gd name="connsiteX101" fmla="*/ 1964650 w 5336589"/>
                <a:gd name="connsiteY101" fmla="*/ 1240334 h 3831857"/>
                <a:gd name="connsiteX102" fmla="*/ 1963969 w 5336589"/>
                <a:gd name="connsiteY102" fmla="*/ 1252693 h 3831857"/>
                <a:gd name="connsiteX103" fmla="*/ 1963628 w 5336589"/>
                <a:gd name="connsiteY103" fmla="*/ 1264709 h 3831857"/>
                <a:gd name="connsiteX104" fmla="*/ 1963288 w 5336589"/>
                <a:gd name="connsiteY104" fmla="*/ 1276039 h 3831857"/>
                <a:gd name="connsiteX105" fmla="*/ 1963288 w 5336589"/>
                <a:gd name="connsiteY105" fmla="*/ 1287025 h 3831857"/>
                <a:gd name="connsiteX106" fmla="*/ 1962947 w 5336589"/>
                <a:gd name="connsiteY106" fmla="*/ 1296638 h 3831857"/>
                <a:gd name="connsiteX107" fmla="*/ 1962947 w 5336589"/>
                <a:gd name="connsiteY107" fmla="*/ 1305907 h 3831857"/>
                <a:gd name="connsiteX108" fmla="*/ 1963288 w 5336589"/>
                <a:gd name="connsiteY108" fmla="*/ 1314490 h 3831857"/>
                <a:gd name="connsiteX109" fmla="*/ 1963288 w 5336589"/>
                <a:gd name="connsiteY109" fmla="*/ 1322386 h 3831857"/>
                <a:gd name="connsiteX110" fmla="*/ 1963288 w 5336589"/>
                <a:gd name="connsiteY110" fmla="*/ 1328909 h 3831857"/>
                <a:gd name="connsiteX111" fmla="*/ 1963288 w 5336589"/>
                <a:gd name="connsiteY111" fmla="*/ 1335089 h 3831857"/>
                <a:gd name="connsiteX112" fmla="*/ 1963628 w 5336589"/>
                <a:gd name="connsiteY112" fmla="*/ 1339895 h 3831857"/>
                <a:gd name="connsiteX113" fmla="*/ 1963628 w 5336589"/>
                <a:gd name="connsiteY113" fmla="*/ 1343671 h 3831857"/>
                <a:gd name="connsiteX114" fmla="*/ 1963969 w 5336589"/>
                <a:gd name="connsiteY114" fmla="*/ 1346761 h 3831857"/>
                <a:gd name="connsiteX115" fmla="*/ 1963969 w 5336589"/>
                <a:gd name="connsiteY115" fmla="*/ 1348135 h 3831857"/>
                <a:gd name="connsiteX116" fmla="*/ 1963969 w 5336589"/>
                <a:gd name="connsiteY116" fmla="*/ 1348821 h 3831857"/>
                <a:gd name="connsiteX117" fmla="*/ 1964309 w 5336589"/>
                <a:gd name="connsiteY117" fmla="*/ 1348135 h 3831857"/>
                <a:gd name="connsiteX118" fmla="*/ 1964309 w 5336589"/>
                <a:gd name="connsiteY118" fmla="*/ 1347105 h 3831857"/>
                <a:gd name="connsiteX119" fmla="*/ 1964650 w 5336589"/>
                <a:gd name="connsiteY119" fmla="*/ 1345731 h 3831857"/>
                <a:gd name="connsiteX120" fmla="*/ 1965331 w 5336589"/>
                <a:gd name="connsiteY120" fmla="*/ 1343671 h 3831857"/>
                <a:gd name="connsiteX121" fmla="*/ 1965671 w 5336589"/>
                <a:gd name="connsiteY121" fmla="*/ 1341612 h 3831857"/>
                <a:gd name="connsiteX122" fmla="*/ 1966352 w 5336589"/>
                <a:gd name="connsiteY122" fmla="*/ 1339208 h 3831857"/>
                <a:gd name="connsiteX123" fmla="*/ 1967033 w 5336589"/>
                <a:gd name="connsiteY123" fmla="*/ 1336119 h 3831857"/>
                <a:gd name="connsiteX124" fmla="*/ 1969076 w 5336589"/>
                <a:gd name="connsiteY124" fmla="*/ 1329252 h 3831857"/>
                <a:gd name="connsiteX125" fmla="*/ 1971119 w 5336589"/>
                <a:gd name="connsiteY125" fmla="*/ 1321699 h 3831857"/>
                <a:gd name="connsiteX126" fmla="*/ 1973844 w 5336589"/>
                <a:gd name="connsiteY126" fmla="*/ 1312430 h 3831857"/>
                <a:gd name="connsiteX127" fmla="*/ 1976568 w 5336589"/>
                <a:gd name="connsiteY127" fmla="*/ 1302131 h 3831857"/>
                <a:gd name="connsiteX128" fmla="*/ 1979632 w 5336589"/>
                <a:gd name="connsiteY128" fmla="*/ 1290801 h 3831857"/>
                <a:gd name="connsiteX129" fmla="*/ 1983037 w 5336589"/>
                <a:gd name="connsiteY129" fmla="*/ 1278442 h 3831857"/>
                <a:gd name="connsiteX130" fmla="*/ 1987123 w 5336589"/>
                <a:gd name="connsiteY130" fmla="*/ 1265739 h 3831857"/>
                <a:gd name="connsiteX131" fmla="*/ 1991209 w 5336589"/>
                <a:gd name="connsiteY131" fmla="*/ 1252007 h 3831857"/>
                <a:gd name="connsiteX132" fmla="*/ 1995636 w 5336589"/>
                <a:gd name="connsiteY132" fmla="*/ 1237244 h 3831857"/>
                <a:gd name="connsiteX133" fmla="*/ 2000403 w 5336589"/>
                <a:gd name="connsiteY133" fmla="*/ 1222482 h 3831857"/>
                <a:gd name="connsiteX134" fmla="*/ 2004830 w 5336589"/>
                <a:gd name="connsiteY134" fmla="*/ 1207033 h 3831857"/>
                <a:gd name="connsiteX135" fmla="*/ 2010278 w 5336589"/>
                <a:gd name="connsiteY135" fmla="*/ 1190897 h 3831857"/>
                <a:gd name="connsiteX136" fmla="*/ 2021174 w 5336589"/>
                <a:gd name="connsiteY136" fmla="*/ 1158626 h 3831857"/>
                <a:gd name="connsiteX137" fmla="*/ 2032752 w 5336589"/>
                <a:gd name="connsiteY137" fmla="*/ 1125324 h 3831857"/>
                <a:gd name="connsiteX138" fmla="*/ 2045010 w 5336589"/>
                <a:gd name="connsiteY138" fmla="*/ 1092366 h 3831857"/>
                <a:gd name="connsiteX139" fmla="*/ 2051479 w 5336589"/>
                <a:gd name="connsiteY139" fmla="*/ 1076230 h 3831857"/>
                <a:gd name="connsiteX140" fmla="*/ 2057609 w 5336589"/>
                <a:gd name="connsiteY140" fmla="*/ 1059751 h 3831857"/>
                <a:gd name="connsiteX141" fmla="*/ 2064419 w 5336589"/>
                <a:gd name="connsiteY141" fmla="*/ 1044302 h 3831857"/>
                <a:gd name="connsiteX142" fmla="*/ 2070888 w 5336589"/>
                <a:gd name="connsiteY142" fmla="*/ 1029540 h 3831857"/>
                <a:gd name="connsiteX143" fmla="*/ 2077699 w 5336589"/>
                <a:gd name="connsiteY143" fmla="*/ 1014434 h 3831857"/>
                <a:gd name="connsiteX144" fmla="*/ 2084849 w 5336589"/>
                <a:gd name="connsiteY144" fmla="*/ 1000701 h 3831857"/>
                <a:gd name="connsiteX145" fmla="*/ 2091319 w 5336589"/>
                <a:gd name="connsiteY145" fmla="*/ 987312 h 3831857"/>
                <a:gd name="connsiteX146" fmla="*/ 2098470 w 5336589"/>
                <a:gd name="connsiteY146" fmla="*/ 974953 h 3831857"/>
                <a:gd name="connsiteX147" fmla="*/ 2105620 w 5336589"/>
                <a:gd name="connsiteY147" fmla="*/ 963624 h 3831857"/>
                <a:gd name="connsiteX148" fmla="*/ 2112090 w 5336589"/>
                <a:gd name="connsiteY148" fmla="*/ 952981 h 3831857"/>
                <a:gd name="connsiteX149" fmla="*/ 2117198 w 5336589"/>
                <a:gd name="connsiteY149" fmla="*/ 945428 h 3831857"/>
                <a:gd name="connsiteX150" fmla="*/ 2121965 w 5336589"/>
                <a:gd name="connsiteY150" fmla="*/ 937875 h 3831857"/>
                <a:gd name="connsiteX151" fmla="*/ 2126732 w 5336589"/>
                <a:gd name="connsiteY151" fmla="*/ 930665 h 3831857"/>
                <a:gd name="connsiteX152" fmla="*/ 2131158 w 5336589"/>
                <a:gd name="connsiteY152" fmla="*/ 923799 h 3831857"/>
                <a:gd name="connsiteX153" fmla="*/ 2140012 w 5336589"/>
                <a:gd name="connsiteY153" fmla="*/ 911440 h 3831857"/>
                <a:gd name="connsiteX154" fmla="*/ 2148184 w 5336589"/>
                <a:gd name="connsiteY154" fmla="*/ 900454 h 3831857"/>
                <a:gd name="connsiteX155" fmla="*/ 2155335 w 5336589"/>
                <a:gd name="connsiteY155" fmla="*/ 890498 h 3831857"/>
                <a:gd name="connsiteX156" fmla="*/ 2162485 w 5336589"/>
                <a:gd name="connsiteY156" fmla="*/ 881572 h 3831857"/>
                <a:gd name="connsiteX157" fmla="*/ 2168614 w 5336589"/>
                <a:gd name="connsiteY157" fmla="*/ 874019 h 3831857"/>
                <a:gd name="connsiteX158" fmla="*/ 2174744 w 5336589"/>
                <a:gd name="connsiteY158" fmla="*/ 867496 h 3831857"/>
                <a:gd name="connsiteX159" fmla="*/ 2179511 w 5336589"/>
                <a:gd name="connsiteY159" fmla="*/ 862003 h 3831857"/>
                <a:gd name="connsiteX160" fmla="*/ 2184278 w 5336589"/>
                <a:gd name="connsiteY160" fmla="*/ 857196 h 3831857"/>
                <a:gd name="connsiteX161" fmla="*/ 2188023 w 5336589"/>
                <a:gd name="connsiteY161" fmla="*/ 853763 h 3831857"/>
                <a:gd name="connsiteX162" fmla="*/ 2191429 w 5336589"/>
                <a:gd name="connsiteY162" fmla="*/ 851017 h 3831857"/>
                <a:gd name="connsiteX163" fmla="*/ 2194153 w 5336589"/>
                <a:gd name="connsiteY163" fmla="*/ 848614 h 3831857"/>
                <a:gd name="connsiteX164" fmla="*/ 2195855 w 5336589"/>
                <a:gd name="connsiteY164" fmla="*/ 846897 h 3831857"/>
                <a:gd name="connsiteX165" fmla="*/ 2196877 w 5336589"/>
                <a:gd name="connsiteY165" fmla="*/ 846210 h 3831857"/>
                <a:gd name="connsiteX166" fmla="*/ 2197217 w 5336589"/>
                <a:gd name="connsiteY166" fmla="*/ 845867 h 3831857"/>
                <a:gd name="connsiteX167" fmla="*/ 2196877 w 5336589"/>
                <a:gd name="connsiteY167" fmla="*/ 846554 h 3831857"/>
                <a:gd name="connsiteX168" fmla="*/ 2196196 w 5336589"/>
                <a:gd name="connsiteY168" fmla="*/ 848270 h 3831857"/>
                <a:gd name="connsiteX169" fmla="*/ 2195515 w 5336589"/>
                <a:gd name="connsiteY169" fmla="*/ 851360 h 3831857"/>
                <a:gd name="connsiteX170" fmla="*/ 2194153 w 5336589"/>
                <a:gd name="connsiteY170" fmla="*/ 855137 h 3831857"/>
                <a:gd name="connsiteX171" fmla="*/ 2192791 w 5336589"/>
                <a:gd name="connsiteY171" fmla="*/ 859600 h 3831857"/>
                <a:gd name="connsiteX172" fmla="*/ 2191088 w 5336589"/>
                <a:gd name="connsiteY172" fmla="*/ 865436 h 3831857"/>
                <a:gd name="connsiteX173" fmla="*/ 2189385 w 5336589"/>
                <a:gd name="connsiteY173" fmla="*/ 871272 h 3831857"/>
                <a:gd name="connsiteX174" fmla="*/ 2188023 w 5336589"/>
                <a:gd name="connsiteY174" fmla="*/ 878139 h 3831857"/>
                <a:gd name="connsiteX175" fmla="*/ 2186661 w 5336589"/>
                <a:gd name="connsiteY175" fmla="*/ 885691 h 3831857"/>
                <a:gd name="connsiteX176" fmla="*/ 2185299 w 5336589"/>
                <a:gd name="connsiteY176" fmla="*/ 892901 h 3831857"/>
                <a:gd name="connsiteX177" fmla="*/ 2184278 w 5336589"/>
                <a:gd name="connsiteY177" fmla="*/ 901141 h 3831857"/>
                <a:gd name="connsiteX178" fmla="*/ 2183937 w 5336589"/>
                <a:gd name="connsiteY178" fmla="*/ 909380 h 3831857"/>
                <a:gd name="connsiteX179" fmla="*/ 2183597 w 5336589"/>
                <a:gd name="connsiteY179" fmla="*/ 917620 h 3831857"/>
                <a:gd name="connsiteX180" fmla="*/ 2183937 w 5336589"/>
                <a:gd name="connsiteY180" fmla="*/ 925859 h 3831857"/>
                <a:gd name="connsiteX181" fmla="*/ 2184959 w 5336589"/>
                <a:gd name="connsiteY181" fmla="*/ 934442 h 3831857"/>
                <a:gd name="connsiteX182" fmla="*/ 2186661 w 5336589"/>
                <a:gd name="connsiteY182" fmla="*/ 942338 h 3831857"/>
                <a:gd name="connsiteX183" fmla="*/ 2188704 w 5336589"/>
                <a:gd name="connsiteY183" fmla="*/ 960190 h 3831857"/>
                <a:gd name="connsiteX184" fmla="*/ 2191769 w 5336589"/>
                <a:gd name="connsiteY184" fmla="*/ 977356 h 3831857"/>
                <a:gd name="connsiteX185" fmla="*/ 2194493 w 5336589"/>
                <a:gd name="connsiteY185" fmla="*/ 993835 h 3831857"/>
                <a:gd name="connsiteX186" fmla="*/ 2197558 w 5336589"/>
                <a:gd name="connsiteY186" fmla="*/ 1009628 h 3831857"/>
                <a:gd name="connsiteX187" fmla="*/ 2200963 w 5336589"/>
                <a:gd name="connsiteY187" fmla="*/ 1024733 h 3831857"/>
                <a:gd name="connsiteX188" fmla="*/ 2204708 w 5336589"/>
                <a:gd name="connsiteY188" fmla="*/ 1038809 h 3831857"/>
                <a:gd name="connsiteX189" fmla="*/ 2208113 w 5336589"/>
                <a:gd name="connsiteY189" fmla="*/ 1052198 h 3831857"/>
                <a:gd name="connsiteX190" fmla="*/ 2211859 w 5336589"/>
                <a:gd name="connsiteY190" fmla="*/ 1064214 h 3831857"/>
                <a:gd name="connsiteX191" fmla="*/ 2215264 w 5336589"/>
                <a:gd name="connsiteY191" fmla="*/ 1075200 h 3831857"/>
                <a:gd name="connsiteX192" fmla="*/ 2218329 w 5336589"/>
                <a:gd name="connsiteY192" fmla="*/ 1084470 h 3831857"/>
                <a:gd name="connsiteX193" fmla="*/ 2221393 w 5336589"/>
                <a:gd name="connsiteY193" fmla="*/ 1093053 h 3831857"/>
                <a:gd name="connsiteX194" fmla="*/ 2222415 w 5336589"/>
                <a:gd name="connsiteY194" fmla="*/ 1096829 h 3831857"/>
                <a:gd name="connsiteX195" fmla="*/ 2224117 w 5336589"/>
                <a:gd name="connsiteY195" fmla="*/ 1100262 h 3831857"/>
                <a:gd name="connsiteX196" fmla="*/ 2225139 w 5336589"/>
                <a:gd name="connsiteY196" fmla="*/ 1103352 h 3831857"/>
                <a:gd name="connsiteX197" fmla="*/ 2226160 w 5336589"/>
                <a:gd name="connsiteY197" fmla="*/ 1105755 h 3831857"/>
                <a:gd name="connsiteX198" fmla="*/ 2227182 w 5336589"/>
                <a:gd name="connsiteY198" fmla="*/ 1108158 h 3831857"/>
                <a:gd name="connsiteX199" fmla="*/ 2227863 w 5336589"/>
                <a:gd name="connsiteY199" fmla="*/ 1110218 h 3831857"/>
                <a:gd name="connsiteX200" fmla="*/ 2228203 w 5336589"/>
                <a:gd name="connsiteY200" fmla="*/ 1111592 h 3831857"/>
                <a:gd name="connsiteX201" fmla="*/ 2228884 w 5336589"/>
                <a:gd name="connsiteY201" fmla="*/ 1112622 h 3831857"/>
                <a:gd name="connsiteX202" fmla="*/ 2228884 w 5336589"/>
                <a:gd name="connsiteY202" fmla="*/ 1113308 h 3831857"/>
                <a:gd name="connsiteX203" fmla="*/ 2229225 w 5336589"/>
                <a:gd name="connsiteY203" fmla="*/ 1113651 h 3831857"/>
                <a:gd name="connsiteX204" fmla="*/ 2229225 w 5336589"/>
                <a:gd name="connsiteY204" fmla="*/ 1112965 h 3831857"/>
                <a:gd name="connsiteX205" fmla="*/ 2229225 w 5336589"/>
                <a:gd name="connsiteY205" fmla="*/ 1111248 h 3831857"/>
                <a:gd name="connsiteX206" fmla="*/ 2229565 w 5336589"/>
                <a:gd name="connsiteY206" fmla="*/ 1108158 h 3831857"/>
                <a:gd name="connsiteX207" fmla="*/ 2229565 w 5336589"/>
                <a:gd name="connsiteY207" fmla="*/ 1104382 h 3831857"/>
                <a:gd name="connsiteX208" fmla="*/ 2229906 w 5336589"/>
                <a:gd name="connsiteY208" fmla="*/ 1099919 h 3831857"/>
                <a:gd name="connsiteX209" fmla="*/ 2230587 w 5336589"/>
                <a:gd name="connsiteY209" fmla="*/ 1094083 h 3831857"/>
                <a:gd name="connsiteX210" fmla="*/ 2231268 w 5336589"/>
                <a:gd name="connsiteY210" fmla="*/ 1087560 h 3831857"/>
                <a:gd name="connsiteX211" fmla="*/ 2231949 w 5336589"/>
                <a:gd name="connsiteY211" fmla="*/ 1080350 h 3831857"/>
                <a:gd name="connsiteX212" fmla="*/ 2232630 w 5336589"/>
                <a:gd name="connsiteY212" fmla="*/ 1072111 h 3831857"/>
                <a:gd name="connsiteX213" fmla="*/ 2233652 w 5336589"/>
                <a:gd name="connsiteY213" fmla="*/ 1063528 h 3831857"/>
                <a:gd name="connsiteX214" fmla="*/ 2235014 w 5336589"/>
                <a:gd name="connsiteY214" fmla="*/ 1054258 h 3831857"/>
                <a:gd name="connsiteX215" fmla="*/ 2236376 w 5336589"/>
                <a:gd name="connsiteY215" fmla="*/ 1043959 h 3831857"/>
                <a:gd name="connsiteX216" fmla="*/ 2238078 w 5336589"/>
                <a:gd name="connsiteY216" fmla="*/ 1033659 h 3831857"/>
                <a:gd name="connsiteX217" fmla="*/ 2239781 w 5336589"/>
                <a:gd name="connsiteY217" fmla="*/ 1022673 h 3831857"/>
                <a:gd name="connsiteX218" fmla="*/ 2241483 w 5336589"/>
                <a:gd name="connsiteY218" fmla="*/ 1011344 h 3831857"/>
                <a:gd name="connsiteX219" fmla="*/ 2243526 w 5336589"/>
                <a:gd name="connsiteY219" fmla="*/ 999671 h 3831857"/>
                <a:gd name="connsiteX220" fmla="*/ 2248634 w 5336589"/>
                <a:gd name="connsiteY220" fmla="*/ 975640 h 3831857"/>
                <a:gd name="connsiteX221" fmla="*/ 2254423 w 5336589"/>
                <a:gd name="connsiteY221" fmla="*/ 950921 h 3831857"/>
                <a:gd name="connsiteX222" fmla="*/ 2261233 w 5336589"/>
                <a:gd name="connsiteY222" fmla="*/ 926202 h 3831857"/>
                <a:gd name="connsiteX223" fmla="*/ 2269405 w 5336589"/>
                <a:gd name="connsiteY223" fmla="*/ 901484 h 3831857"/>
                <a:gd name="connsiteX224" fmla="*/ 2278599 w 5336589"/>
                <a:gd name="connsiteY224" fmla="*/ 877452 h 3831857"/>
                <a:gd name="connsiteX225" fmla="*/ 2283706 w 5336589"/>
                <a:gd name="connsiteY225" fmla="*/ 865779 h 3831857"/>
                <a:gd name="connsiteX226" fmla="*/ 2289154 w 5336589"/>
                <a:gd name="connsiteY226" fmla="*/ 854450 h 3831857"/>
                <a:gd name="connsiteX227" fmla="*/ 2294603 w 5336589"/>
                <a:gd name="connsiteY227" fmla="*/ 843464 h 3831857"/>
                <a:gd name="connsiteX228" fmla="*/ 2301072 w 5336589"/>
                <a:gd name="connsiteY228" fmla="*/ 833164 h 3831857"/>
                <a:gd name="connsiteX229" fmla="*/ 2307201 w 5336589"/>
                <a:gd name="connsiteY229" fmla="*/ 823208 h 3831857"/>
                <a:gd name="connsiteX230" fmla="*/ 2314012 w 5336589"/>
                <a:gd name="connsiteY230" fmla="*/ 813939 h 3831857"/>
                <a:gd name="connsiteX231" fmla="*/ 2322184 w 5336589"/>
                <a:gd name="connsiteY231" fmla="*/ 804326 h 3831857"/>
                <a:gd name="connsiteX232" fmla="*/ 2330697 w 5336589"/>
                <a:gd name="connsiteY232" fmla="*/ 795057 h 3831857"/>
                <a:gd name="connsiteX233" fmla="*/ 2339890 w 5336589"/>
                <a:gd name="connsiteY233" fmla="*/ 786131 h 3831857"/>
                <a:gd name="connsiteX234" fmla="*/ 2349765 w 5336589"/>
                <a:gd name="connsiteY234" fmla="*/ 777548 h 3831857"/>
                <a:gd name="connsiteX235" fmla="*/ 2359640 w 5336589"/>
                <a:gd name="connsiteY235" fmla="*/ 769995 h 3831857"/>
                <a:gd name="connsiteX236" fmla="*/ 2370196 w 5336589"/>
                <a:gd name="connsiteY236" fmla="*/ 762099 h 3831857"/>
                <a:gd name="connsiteX237" fmla="*/ 2381092 w 5336589"/>
                <a:gd name="connsiteY237" fmla="*/ 754889 h 3831857"/>
                <a:gd name="connsiteX238" fmla="*/ 2392329 w 5336589"/>
                <a:gd name="connsiteY238" fmla="*/ 748366 h 3831857"/>
                <a:gd name="connsiteX239" fmla="*/ 2403906 w 5336589"/>
                <a:gd name="connsiteY239" fmla="*/ 741843 h 3831857"/>
                <a:gd name="connsiteX240" fmla="*/ 2415824 w 5336589"/>
                <a:gd name="connsiteY240" fmla="*/ 736007 h 3831857"/>
                <a:gd name="connsiteX241" fmla="*/ 2440681 w 5336589"/>
                <a:gd name="connsiteY241" fmla="*/ 725021 h 3831857"/>
                <a:gd name="connsiteX242" fmla="*/ 2467240 w 5336589"/>
                <a:gd name="connsiteY242" fmla="*/ 715408 h 3831857"/>
                <a:gd name="connsiteX243" fmla="*/ 2494141 w 5336589"/>
                <a:gd name="connsiteY243" fmla="*/ 706825 h 3831857"/>
                <a:gd name="connsiteX244" fmla="*/ 2508783 w 5336589"/>
                <a:gd name="connsiteY244" fmla="*/ 702362 h 3831857"/>
                <a:gd name="connsiteX245" fmla="*/ 2523424 w 5336589"/>
                <a:gd name="connsiteY245" fmla="*/ 697212 h 3831857"/>
                <a:gd name="connsiteX246" fmla="*/ 2538407 w 5336589"/>
                <a:gd name="connsiteY246" fmla="*/ 691033 h 3831857"/>
                <a:gd name="connsiteX247" fmla="*/ 2554070 w 5336589"/>
                <a:gd name="connsiteY247" fmla="*/ 684510 h 3831857"/>
                <a:gd name="connsiteX248" fmla="*/ 2569053 w 5336589"/>
                <a:gd name="connsiteY248" fmla="*/ 677643 h 3831857"/>
                <a:gd name="connsiteX249" fmla="*/ 2584375 w 5336589"/>
                <a:gd name="connsiteY249" fmla="*/ 670434 h 3831857"/>
                <a:gd name="connsiteX250" fmla="*/ 2598677 w 5336589"/>
                <a:gd name="connsiteY250" fmla="*/ 663224 h 3831857"/>
                <a:gd name="connsiteX251" fmla="*/ 2612297 w 5336589"/>
                <a:gd name="connsiteY251" fmla="*/ 656015 h 3831857"/>
                <a:gd name="connsiteX252" fmla="*/ 2625236 w 5336589"/>
                <a:gd name="connsiteY252" fmla="*/ 649149 h 3831857"/>
                <a:gd name="connsiteX253" fmla="*/ 2637495 w 5336589"/>
                <a:gd name="connsiteY253" fmla="*/ 642969 h 3831857"/>
                <a:gd name="connsiteX254" fmla="*/ 2642602 w 5336589"/>
                <a:gd name="connsiteY254" fmla="*/ 639879 h 3831857"/>
                <a:gd name="connsiteX255" fmla="*/ 2648051 w 5336589"/>
                <a:gd name="connsiteY255" fmla="*/ 636789 h 3831857"/>
                <a:gd name="connsiteX256" fmla="*/ 2652818 w 5336589"/>
                <a:gd name="connsiteY256" fmla="*/ 634043 h 3831857"/>
                <a:gd name="connsiteX257" fmla="*/ 2656904 w 5336589"/>
                <a:gd name="connsiteY257" fmla="*/ 631639 h 3831857"/>
                <a:gd name="connsiteX258" fmla="*/ 2660990 w 5336589"/>
                <a:gd name="connsiteY258" fmla="*/ 629580 h 3831857"/>
                <a:gd name="connsiteX259" fmla="*/ 2664395 w 5336589"/>
                <a:gd name="connsiteY259" fmla="*/ 627520 h 3831857"/>
                <a:gd name="connsiteX260" fmla="*/ 2667460 w 5336589"/>
                <a:gd name="connsiteY260" fmla="*/ 625460 h 3831857"/>
                <a:gd name="connsiteX261" fmla="*/ 2670184 w 5336589"/>
                <a:gd name="connsiteY261" fmla="*/ 624087 h 3831857"/>
                <a:gd name="connsiteX262" fmla="*/ 2672227 w 5336589"/>
                <a:gd name="connsiteY262" fmla="*/ 622713 h 3831857"/>
                <a:gd name="connsiteX263" fmla="*/ 2673589 w 5336589"/>
                <a:gd name="connsiteY263" fmla="*/ 622027 h 3831857"/>
                <a:gd name="connsiteX264" fmla="*/ 5059675 w 5336589"/>
                <a:gd name="connsiteY264" fmla="*/ 226079 h 3831857"/>
                <a:gd name="connsiteX265" fmla="*/ 4892564 w 5336589"/>
                <a:gd name="connsiteY265" fmla="*/ 394121 h 3831857"/>
                <a:gd name="connsiteX266" fmla="*/ 4690898 w 5336589"/>
                <a:gd name="connsiteY266" fmla="*/ 514113 h 3831857"/>
                <a:gd name="connsiteX267" fmla="*/ 4911291 w 5336589"/>
                <a:gd name="connsiteY267" fmla="*/ 478060 h 3831857"/>
                <a:gd name="connsiteX268" fmla="*/ 5059675 w 5336589"/>
                <a:gd name="connsiteY268" fmla="*/ 226079 h 3831857"/>
                <a:gd name="connsiteX269" fmla="*/ 3210329 w 5336589"/>
                <a:gd name="connsiteY269" fmla="*/ 56 h 3831857"/>
                <a:gd name="connsiteX270" fmla="*/ 3977240 w 5336589"/>
                <a:gd name="connsiteY270" fmla="*/ 469886 h 3831857"/>
                <a:gd name="connsiteX271" fmla="*/ 3837379 w 5336589"/>
                <a:gd name="connsiteY271" fmla="*/ 513025 h 3831857"/>
                <a:gd name="connsiteX272" fmla="*/ 3837216 w 5336589"/>
                <a:gd name="connsiteY272" fmla="*/ 513453 h 3831857"/>
                <a:gd name="connsiteX273" fmla="*/ 3857107 w 5336589"/>
                <a:gd name="connsiteY273" fmla="*/ 514512 h 3831857"/>
                <a:gd name="connsiteX274" fmla="*/ 4072498 w 5336589"/>
                <a:gd name="connsiteY274" fmla="*/ 540924 h 3831857"/>
                <a:gd name="connsiteX275" fmla="*/ 4279160 w 5336589"/>
                <a:gd name="connsiteY275" fmla="*/ 804094 h 3831857"/>
                <a:gd name="connsiteX276" fmla="*/ 4075728 w 5336589"/>
                <a:gd name="connsiteY276" fmla="*/ 850916 h 3831857"/>
                <a:gd name="connsiteX277" fmla="*/ 4033634 w 5336589"/>
                <a:gd name="connsiteY277" fmla="*/ 863267 h 3831857"/>
                <a:gd name="connsiteX278" fmla="*/ 4005556 w 5336589"/>
                <a:gd name="connsiteY278" fmla="*/ 873348 h 3831857"/>
                <a:gd name="connsiteX279" fmla="*/ 4039703 w 5336589"/>
                <a:gd name="connsiteY279" fmla="*/ 873116 h 3831857"/>
                <a:gd name="connsiteX280" fmla="*/ 4162913 w 5336589"/>
                <a:gd name="connsiteY280" fmla="*/ 930029 h 3831857"/>
                <a:gd name="connsiteX281" fmla="*/ 4101560 w 5336589"/>
                <a:gd name="connsiteY281" fmla="*/ 1070494 h 3831857"/>
                <a:gd name="connsiteX282" fmla="*/ 4314680 w 5336589"/>
                <a:gd name="connsiteY282" fmla="*/ 1072108 h 3831857"/>
                <a:gd name="connsiteX283" fmla="*/ 4290462 w 5336589"/>
                <a:gd name="connsiteY283" fmla="*/ 1261010 h 3831857"/>
                <a:gd name="connsiteX284" fmla="*/ 4518113 w 5336589"/>
                <a:gd name="connsiteY284" fmla="*/ 1217417 h 3831857"/>
                <a:gd name="connsiteX285" fmla="*/ 4459762 w 5336589"/>
                <a:gd name="connsiteY285" fmla="*/ 1562828 h 3831857"/>
                <a:gd name="connsiteX286" fmla="*/ 4454121 w 5336589"/>
                <a:gd name="connsiteY286" fmla="*/ 1573706 h 3831857"/>
                <a:gd name="connsiteX287" fmla="*/ 4480917 w 5336589"/>
                <a:gd name="connsiteY287" fmla="*/ 1552564 h 3831857"/>
                <a:gd name="connsiteX288" fmla="*/ 4634362 w 5336589"/>
                <a:gd name="connsiteY288" fmla="*/ 452124 h 3831857"/>
                <a:gd name="connsiteX289" fmla="*/ 4879773 w 5336589"/>
                <a:gd name="connsiteY289" fmla="*/ 327805 h 3831857"/>
                <a:gd name="connsiteX290" fmla="*/ 5047686 w 5336589"/>
                <a:gd name="connsiteY290" fmla="*/ 134060 h 3831857"/>
                <a:gd name="connsiteX291" fmla="*/ 4832951 w 5336589"/>
                <a:gd name="connsiteY291" fmla="*/ 2253951 h 3831857"/>
                <a:gd name="connsiteX292" fmla="*/ 3533920 w 5336589"/>
                <a:gd name="connsiteY292" fmla="*/ 1925500 h 3831857"/>
                <a:gd name="connsiteX293" fmla="*/ 3502202 w 5336589"/>
                <a:gd name="connsiteY293" fmla="*/ 1890933 h 3831857"/>
                <a:gd name="connsiteX294" fmla="*/ 3485470 w 5336589"/>
                <a:gd name="connsiteY294" fmla="*/ 1977379 h 3831857"/>
                <a:gd name="connsiteX295" fmla="*/ 3988542 w 5336589"/>
                <a:gd name="connsiteY295" fmla="*/ 2378272 h 3831857"/>
                <a:gd name="connsiteX296" fmla="*/ 4048279 w 5336589"/>
                <a:gd name="connsiteY296" fmla="*/ 2383116 h 3831857"/>
                <a:gd name="connsiteX297" fmla="*/ 3668861 w 5336589"/>
                <a:gd name="connsiteY297" fmla="*/ 2715711 h 3831857"/>
                <a:gd name="connsiteX298" fmla="*/ 3282985 w 5336589"/>
                <a:gd name="connsiteY298" fmla="*/ 2454156 h 3831857"/>
                <a:gd name="connsiteX299" fmla="*/ 2936059 w 5336589"/>
                <a:gd name="connsiteY299" fmla="*/ 2262076 h 3831857"/>
                <a:gd name="connsiteX300" fmla="*/ 2888664 w 5336589"/>
                <a:gd name="connsiteY300" fmla="*/ 2232241 h 3831857"/>
                <a:gd name="connsiteX301" fmla="*/ 2892176 w 5336589"/>
                <a:gd name="connsiteY301" fmla="*/ 2241439 h 3831857"/>
                <a:gd name="connsiteX302" fmla="*/ 3197413 w 5336589"/>
                <a:gd name="connsiteY302" fmla="*/ 2572016 h 3831857"/>
                <a:gd name="connsiteX303" fmla="*/ 2851900 w 5336589"/>
                <a:gd name="connsiteY303" fmla="*/ 3329236 h 3831857"/>
                <a:gd name="connsiteX304" fmla="*/ 2217382 w 5336589"/>
                <a:gd name="connsiteY304" fmla="*/ 3831358 h 3831857"/>
                <a:gd name="connsiteX305" fmla="*/ 1875099 w 5336589"/>
                <a:gd name="connsiteY305" fmla="*/ 3416420 h 3831857"/>
                <a:gd name="connsiteX306" fmla="*/ 2183477 w 5336589"/>
                <a:gd name="connsiteY306" fmla="*/ 3187156 h 3831857"/>
                <a:gd name="connsiteX307" fmla="*/ 2167331 w 5336589"/>
                <a:gd name="connsiteY307" fmla="*/ 2938517 h 3831857"/>
                <a:gd name="connsiteX308" fmla="*/ 1454676 w 5336589"/>
                <a:gd name="connsiteY308" fmla="*/ 2978382 h 3831857"/>
                <a:gd name="connsiteX309" fmla="*/ 1425919 w 5336589"/>
                <a:gd name="connsiteY309" fmla="*/ 2944899 h 3831857"/>
                <a:gd name="connsiteX310" fmla="*/ 1429686 w 5336589"/>
                <a:gd name="connsiteY310" fmla="*/ 3047700 h 3831857"/>
                <a:gd name="connsiteX311" fmla="*/ 1424641 w 5336589"/>
                <a:gd name="connsiteY311" fmla="*/ 3321163 h 3831857"/>
                <a:gd name="connsiteX312" fmla="*/ 1305164 w 5336589"/>
                <a:gd name="connsiteY312" fmla="*/ 3577875 h 3831857"/>
                <a:gd name="connsiteX313" fmla="*/ 1284175 w 5336589"/>
                <a:gd name="connsiteY313" fmla="*/ 3774849 h 3831857"/>
                <a:gd name="connsiteX314" fmla="*/ 665804 w 5336589"/>
                <a:gd name="connsiteY314" fmla="*/ 3655372 h 3831857"/>
                <a:gd name="connsiteX315" fmla="*/ 725542 w 5336589"/>
                <a:gd name="connsiteY315" fmla="*/ 3450326 h 3831857"/>
                <a:gd name="connsiteX316" fmla="*/ 750895 w 5336589"/>
                <a:gd name="connsiteY316" fmla="*/ 3207010 h 3831857"/>
                <a:gd name="connsiteX317" fmla="*/ 751509 w 5336589"/>
                <a:gd name="connsiteY317" fmla="*/ 3191301 h 3831857"/>
                <a:gd name="connsiteX318" fmla="*/ 734096 w 5336589"/>
                <a:gd name="connsiteY318" fmla="*/ 3157825 h 3831857"/>
                <a:gd name="connsiteX319" fmla="*/ 404246 w 5336589"/>
                <a:gd name="connsiteY319" fmla="*/ 1879378 h 3831857"/>
                <a:gd name="connsiteX320" fmla="*/ 50283 w 5336589"/>
                <a:gd name="connsiteY320" fmla="*/ 1628721 h 3831857"/>
                <a:gd name="connsiteX321" fmla="*/ 48072 w 5336589"/>
                <a:gd name="connsiteY321" fmla="*/ 1607470 h 3831857"/>
                <a:gd name="connsiteX322" fmla="*/ 33171 w 5336589"/>
                <a:gd name="connsiteY322" fmla="*/ 1600317 h 3831857"/>
                <a:gd name="connsiteX323" fmla="*/ 216958 w 5336589"/>
                <a:gd name="connsiteY323" fmla="*/ 1233562 h 3831857"/>
                <a:gd name="connsiteX324" fmla="*/ 145882 w 5336589"/>
                <a:gd name="connsiteY324" fmla="*/ 1591444 h 3831857"/>
                <a:gd name="connsiteX325" fmla="*/ 126829 w 5336589"/>
                <a:gd name="connsiteY325" fmla="*/ 1602136 h 3831857"/>
                <a:gd name="connsiteX326" fmla="*/ 191997 w 5336589"/>
                <a:gd name="connsiteY326" fmla="*/ 1660810 h 3831857"/>
                <a:gd name="connsiteX327" fmla="*/ 1631301 w 5336589"/>
                <a:gd name="connsiteY327" fmla="*/ 808937 h 3831857"/>
                <a:gd name="connsiteX328" fmla="*/ 1087199 w 5336589"/>
                <a:gd name="connsiteY328" fmla="*/ 1638812 h 3831857"/>
                <a:gd name="connsiteX329" fmla="*/ 1393964 w 5336589"/>
                <a:gd name="connsiteY329" fmla="*/ 2124788 h 3831857"/>
                <a:gd name="connsiteX330" fmla="*/ 1284667 w 5336589"/>
                <a:gd name="connsiteY330" fmla="*/ 2283076 h 3831857"/>
                <a:gd name="connsiteX331" fmla="*/ 1253706 w 5336589"/>
                <a:gd name="connsiteY331" fmla="*/ 2334812 h 3831857"/>
                <a:gd name="connsiteX332" fmla="*/ 1261937 w 5336589"/>
                <a:gd name="connsiteY332" fmla="*/ 2345475 h 3831857"/>
                <a:gd name="connsiteX333" fmla="*/ 1663592 w 5336589"/>
                <a:gd name="connsiteY333" fmla="*/ 2664045 h 3831857"/>
                <a:gd name="connsiteX334" fmla="*/ 2368873 w 5336589"/>
                <a:gd name="connsiteY334" fmla="*/ 2377439 h 3831857"/>
                <a:gd name="connsiteX335" fmla="*/ 2379579 w 5336589"/>
                <a:gd name="connsiteY335" fmla="*/ 2376508 h 3831857"/>
                <a:gd name="connsiteX336" fmla="*/ 2397307 w 5336589"/>
                <a:gd name="connsiteY336" fmla="*/ 2372375 h 3831857"/>
                <a:gd name="connsiteX337" fmla="*/ 2519040 w 5336589"/>
                <a:gd name="connsiteY337" fmla="*/ 2376501 h 3831857"/>
                <a:gd name="connsiteX338" fmla="*/ 2532815 w 5336589"/>
                <a:gd name="connsiteY338" fmla="*/ 2379692 h 3831857"/>
                <a:gd name="connsiteX339" fmla="*/ 2581963 w 5336589"/>
                <a:gd name="connsiteY339" fmla="*/ 2387364 h 3831857"/>
                <a:gd name="connsiteX340" fmla="*/ 2629946 w 5336589"/>
                <a:gd name="connsiteY340" fmla="*/ 2399633 h 3831857"/>
                <a:gd name="connsiteX341" fmla="*/ 2667842 w 5336589"/>
                <a:gd name="connsiteY341" fmla="*/ 2405842 h 3831857"/>
                <a:gd name="connsiteX342" fmla="*/ 2654801 w 5336589"/>
                <a:gd name="connsiteY342" fmla="*/ 1005291 h 3831857"/>
                <a:gd name="connsiteX343" fmla="*/ 2542653 w 5336589"/>
                <a:gd name="connsiteY343" fmla="*/ 2246748 h 3831857"/>
                <a:gd name="connsiteX344" fmla="*/ 2229679 w 5336589"/>
                <a:gd name="connsiteY344" fmla="*/ 2278045 h 3831857"/>
                <a:gd name="connsiteX345" fmla="*/ 1741465 w 5336589"/>
                <a:gd name="connsiteY345" fmla="*/ 2519729 h 3831857"/>
                <a:gd name="connsiteX346" fmla="*/ 1455068 w 5336589"/>
                <a:gd name="connsiteY346" fmla="*/ 2351072 h 3831857"/>
                <a:gd name="connsiteX347" fmla="*/ 1760218 w 5336589"/>
                <a:gd name="connsiteY347" fmla="*/ 1719911 h 3831857"/>
                <a:gd name="connsiteX348" fmla="*/ 1499406 w 5336589"/>
                <a:gd name="connsiteY348" fmla="*/ 2017234 h 3831857"/>
                <a:gd name="connsiteX349" fmla="*/ 1248034 w 5336589"/>
                <a:gd name="connsiteY349" fmla="*/ 1619686 h 3831857"/>
                <a:gd name="connsiteX350" fmla="*/ 2083625 w 5336589"/>
                <a:gd name="connsiteY350" fmla="*/ 535832 h 3831857"/>
                <a:gd name="connsiteX351" fmla="*/ 2525883 w 5336589"/>
                <a:gd name="connsiteY351" fmla="*/ 443835 h 3831857"/>
                <a:gd name="connsiteX352" fmla="*/ 2569214 w 5336589"/>
                <a:gd name="connsiteY352" fmla="*/ 432048 h 3831857"/>
                <a:gd name="connsiteX353" fmla="*/ 2558835 w 5336589"/>
                <a:gd name="connsiteY353" fmla="*/ 430557 h 3831857"/>
                <a:gd name="connsiteX354" fmla="*/ 2302954 w 5336589"/>
                <a:gd name="connsiteY354" fmla="*/ 424679 h 3831857"/>
                <a:gd name="connsiteX355" fmla="*/ 3210329 w 5336589"/>
                <a:gd name="connsiteY355" fmla="*/ 56 h 3831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5336589" h="3831857">
                  <a:moveTo>
                    <a:pt x="3221632" y="2948204"/>
                  </a:moveTo>
                  <a:cubicBezTo>
                    <a:pt x="3280831" y="3014939"/>
                    <a:pt x="3340301" y="3155943"/>
                    <a:pt x="3360482" y="3245280"/>
                  </a:cubicBezTo>
                  <a:cubicBezTo>
                    <a:pt x="3380664" y="3334618"/>
                    <a:pt x="3328729" y="3417497"/>
                    <a:pt x="3342722" y="3484231"/>
                  </a:cubicBezTo>
                  <a:cubicBezTo>
                    <a:pt x="3370169" y="3545045"/>
                    <a:pt x="3413764" y="3592944"/>
                    <a:pt x="3396003" y="3655372"/>
                  </a:cubicBezTo>
                  <a:cubicBezTo>
                    <a:pt x="3369633" y="3746055"/>
                    <a:pt x="3197951" y="3719416"/>
                    <a:pt x="3098926" y="3719954"/>
                  </a:cubicBezTo>
                  <a:cubicBezTo>
                    <a:pt x="2999901" y="3720493"/>
                    <a:pt x="2777093" y="3791532"/>
                    <a:pt x="2801850" y="3658602"/>
                  </a:cubicBezTo>
                  <a:cubicBezTo>
                    <a:pt x="3046722" y="3476697"/>
                    <a:pt x="3139828" y="3272188"/>
                    <a:pt x="3221632" y="2948204"/>
                  </a:cubicBezTo>
                  <a:close/>
                  <a:moveTo>
                    <a:pt x="325133" y="2651130"/>
                  </a:moveTo>
                  <a:cubicBezTo>
                    <a:pt x="421467" y="2964889"/>
                    <a:pt x="482283" y="3070372"/>
                    <a:pt x="628668" y="3277571"/>
                  </a:cubicBezTo>
                  <a:cubicBezTo>
                    <a:pt x="582922" y="3355608"/>
                    <a:pt x="572696" y="3411038"/>
                    <a:pt x="467213" y="3408348"/>
                  </a:cubicBezTo>
                  <a:cubicBezTo>
                    <a:pt x="339663" y="3396510"/>
                    <a:pt x="82951" y="3113426"/>
                    <a:pt x="78108" y="3017631"/>
                  </a:cubicBezTo>
                  <a:cubicBezTo>
                    <a:pt x="78106" y="2940671"/>
                    <a:pt x="237948" y="2750693"/>
                    <a:pt x="325133" y="2651130"/>
                  </a:cubicBezTo>
                  <a:close/>
                  <a:moveTo>
                    <a:pt x="3683393" y="922762"/>
                  </a:moveTo>
                  <a:cubicBezTo>
                    <a:pt x="3501488" y="978733"/>
                    <a:pt x="3379318" y="995149"/>
                    <a:pt x="3249079" y="1251322"/>
                  </a:cubicBezTo>
                  <a:cubicBezTo>
                    <a:pt x="3323214" y="1176380"/>
                    <a:pt x="3331353" y="1180552"/>
                    <a:pt x="3336263" y="1177862"/>
                  </a:cubicBezTo>
                  <a:cubicBezTo>
                    <a:pt x="3373527" y="1269912"/>
                    <a:pt x="3396260" y="1276391"/>
                    <a:pt x="3477115" y="1303862"/>
                  </a:cubicBezTo>
                  <a:cubicBezTo>
                    <a:pt x="3476782" y="1305055"/>
                    <a:pt x="3435156" y="1345773"/>
                    <a:pt x="3386316" y="1441839"/>
                  </a:cubicBezTo>
                  <a:cubicBezTo>
                    <a:pt x="3540773" y="1271236"/>
                    <a:pt x="3648411" y="1179743"/>
                    <a:pt x="3860993" y="1094711"/>
                  </a:cubicBezTo>
                  <a:cubicBezTo>
                    <a:pt x="3767351" y="1103389"/>
                    <a:pt x="3740306" y="1125213"/>
                    <a:pt x="3736440" y="1125953"/>
                  </a:cubicBezTo>
                  <a:cubicBezTo>
                    <a:pt x="3722118" y="1027547"/>
                    <a:pt x="3693273" y="1001796"/>
                    <a:pt x="3611142" y="974427"/>
                  </a:cubicBezTo>
                  <a:cubicBezTo>
                    <a:pt x="3630988" y="945095"/>
                    <a:pt x="3682719" y="925858"/>
                    <a:pt x="3683393" y="922762"/>
                  </a:cubicBezTo>
                  <a:close/>
                  <a:moveTo>
                    <a:pt x="3202477" y="625701"/>
                  </a:moveTo>
                  <a:cubicBezTo>
                    <a:pt x="3113729" y="632735"/>
                    <a:pt x="3077129" y="706716"/>
                    <a:pt x="3048875" y="991380"/>
                  </a:cubicBezTo>
                  <a:cubicBezTo>
                    <a:pt x="3133908" y="793330"/>
                    <a:pt x="3189879" y="680851"/>
                    <a:pt x="3391159" y="649097"/>
                  </a:cubicBezTo>
                  <a:cubicBezTo>
                    <a:pt x="3331960" y="640082"/>
                    <a:pt x="3283657" y="629857"/>
                    <a:pt x="3243832" y="626367"/>
                  </a:cubicBezTo>
                  <a:cubicBezTo>
                    <a:pt x="3228898" y="625059"/>
                    <a:pt x="3215155" y="624697"/>
                    <a:pt x="3202477" y="625701"/>
                  </a:cubicBezTo>
                  <a:close/>
                  <a:moveTo>
                    <a:pt x="2674610" y="621340"/>
                  </a:moveTo>
                  <a:lnTo>
                    <a:pt x="2673929" y="621683"/>
                  </a:lnTo>
                  <a:lnTo>
                    <a:pt x="2673248" y="621683"/>
                  </a:lnTo>
                  <a:lnTo>
                    <a:pt x="2671886" y="622370"/>
                  </a:lnTo>
                  <a:lnTo>
                    <a:pt x="2670184" y="622713"/>
                  </a:lnTo>
                  <a:lnTo>
                    <a:pt x="2667800" y="623400"/>
                  </a:lnTo>
                  <a:lnTo>
                    <a:pt x="2665416" y="624087"/>
                  </a:lnTo>
                  <a:lnTo>
                    <a:pt x="2662692" y="624773"/>
                  </a:lnTo>
                  <a:lnTo>
                    <a:pt x="2659628" y="625803"/>
                  </a:lnTo>
                  <a:lnTo>
                    <a:pt x="2655542" y="627176"/>
                  </a:lnTo>
                  <a:lnTo>
                    <a:pt x="2651796" y="628206"/>
                  </a:lnTo>
                  <a:lnTo>
                    <a:pt x="2647029" y="629236"/>
                  </a:lnTo>
                  <a:lnTo>
                    <a:pt x="2642602" y="630610"/>
                  </a:lnTo>
                  <a:lnTo>
                    <a:pt x="2637495" y="631983"/>
                  </a:lnTo>
                  <a:lnTo>
                    <a:pt x="2631706" y="633356"/>
                  </a:lnTo>
                  <a:lnTo>
                    <a:pt x="2625577" y="634729"/>
                  </a:lnTo>
                  <a:lnTo>
                    <a:pt x="2619448" y="636103"/>
                  </a:lnTo>
                  <a:lnTo>
                    <a:pt x="2612297" y="637819"/>
                  </a:lnTo>
                  <a:lnTo>
                    <a:pt x="2605487" y="639536"/>
                  </a:lnTo>
                  <a:lnTo>
                    <a:pt x="2597655" y="641252"/>
                  </a:lnTo>
                  <a:lnTo>
                    <a:pt x="2589483" y="642969"/>
                  </a:lnTo>
                  <a:lnTo>
                    <a:pt x="2580970" y="644685"/>
                  </a:lnTo>
                  <a:lnTo>
                    <a:pt x="2572458" y="646402"/>
                  </a:lnTo>
                  <a:lnTo>
                    <a:pt x="2562923" y="648462"/>
                  </a:lnTo>
                  <a:lnTo>
                    <a:pt x="2553049" y="650522"/>
                  </a:lnTo>
                  <a:lnTo>
                    <a:pt x="2543174" y="652238"/>
                  </a:lnTo>
                  <a:lnTo>
                    <a:pt x="2532618" y="654298"/>
                  </a:lnTo>
                  <a:lnTo>
                    <a:pt x="2521381" y="656358"/>
                  </a:lnTo>
                  <a:lnTo>
                    <a:pt x="2510145" y="658075"/>
                  </a:lnTo>
                  <a:lnTo>
                    <a:pt x="2498227" y="660135"/>
                  </a:lnTo>
                  <a:lnTo>
                    <a:pt x="2485968" y="662194"/>
                  </a:lnTo>
                  <a:lnTo>
                    <a:pt x="2473029" y="664254"/>
                  </a:lnTo>
                  <a:lnTo>
                    <a:pt x="2449534" y="667687"/>
                  </a:lnTo>
                  <a:lnTo>
                    <a:pt x="2426720" y="670777"/>
                  </a:lnTo>
                  <a:lnTo>
                    <a:pt x="2404927" y="673524"/>
                  </a:lnTo>
                  <a:lnTo>
                    <a:pt x="2383475" y="675584"/>
                  </a:lnTo>
                  <a:lnTo>
                    <a:pt x="2363045" y="677300"/>
                  </a:lnTo>
                  <a:lnTo>
                    <a:pt x="2343636" y="678674"/>
                  </a:lnTo>
                  <a:lnTo>
                    <a:pt x="2324227" y="680047"/>
                  </a:lnTo>
                  <a:lnTo>
                    <a:pt x="2305839" y="681420"/>
                  </a:lnTo>
                  <a:lnTo>
                    <a:pt x="2288814" y="683136"/>
                  </a:lnTo>
                  <a:lnTo>
                    <a:pt x="2271789" y="684853"/>
                  </a:lnTo>
                  <a:lnTo>
                    <a:pt x="2255444" y="687256"/>
                  </a:lnTo>
                  <a:lnTo>
                    <a:pt x="2240462" y="689659"/>
                  </a:lnTo>
                  <a:lnTo>
                    <a:pt x="2225820" y="692749"/>
                  </a:lnTo>
                  <a:lnTo>
                    <a:pt x="2211859" y="696526"/>
                  </a:lnTo>
                  <a:lnTo>
                    <a:pt x="2198920" y="701332"/>
                  </a:lnTo>
                  <a:lnTo>
                    <a:pt x="2186661" y="706825"/>
                  </a:lnTo>
                  <a:lnTo>
                    <a:pt x="2169295" y="717125"/>
                  </a:lnTo>
                  <a:lnTo>
                    <a:pt x="2153292" y="728454"/>
                  </a:lnTo>
                  <a:lnTo>
                    <a:pt x="2138309" y="740470"/>
                  </a:lnTo>
                  <a:lnTo>
                    <a:pt x="2124008" y="753172"/>
                  </a:lnTo>
                  <a:lnTo>
                    <a:pt x="2111068" y="766905"/>
                  </a:lnTo>
                  <a:lnTo>
                    <a:pt x="2098810" y="782011"/>
                  </a:lnTo>
                  <a:lnTo>
                    <a:pt x="2087233" y="797460"/>
                  </a:lnTo>
                  <a:lnTo>
                    <a:pt x="2076677" y="813939"/>
                  </a:lnTo>
                  <a:lnTo>
                    <a:pt x="2066462" y="831448"/>
                  </a:lnTo>
                  <a:lnTo>
                    <a:pt x="2056587" y="850330"/>
                  </a:lnTo>
                  <a:lnTo>
                    <a:pt x="2047393" y="869556"/>
                  </a:lnTo>
                  <a:lnTo>
                    <a:pt x="2039221" y="890498"/>
                  </a:lnTo>
                  <a:lnTo>
                    <a:pt x="2030708" y="912470"/>
                  </a:lnTo>
                  <a:lnTo>
                    <a:pt x="2022196" y="935472"/>
                  </a:lnTo>
                  <a:lnTo>
                    <a:pt x="2014024" y="959847"/>
                  </a:lnTo>
                  <a:lnTo>
                    <a:pt x="2006532" y="985252"/>
                  </a:lnTo>
                  <a:lnTo>
                    <a:pt x="2001425" y="1000358"/>
                  </a:lnTo>
                  <a:lnTo>
                    <a:pt x="1996998" y="1015807"/>
                  </a:lnTo>
                  <a:lnTo>
                    <a:pt x="1989166" y="1046705"/>
                  </a:lnTo>
                  <a:lnTo>
                    <a:pt x="1982356" y="1078290"/>
                  </a:lnTo>
                  <a:lnTo>
                    <a:pt x="1977249" y="1109875"/>
                  </a:lnTo>
                  <a:lnTo>
                    <a:pt x="1972822" y="1140430"/>
                  </a:lnTo>
                  <a:lnTo>
                    <a:pt x="1969417" y="1170642"/>
                  </a:lnTo>
                  <a:lnTo>
                    <a:pt x="1968055" y="1185404"/>
                  </a:lnTo>
                  <a:lnTo>
                    <a:pt x="1967033" y="1199480"/>
                  </a:lnTo>
                  <a:lnTo>
                    <a:pt x="1966012" y="1213556"/>
                  </a:lnTo>
                  <a:lnTo>
                    <a:pt x="1965331" y="1227288"/>
                  </a:lnTo>
                  <a:lnTo>
                    <a:pt x="1964650" y="1240334"/>
                  </a:lnTo>
                  <a:lnTo>
                    <a:pt x="1963969" y="1252693"/>
                  </a:lnTo>
                  <a:lnTo>
                    <a:pt x="1963628" y="1264709"/>
                  </a:lnTo>
                  <a:lnTo>
                    <a:pt x="1963288" y="1276039"/>
                  </a:lnTo>
                  <a:lnTo>
                    <a:pt x="1963288" y="1287025"/>
                  </a:lnTo>
                  <a:lnTo>
                    <a:pt x="1962947" y="1296638"/>
                  </a:lnTo>
                  <a:lnTo>
                    <a:pt x="1962947" y="1305907"/>
                  </a:lnTo>
                  <a:lnTo>
                    <a:pt x="1963288" y="1314490"/>
                  </a:lnTo>
                  <a:lnTo>
                    <a:pt x="1963288" y="1322386"/>
                  </a:lnTo>
                  <a:lnTo>
                    <a:pt x="1963288" y="1328909"/>
                  </a:lnTo>
                  <a:lnTo>
                    <a:pt x="1963288" y="1335089"/>
                  </a:lnTo>
                  <a:lnTo>
                    <a:pt x="1963628" y="1339895"/>
                  </a:lnTo>
                  <a:lnTo>
                    <a:pt x="1963628" y="1343671"/>
                  </a:lnTo>
                  <a:lnTo>
                    <a:pt x="1963969" y="1346761"/>
                  </a:lnTo>
                  <a:lnTo>
                    <a:pt x="1963969" y="1348135"/>
                  </a:lnTo>
                  <a:lnTo>
                    <a:pt x="1963969" y="1348821"/>
                  </a:lnTo>
                  <a:lnTo>
                    <a:pt x="1964309" y="1348135"/>
                  </a:lnTo>
                  <a:lnTo>
                    <a:pt x="1964309" y="1347105"/>
                  </a:lnTo>
                  <a:lnTo>
                    <a:pt x="1964650" y="1345731"/>
                  </a:lnTo>
                  <a:lnTo>
                    <a:pt x="1965331" y="1343671"/>
                  </a:lnTo>
                  <a:lnTo>
                    <a:pt x="1965671" y="1341612"/>
                  </a:lnTo>
                  <a:lnTo>
                    <a:pt x="1966352" y="1339208"/>
                  </a:lnTo>
                  <a:lnTo>
                    <a:pt x="1967033" y="1336119"/>
                  </a:lnTo>
                  <a:lnTo>
                    <a:pt x="1969076" y="1329252"/>
                  </a:lnTo>
                  <a:lnTo>
                    <a:pt x="1971119" y="1321699"/>
                  </a:lnTo>
                  <a:lnTo>
                    <a:pt x="1973844" y="1312430"/>
                  </a:lnTo>
                  <a:lnTo>
                    <a:pt x="1976568" y="1302131"/>
                  </a:lnTo>
                  <a:lnTo>
                    <a:pt x="1979632" y="1290801"/>
                  </a:lnTo>
                  <a:lnTo>
                    <a:pt x="1983037" y="1278442"/>
                  </a:lnTo>
                  <a:lnTo>
                    <a:pt x="1987123" y="1265739"/>
                  </a:lnTo>
                  <a:lnTo>
                    <a:pt x="1991209" y="1252007"/>
                  </a:lnTo>
                  <a:lnTo>
                    <a:pt x="1995636" y="1237244"/>
                  </a:lnTo>
                  <a:lnTo>
                    <a:pt x="2000403" y="1222482"/>
                  </a:lnTo>
                  <a:lnTo>
                    <a:pt x="2004830" y="1207033"/>
                  </a:lnTo>
                  <a:lnTo>
                    <a:pt x="2010278" y="1190897"/>
                  </a:lnTo>
                  <a:lnTo>
                    <a:pt x="2021174" y="1158626"/>
                  </a:lnTo>
                  <a:lnTo>
                    <a:pt x="2032752" y="1125324"/>
                  </a:lnTo>
                  <a:lnTo>
                    <a:pt x="2045010" y="1092366"/>
                  </a:lnTo>
                  <a:lnTo>
                    <a:pt x="2051479" y="1076230"/>
                  </a:lnTo>
                  <a:lnTo>
                    <a:pt x="2057609" y="1059751"/>
                  </a:lnTo>
                  <a:lnTo>
                    <a:pt x="2064419" y="1044302"/>
                  </a:lnTo>
                  <a:lnTo>
                    <a:pt x="2070888" y="1029540"/>
                  </a:lnTo>
                  <a:lnTo>
                    <a:pt x="2077699" y="1014434"/>
                  </a:lnTo>
                  <a:lnTo>
                    <a:pt x="2084849" y="1000701"/>
                  </a:lnTo>
                  <a:lnTo>
                    <a:pt x="2091319" y="987312"/>
                  </a:lnTo>
                  <a:lnTo>
                    <a:pt x="2098470" y="974953"/>
                  </a:lnTo>
                  <a:lnTo>
                    <a:pt x="2105620" y="963624"/>
                  </a:lnTo>
                  <a:lnTo>
                    <a:pt x="2112090" y="952981"/>
                  </a:lnTo>
                  <a:lnTo>
                    <a:pt x="2117198" y="945428"/>
                  </a:lnTo>
                  <a:lnTo>
                    <a:pt x="2121965" y="937875"/>
                  </a:lnTo>
                  <a:lnTo>
                    <a:pt x="2126732" y="930665"/>
                  </a:lnTo>
                  <a:lnTo>
                    <a:pt x="2131158" y="923799"/>
                  </a:lnTo>
                  <a:lnTo>
                    <a:pt x="2140012" y="911440"/>
                  </a:lnTo>
                  <a:lnTo>
                    <a:pt x="2148184" y="900454"/>
                  </a:lnTo>
                  <a:lnTo>
                    <a:pt x="2155335" y="890498"/>
                  </a:lnTo>
                  <a:lnTo>
                    <a:pt x="2162485" y="881572"/>
                  </a:lnTo>
                  <a:lnTo>
                    <a:pt x="2168614" y="874019"/>
                  </a:lnTo>
                  <a:lnTo>
                    <a:pt x="2174744" y="867496"/>
                  </a:lnTo>
                  <a:lnTo>
                    <a:pt x="2179511" y="862003"/>
                  </a:lnTo>
                  <a:lnTo>
                    <a:pt x="2184278" y="857196"/>
                  </a:lnTo>
                  <a:lnTo>
                    <a:pt x="2188023" y="853763"/>
                  </a:lnTo>
                  <a:lnTo>
                    <a:pt x="2191429" y="851017"/>
                  </a:lnTo>
                  <a:lnTo>
                    <a:pt x="2194153" y="848614"/>
                  </a:lnTo>
                  <a:lnTo>
                    <a:pt x="2195855" y="846897"/>
                  </a:lnTo>
                  <a:lnTo>
                    <a:pt x="2196877" y="846210"/>
                  </a:lnTo>
                  <a:lnTo>
                    <a:pt x="2197217" y="845867"/>
                  </a:lnTo>
                  <a:lnTo>
                    <a:pt x="2196877" y="846554"/>
                  </a:lnTo>
                  <a:lnTo>
                    <a:pt x="2196196" y="848270"/>
                  </a:lnTo>
                  <a:lnTo>
                    <a:pt x="2195515" y="851360"/>
                  </a:lnTo>
                  <a:lnTo>
                    <a:pt x="2194153" y="855137"/>
                  </a:lnTo>
                  <a:lnTo>
                    <a:pt x="2192791" y="859600"/>
                  </a:lnTo>
                  <a:lnTo>
                    <a:pt x="2191088" y="865436"/>
                  </a:lnTo>
                  <a:lnTo>
                    <a:pt x="2189385" y="871272"/>
                  </a:lnTo>
                  <a:lnTo>
                    <a:pt x="2188023" y="878139"/>
                  </a:lnTo>
                  <a:lnTo>
                    <a:pt x="2186661" y="885691"/>
                  </a:lnTo>
                  <a:lnTo>
                    <a:pt x="2185299" y="892901"/>
                  </a:lnTo>
                  <a:lnTo>
                    <a:pt x="2184278" y="901141"/>
                  </a:lnTo>
                  <a:lnTo>
                    <a:pt x="2183937" y="909380"/>
                  </a:lnTo>
                  <a:lnTo>
                    <a:pt x="2183597" y="917620"/>
                  </a:lnTo>
                  <a:lnTo>
                    <a:pt x="2183937" y="925859"/>
                  </a:lnTo>
                  <a:lnTo>
                    <a:pt x="2184959" y="934442"/>
                  </a:lnTo>
                  <a:lnTo>
                    <a:pt x="2186661" y="942338"/>
                  </a:lnTo>
                  <a:lnTo>
                    <a:pt x="2188704" y="960190"/>
                  </a:lnTo>
                  <a:lnTo>
                    <a:pt x="2191769" y="977356"/>
                  </a:lnTo>
                  <a:lnTo>
                    <a:pt x="2194493" y="993835"/>
                  </a:lnTo>
                  <a:lnTo>
                    <a:pt x="2197558" y="1009628"/>
                  </a:lnTo>
                  <a:lnTo>
                    <a:pt x="2200963" y="1024733"/>
                  </a:lnTo>
                  <a:lnTo>
                    <a:pt x="2204708" y="1038809"/>
                  </a:lnTo>
                  <a:lnTo>
                    <a:pt x="2208113" y="1052198"/>
                  </a:lnTo>
                  <a:lnTo>
                    <a:pt x="2211859" y="1064214"/>
                  </a:lnTo>
                  <a:lnTo>
                    <a:pt x="2215264" y="1075200"/>
                  </a:lnTo>
                  <a:lnTo>
                    <a:pt x="2218329" y="1084470"/>
                  </a:lnTo>
                  <a:lnTo>
                    <a:pt x="2221393" y="1093053"/>
                  </a:lnTo>
                  <a:lnTo>
                    <a:pt x="2222415" y="1096829"/>
                  </a:lnTo>
                  <a:lnTo>
                    <a:pt x="2224117" y="1100262"/>
                  </a:lnTo>
                  <a:lnTo>
                    <a:pt x="2225139" y="1103352"/>
                  </a:lnTo>
                  <a:lnTo>
                    <a:pt x="2226160" y="1105755"/>
                  </a:lnTo>
                  <a:lnTo>
                    <a:pt x="2227182" y="1108158"/>
                  </a:lnTo>
                  <a:lnTo>
                    <a:pt x="2227863" y="1110218"/>
                  </a:lnTo>
                  <a:lnTo>
                    <a:pt x="2228203" y="1111592"/>
                  </a:lnTo>
                  <a:lnTo>
                    <a:pt x="2228884" y="1112622"/>
                  </a:lnTo>
                  <a:lnTo>
                    <a:pt x="2228884" y="1113308"/>
                  </a:lnTo>
                  <a:lnTo>
                    <a:pt x="2229225" y="1113651"/>
                  </a:lnTo>
                  <a:lnTo>
                    <a:pt x="2229225" y="1112965"/>
                  </a:lnTo>
                  <a:lnTo>
                    <a:pt x="2229225" y="1111248"/>
                  </a:lnTo>
                  <a:lnTo>
                    <a:pt x="2229565" y="1108158"/>
                  </a:lnTo>
                  <a:lnTo>
                    <a:pt x="2229565" y="1104382"/>
                  </a:lnTo>
                  <a:lnTo>
                    <a:pt x="2229906" y="1099919"/>
                  </a:lnTo>
                  <a:lnTo>
                    <a:pt x="2230587" y="1094083"/>
                  </a:lnTo>
                  <a:lnTo>
                    <a:pt x="2231268" y="1087560"/>
                  </a:lnTo>
                  <a:lnTo>
                    <a:pt x="2231949" y="1080350"/>
                  </a:lnTo>
                  <a:lnTo>
                    <a:pt x="2232630" y="1072111"/>
                  </a:lnTo>
                  <a:lnTo>
                    <a:pt x="2233652" y="1063528"/>
                  </a:lnTo>
                  <a:lnTo>
                    <a:pt x="2235014" y="1054258"/>
                  </a:lnTo>
                  <a:lnTo>
                    <a:pt x="2236376" y="1043959"/>
                  </a:lnTo>
                  <a:lnTo>
                    <a:pt x="2238078" y="1033659"/>
                  </a:lnTo>
                  <a:lnTo>
                    <a:pt x="2239781" y="1022673"/>
                  </a:lnTo>
                  <a:lnTo>
                    <a:pt x="2241483" y="1011344"/>
                  </a:lnTo>
                  <a:lnTo>
                    <a:pt x="2243526" y="999671"/>
                  </a:lnTo>
                  <a:lnTo>
                    <a:pt x="2248634" y="975640"/>
                  </a:lnTo>
                  <a:lnTo>
                    <a:pt x="2254423" y="950921"/>
                  </a:lnTo>
                  <a:lnTo>
                    <a:pt x="2261233" y="926202"/>
                  </a:lnTo>
                  <a:lnTo>
                    <a:pt x="2269405" y="901484"/>
                  </a:lnTo>
                  <a:lnTo>
                    <a:pt x="2278599" y="877452"/>
                  </a:lnTo>
                  <a:lnTo>
                    <a:pt x="2283706" y="865779"/>
                  </a:lnTo>
                  <a:lnTo>
                    <a:pt x="2289154" y="854450"/>
                  </a:lnTo>
                  <a:lnTo>
                    <a:pt x="2294603" y="843464"/>
                  </a:lnTo>
                  <a:lnTo>
                    <a:pt x="2301072" y="833164"/>
                  </a:lnTo>
                  <a:lnTo>
                    <a:pt x="2307201" y="823208"/>
                  </a:lnTo>
                  <a:lnTo>
                    <a:pt x="2314012" y="813939"/>
                  </a:lnTo>
                  <a:lnTo>
                    <a:pt x="2322184" y="804326"/>
                  </a:lnTo>
                  <a:lnTo>
                    <a:pt x="2330697" y="795057"/>
                  </a:lnTo>
                  <a:lnTo>
                    <a:pt x="2339890" y="786131"/>
                  </a:lnTo>
                  <a:lnTo>
                    <a:pt x="2349765" y="777548"/>
                  </a:lnTo>
                  <a:lnTo>
                    <a:pt x="2359640" y="769995"/>
                  </a:lnTo>
                  <a:lnTo>
                    <a:pt x="2370196" y="762099"/>
                  </a:lnTo>
                  <a:lnTo>
                    <a:pt x="2381092" y="754889"/>
                  </a:lnTo>
                  <a:lnTo>
                    <a:pt x="2392329" y="748366"/>
                  </a:lnTo>
                  <a:lnTo>
                    <a:pt x="2403906" y="741843"/>
                  </a:lnTo>
                  <a:lnTo>
                    <a:pt x="2415824" y="736007"/>
                  </a:lnTo>
                  <a:lnTo>
                    <a:pt x="2440681" y="725021"/>
                  </a:lnTo>
                  <a:lnTo>
                    <a:pt x="2467240" y="715408"/>
                  </a:lnTo>
                  <a:lnTo>
                    <a:pt x="2494141" y="706825"/>
                  </a:lnTo>
                  <a:lnTo>
                    <a:pt x="2508783" y="702362"/>
                  </a:lnTo>
                  <a:lnTo>
                    <a:pt x="2523424" y="697212"/>
                  </a:lnTo>
                  <a:lnTo>
                    <a:pt x="2538407" y="691033"/>
                  </a:lnTo>
                  <a:lnTo>
                    <a:pt x="2554070" y="684510"/>
                  </a:lnTo>
                  <a:lnTo>
                    <a:pt x="2569053" y="677643"/>
                  </a:lnTo>
                  <a:lnTo>
                    <a:pt x="2584375" y="670434"/>
                  </a:lnTo>
                  <a:lnTo>
                    <a:pt x="2598677" y="663224"/>
                  </a:lnTo>
                  <a:lnTo>
                    <a:pt x="2612297" y="656015"/>
                  </a:lnTo>
                  <a:lnTo>
                    <a:pt x="2625236" y="649149"/>
                  </a:lnTo>
                  <a:lnTo>
                    <a:pt x="2637495" y="642969"/>
                  </a:lnTo>
                  <a:lnTo>
                    <a:pt x="2642602" y="639879"/>
                  </a:lnTo>
                  <a:lnTo>
                    <a:pt x="2648051" y="636789"/>
                  </a:lnTo>
                  <a:lnTo>
                    <a:pt x="2652818" y="634043"/>
                  </a:lnTo>
                  <a:lnTo>
                    <a:pt x="2656904" y="631639"/>
                  </a:lnTo>
                  <a:lnTo>
                    <a:pt x="2660990" y="629580"/>
                  </a:lnTo>
                  <a:lnTo>
                    <a:pt x="2664395" y="627520"/>
                  </a:lnTo>
                  <a:lnTo>
                    <a:pt x="2667460" y="625460"/>
                  </a:lnTo>
                  <a:lnTo>
                    <a:pt x="2670184" y="624087"/>
                  </a:lnTo>
                  <a:lnTo>
                    <a:pt x="2672227" y="622713"/>
                  </a:lnTo>
                  <a:lnTo>
                    <a:pt x="2673589" y="622027"/>
                  </a:lnTo>
                  <a:close/>
                  <a:moveTo>
                    <a:pt x="5059675" y="226079"/>
                  </a:moveTo>
                  <a:cubicBezTo>
                    <a:pt x="5039238" y="208231"/>
                    <a:pt x="4954026" y="346116"/>
                    <a:pt x="4892564" y="394121"/>
                  </a:cubicBezTo>
                  <a:cubicBezTo>
                    <a:pt x="4831100" y="442127"/>
                    <a:pt x="4691408" y="483172"/>
                    <a:pt x="4690898" y="514113"/>
                  </a:cubicBezTo>
                  <a:cubicBezTo>
                    <a:pt x="4690387" y="545056"/>
                    <a:pt x="4821977" y="552705"/>
                    <a:pt x="4911291" y="478060"/>
                  </a:cubicBezTo>
                  <a:cubicBezTo>
                    <a:pt x="5000605" y="403415"/>
                    <a:pt x="5088588" y="263302"/>
                    <a:pt x="5059675" y="226079"/>
                  </a:cubicBezTo>
                  <a:close/>
                  <a:moveTo>
                    <a:pt x="3210329" y="56"/>
                  </a:moveTo>
                  <a:cubicBezTo>
                    <a:pt x="3464351" y="-3711"/>
                    <a:pt x="3758737" y="181422"/>
                    <a:pt x="3977240" y="469886"/>
                  </a:cubicBezTo>
                  <a:cubicBezTo>
                    <a:pt x="3925171" y="474730"/>
                    <a:pt x="3857662" y="485022"/>
                    <a:pt x="3837379" y="513025"/>
                  </a:cubicBezTo>
                  <a:lnTo>
                    <a:pt x="3837216" y="513453"/>
                  </a:lnTo>
                  <a:lnTo>
                    <a:pt x="3857107" y="514512"/>
                  </a:lnTo>
                  <a:cubicBezTo>
                    <a:pt x="3942526" y="520137"/>
                    <a:pt x="4036574" y="529622"/>
                    <a:pt x="4072498" y="540924"/>
                  </a:cubicBezTo>
                  <a:cubicBezTo>
                    <a:pt x="4139771" y="555992"/>
                    <a:pt x="4291000" y="743818"/>
                    <a:pt x="4279160" y="804094"/>
                  </a:cubicBezTo>
                  <a:cubicBezTo>
                    <a:pt x="4278622" y="859258"/>
                    <a:pt x="4172600" y="828850"/>
                    <a:pt x="4075728" y="850916"/>
                  </a:cubicBezTo>
                  <a:cubicBezTo>
                    <a:pt x="4063619" y="853673"/>
                    <a:pt x="4049379" y="857971"/>
                    <a:pt x="4033634" y="863267"/>
                  </a:cubicBezTo>
                  <a:lnTo>
                    <a:pt x="4005556" y="873348"/>
                  </a:lnTo>
                  <a:lnTo>
                    <a:pt x="4039703" y="873116"/>
                  </a:lnTo>
                  <a:cubicBezTo>
                    <a:pt x="4088946" y="869382"/>
                    <a:pt x="4113670" y="863833"/>
                    <a:pt x="4162913" y="930029"/>
                  </a:cubicBezTo>
                  <a:cubicBezTo>
                    <a:pt x="4198971" y="1036588"/>
                    <a:pt x="4175292" y="1015600"/>
                    <a:pt x="4101560" y="1070494"/>
                  </a:cubicBezTo>
                  <a:cubicBezTo>
                    <a:pt x="4217807" y="1040357"/>
                    <a:pt x="4251713" y="1029592"/>
                    <a:pt x="4314680" y="1072108"/>
                  </a:cubicBezTo>
                  <a:cubicBezTo>
                    <a:pt x="4393793" y="1198042"/>
                    <a:pt x="4337283" y="1207731"/>
                    <a:pt x="4290462" y="1261010"/>
                  </a:cubicBezTo>
                  <a:cubicBezTo>
                    <a:pt x="4363116" y="1199657"/>
                    <a:pt x="4422855" y="1141534"/>
                    <a:pt x="4518113" y="1217417"/>
                  </a:cubicBezTo>
                  <a:cubicBezTo>
                    <a:pt x="4599244" y="1280788"/>
                    <a:pt x="4527800" y="1431344"/>
                    <a:pt x="4459762" y="1562828"/>
                  </a:cubicBezTo>
                  <a:lnTo>
                    <a:pt x="4454121" y="1573706"/>
                  </a:lnTo>
                  <a:lnTo>
                    <a:pt x="4480917" y="1552564"/>
                  </a:lnTo>
                  <a:cubicBezTo>
                    <a:pt x="4839997" y="1212535"/>
                    <a:pt x="4557671" y="564132"/>
                    <a:pt x="4634362" y="452124"/>
                  </a:cubicBezTo>
                  <a:cubicBezTo>
                    <a:pt x="4673111" y="392386"/>
                    <a:pt x="4736079" y="403689"/>
                    <a:pt x="4879773" y="327805"/>
                  </a:cubicBezTo>
                  <a:cubicBezTo>
                    <a:pt x="4926595" y="300358"/>
                    <a:pt x="4976377" y="116569"/>
                    <a:pt x="5047686" y="134060"/>
                  </a:cubicBezTo>
                  <a:cubicBezTo>
                    <a:pt x="5359562" y="210554"/>
                    <a:pt x="5577796" y="1794884"/>
                    <a:pt x="4832951" y="2253951"/>
                  </a:cubicBezTo>
                  <a:cubicBezTo>
                    <a:pt x="4561002" y="2402288"/>
                    <a:pt x="4081872" y="2483928"/>
                    <a:pt x="3533920" y="1925500"/>
                  </a:cubicBezTo>
                  <a:lnTo>
                    <a:pt x="3502202" y="1890933"/>
                  </a:lnTo>
                  <a:lnTo>
                    <a:pt x="3485470" y="1977379"/>
                  </a:lnTo>
                  <a:cubicBezTo>
                    <a:pt x="3423986" y="2418763"/>
                    <a:pt x="3714069" y="2838416"/>
                    <a:pt x="3988542" y="2378272"/>
                  </a:cubicBezTo>
                  <a:lnTo>
                    <a:pt x="4048279" y="2383116"/>
                  </a:lnTo>
                  <a:cubicBezTo>
                    <a:pt x="3983698" y="2573092"/>
                    <a:pt x="3852920" y="2746925"/>
                    <a:pt x="3668861" y="2715711"/>
                  </a:cubicBezTo>
                  <a:cubicBezTo>
                    <a:pt x="3453050" y="2688264"/>
                    <a:pt x="3361559" y="2544569"/>
                    <a:pt x="3282985" y="2454156"/>
                  </a:cubicBezTo>
                  <a:cubicBezTo>
                    <a:pt x="3176425" y="2428727"/>
                    <a:pt x="3055334" y="2341542"/>
                    <a:pt x="2936059" y="2262076"/>
                  </a:cubicBezTo>
                  <a:lnTo>
                    <a:pt x="2888664" y="2232241"/>
                  </a:lnTo>
                  <a:lnTo>
                    <a:pt x="2892176" y="2241439"/>
                  </a:lnTo>
                  <a:cubicBezTo>
                    <a:pt x="2970350" y="2414538"/>
                    <a:pt x="3104703" y="2525456"/>
                    <a:pt x="3197413" y="2572016"/>
                  </a:cubicBezTo>
                  <a:cubicBezTo>
                    <a:pt x="3106460" y="2898691"/>
                    <a:pt x="2905139" y="3280579"/>
                    <a:pt x="2851900" y="3329236"/>
                  </a:cubicBezTo>
                  <a:cubicBezTo>
                    <a:pt x="2508001" y="3643534"/>
                    <a:pt x="2319100" y="3843197"/>
                    <a:pt x="2217382" y="3831358"/>
                  </a:cubicBezTo>
                  <a:cubicBezTo>
                    <a:pt x="2077456" y="3818979"/>
                    <a:pt x="1858415" y="3474006"/>
                    <a:pt x="1875099" y="3416420"/>
                  </a:cubicBezTo>
                  <a:cubicBezTo>
                    <a:pt x="1931069" y="3278647"/>
                    <a:pt x="2137194" y="3261963"/>
                    <a:pt x="2183477" y="3187156"/>
                  </a:cubicBezTo>
                  <a:cubicBezTo>
                    <a:pt x="2199622" y="3068757"/>
                    <a:pt x="2168946" y="3032698"/>
                    <a:pt x="2167331" y="2938517"/>
                  </a:cubicBezTo>
                  <a:cubicBezTo>
                    <a:pt x="2035007" y="3231894"/>
                    <a:pt x="1640619" y="3168026"/>
                    <a:pt x="1454676" y="2978382"/>
                  </a:cubicBezTo>
                  <a:lnTo>
                    <a:pt x="1425919" y="2944899"/>
                  </a:lnTo>
                  <a:lnTo>
                    <a:pt x="1429686" y="3047700"/>
                  </a:lnTo>
                  <a:cubicBezTo>
                    <a:pt x="1432848" y="3145043"/>
                    <a:pt x="1433790" y="3238553"/>
                    <a:pt x="1424641" y="3321163"/>
                  </a:cubicBezTo>
                  <a:cubicBezTo>
                    <a:pt x="1410649" y="3425031"/>
                    <a:pt x="1315928" y="3504682"/>
                    <a:pt x="1305164" y="3577875"/>
                  </a:cubicBezTo>
                  <a:cubicBezTo>
                    <a:pt x="1298168" y="3643533"/>
                    <a:pt x="1308932" y="3735024"/>
                    <a:pt x="1284175" y="3774849"/>
                  </a:cubicBezTo>
                  <a:cubicBezTo>
                    <a:pt x="1199142" y="3890019"/>
                    <a:pt x="671724" y="3745249"/>
                    <a:pt x="665804" y="3655372"/>
                  </a:cubicBezTo>
                  <a:cubicBezTo>
                    <a:pt x="656655" y="3511140"/>
                    <a:pt x="705629" y="3518675"/>
                    <a:pt x="725542" y="3450326"/>
                  </a:cubicBezTo>
                  <a:cubicBezTo>
                    <a:pt x="732404" y="3363544"/>
                    <a:pt x="745623" y="3299468"/>
                    <a:pt x="750895" y="3207010"/>
                  </a:cubicBezTo>
                  <a:lnTo>
                    <a:pt x="751509" y="3191301"/>
                  </a:lnTo>
                  <a:lnTo>
                    <a:pt x="734096" y="3157825"/>
                  </a:lnTo>
                  <a:cubicBezTo>
                    <a:pt x="558939" y="2854980"/>
                    <a:pt x="281337" y="2531585"/>
                    <a:pt x="404246" y="1879378"/>
                  </a:cubicBezTo>
                  <a:cubicBezTo>
                    <a:pt x="118472" y="1948399"/>
                    <a:pt x="68825" y="1780386"/>
                    <a:pt x="50283" y="1628721"/>
                  </a:cubicBezTo>
                  <a:lnTo>
                    <a:pt x="48072" y="1607470"/>
                  </a:lnTo>
                  <a:lnTo>
                    <a:pt x="33171" y="1600317"/>
                  </a:lnTo>
                  <a:cubicBezTo>
                    <a:pt x="-51225" y="1526584"/>
                    <a:pt x="30949" y="1314558"/>
                    <a:pt x="216958" y="1233562"/>
                  </a:cubicBezTo>
                  <a:cubicBezTo>
                    <a:pt x="124661" y="1402147"/>
                    <a:pt x="261049" y="1513870"/>
                    <a:pt x="145882" y="1591444"/>
                  </a:cubicBezTo>
                  <a:lnTo>
                    <a:pt x="126829" y="1602136"/>
                  </a:lnTo>
                  <a:lnTo>
                    <a:pt x="191997" y="1660810"/>
                  </a:lnTo>
                  <a:cubicBezTo>
                    <a:pt x="504474" y="1880783"/>
                    <a:pt x="501119" y="970929"/>
                    <a:pt x="1631301" y="808937"/>
                  </a:cubicBezTo>
                  <a:cubicBezTo>
                    <a:pt x="1206137" y="1240557"/>
                    <a:pt x="1171694" y="1397706"/>
                    <a:pt x="1087199" y="1638812"/>
                  </a:cubicBezTo>
                  <a:cubicBezTo>
                    <a:pt x="1139402" y="1871843"/>
                    <a:pt x="1324000" y="1936963"/>
                    <a:pt x="1393964" y="2124788"/>
                  </a:cubicBezTo>
                  <a:cubicBezTo>
                    <a:pt x="1353937" y="2178876"/>
                    <a:pt x="1317744" y="2231550"/>
                    <a:pt x="1284667" y="2283076"/>
                  </a:cubicBezTo>
                  <a:lnTo>
                    <a:pt x="1253706" y="2334812"/>
                  </a:lnTo>
                  <a:lnTo>
                    <a:pt x="1261937" y="2345475"/>
                  </a:lnTo>
                  <a:cubicBezTo>
                    <a:pt x="1368627" y="2475152"/>
                    <a:pt x="1550103" y="2641913"/>
                    <a:pt x="1663592" y="2664045"/>
                  </a:cubicBezTo>
                  <a:cubicBezTo>
                    <a:pt x="2044223" y="2623681"/>
                    <a:pt x="2131509" y="2414397"/>
                    <a:pt x="2368873" y="2377439"/>
                  </a:cubicBezTo>
                  <a:lnTo>
                    <a:pt x="2379579" y="2376508"/>
                  </a:lnTo>
                  <a:lnTo>
                    <a:pt x="2397307" y="2372375"/>
                  </a:lnTo>
                  <a:cubicBezTo>
                    <a:pt x="2442709" y="2365236"/>
                    <a:pt x="2481840" y="2369166"/>
                    <a:pt x="2519040" y="2376501"/>
                  </a:cubicBezTo>
                  <a:lnTo>
                    <a:pt x="2532815" y="2379692"/>
                  </a:lnTo>
                  <a:lnTo>
                    <a:pt x="2581963" y="2387364"/>
                  </a:lnTo>
                  <a:lnTo>
                    <a:pt x="2629946" y="2399633"/>
                  </a:lnTo>
                  <a:lnTo>
                    <a:pt x="2667842" y="2405842"/>
                  </a:lnTo>
                  <a:cubicBezTo>
                    <a:pt x="2905677" y="1528899"/>
                    <a:pt x="2570348" y="1528650"/>
                    <a:pt x="2654801" y="1005291"/>
                  </a:cubicBezTo>
                  <a:cubicBezTo>
                    <a:pt x="2417215" y="1653217"/>
                    <a:pt x="2762480" y="1650486"/>
                    <a:pt x="2542653" y="2246748"/>
                  </a:cubicBezTo>
                  <a:cubicBezTo>
                    <a:pt x="2438328" y="2257180"/>
                    <a:pt x="2390513" y="2211103"/>
                    <a:pt x="2229679" y="2278045"/>
                  </a:cubicBezTo>
                  <a:cubicBezTo>
                    <a:pt x="2066941" y="2358606"/>
                    <a:pt x="1910661" y="2497291"/>
                    <a:pt x="1741465" y="2519729"/>
                  </a:cubicBezTo>
                  <a:cubicBezTo>
                    <a:pt x="1583032" y="2521635"/>
                    <a:pt x="1531160" y="2462185"/>
                    <a:pt x="1455068" y="2351072"/>
                  </a:cubicBezTo>
                  <a:lnTo>
                    <a:pt x="1760218" y="1719911"/>
                  </a:lnTo>
                  <a:lnTo>
                    <a:pt x="1499406" y="2017234"/>
                  </a:lnTo>
                  <a:cubicBezTo>
                    <a:pt x="1335965" y="1676443"/>
                    <a:pt x="1322053" y="1813180"/>
                    <a:pt x="1248034" y="1619686"/>
                  </a:cubicBezTo>
                  <a:cubicBezTo>
                    <a:pt x="1276847" y="1255172"/>
                    <a:pt x="1975699" y="611343"/>
                    <a:pt x="2083625" y="535832"/>
                  </a:cubicBezTo>
                  <a:cubicBezTo>
                    <a:pt x="2135244" y="490951"/>
                    <a:pt x="2295643" y="499223"/>
                    <a:pt x="2525883" y="443835"/>
                  </a:cubicBezTo>
                  <a:lnTo>
                    <a:pt x="2569214" y="432048"/>
                  </a:lnTo>
                  <a:lnTo>
                    <a:pt x="2558835" y="430557"/>
                  </a:lnTo>
                  <a:cubicBezTo>
                    <a:pt x="2496767" y="423973"/>
                    <a:pt x="2414088" y="423468"/>
                    <a:pt x="2302954" y="424679"/>
                  </a:cubicBezTo>
                  <a:cubicBezTo>
                    <a:pt x="2520380" y="87778"/>
                    <a:pt x="2904103" y="9205"/>
                    <a:pt x="3210329" y="56"/>
                  </a:cubicBezTo>
                  <a:close/>
                </a:path>
              </a:pathLst>
            </a:custGeom>
            <a:solidFill>
              <a:sysClr val="window" lastClr="FFFFFF"/>
            </a:solidFill>
            <a:ln>
              <a:noFill/>
            </a:ln>
            <a:extLst/>
          </p:spPr>
          <p:txBody>
            <a:bodyPr vert="horz" wrap="square" lIns="91401" tIns="45700" rIns="91401" bIns="4570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endParaRPr>
            </a:p>
          </p:txBody>
        </p:sp>
      </p:grpSp>
      <p:cxnSp>
        <p:nvCxnSpPr>
          <p:cNvPr id="246" name="Straight Connector 245">
            <a:extLst/>
          </p:cNvPr>
          <p:cNvCxnSpPr>
            <a:cxnSpLocks/>
          </p:cNvCxnSpPr>
          <p:nvPr/>
        </p:nvCxnSpPr>
        <p:spPr>
          <a:xfrm>
            <a:off x="3870836" y="2031868"/>
            <a:ext cx="0" cy="3421651"/>
          </a:xfrm>
          <a:prstGeom prst="line">
            <a:avLst/>
          </a:prstGeom>
          <a:noFill/>
          <a:ln w="6350" cap="flat" cmpd="sng" algn="ctr">
            <a:solidFill>
              <a:sysClr val="window" lastClr="FFFFFF"/>
            </a:solidFill>
            <a:prstDash val="dash"/>
            <a:miter lim="800000"/>
            <a:tailEnd type="none"/>
          </a:ln>
          <a:effectLst/>
        </p:spPr>
      </p:cxnSp>
      <p:sp>
        <p:nvSpPr>
          <p:cNvPr id="247" name="Rectangle 246"/>
          <p:cNvSpPr/>
          <p:nvPr/>
        </p:nvSpPr>
        <p:spPr>
          <a:xfrm>
            <a:off x="2945545" y="1967518"/>
            <a:ext cx="2210038" cy="276999"/>
          </a:xfrm>
          <a:prstGeom prst="rect">
            <a:avLst/>
          </a:prstGeom>
          <a:noFill/>
          <a:ln w="12700" cap="flat" cmpd="sng" algn="ctr">
            <a:noFill/>
            <a:prstDash val="solid"/>
            <a:miter lim="800000"/>
          </a:ln>
          <a:effectLst/>
        </p:spPr>
        <p:txBody>
          <a:bodyPr wrap="square" lIns="182880" tIns="91440" rIns="0" bIns="0" rtlCol="0" anchor="ctr" anchorCtr="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ON-PREM        CLOUD</a:t>
            </a:r>
          </a:p>
        </p:txBody>
      </p:sp>
    </p:spTree>
    <p:extLst>
      <p:ext uri="{BB962C8B-B14F-4D97-AF65-F5344CB8AC3E}">
        <p14:creationId xmlns:p14="http://schemas.microsoft.com/office/powerpoint/2010/main" val="40088818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0" name="Group 69"/>
          <p:cNvGrpSpPr/>
          <p:nvPr/>
        </p:nvGrpSpPr>
        <p:grpSpPr>
          <a:xfrm>
            <a:off x="1484396" y="1076511"/>
            <a:ext cx="9381243" cy="5781489"/>
            <a:chOff x="2325645" y="-70091"/>
            <a:chExt cx="9624009" cy="6788043"/>
          </a:xfrm>
        </p:grpSpPr>
        <p:sp>
          <p:nvSpPr>
            <p:cNvPr id="71" name="Rectangle 70"/>
            <p:cNvSpPr/>
            <p:nvPr/>
          </p:nvSpPr>
          <p:spPr>
            <a:xfrm>
              <a:off x="3266441" y="5428314"/>
              <a:ext cx="2961534" cy="663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grpSp>
          <p:nvGrpSpPr>
            <p:cNvPr id="72" name="Group 71"/>
            <p:cNvGrpSpPr/>
            <p:nvPr/>
          </p:nvGrpSpPr>
          <p:grpSpPr>
            <a:xfrm>
              <a:off x="2325645" y="374577"/>
              <a:ext cx="8907080" cy="6343375"/>
              <a:chOff x="455597" y="590195"/>
              <a:chExt cx="8197016" cy="6415149"/>
            </a:xfrm>
          </p:grpSpPr>
          <p:cxnSp>
            <p:nvCxnSpPr>
              <p:cNvPr id="123" name="Straight Connector 122"/>
              <p:cNvCxnSpPr/>
              <p:nvPr/>
            </p:nvCxnSpPr>
            <p:spPr>
              <a:xfrm flipH="1">
                <a:off x="1260563" y="590195"/>
                <a:ext cx="10162" cy="5891508"/>
              </a:xfrm>
              <a:prstGeom prst="line">
                <a:avLst/>
              </a:prstGeom>
              <a:ln/>
              <a:effectLst/>
            </p:spPr>
            <p:style>
              <a:lnRef idx="1">
                <a:schemeClr val="accent2"/>
              </a:lnRef>
              <a:fillRef idx="0">
                <a:schemeClr val="accent2"/>
              </a:fillRef>
              <a:effectRef idx="0">
                <a:schemeClr val="accent2"/>
              </a:effectRef>
              <a:fontRef idx="minor">
                <a:schemeClr val="tx1"/>
              </a:fontRef>
            </p:style>
          </p:cxnSp>
          <p:grpSp>
            <p:nvGrpSpPr>
              <p:cNvPr id="124" name="Group 123"/>
              <p:cNvGrpSpPr/>
              <p:nvPr/>
            </p:nvGrpSpPr>
            <p:grpSpPr>
              <a:xfrm>
                <a:off x="455597" y="634678"/>
                <a:ext cx="8197016" cy="6370666"/>
                <a:chOff x="455597" y="634678"/>
                <a:chExt cx="8197016" cy="6370666"/>
              </a:xfrm>
            </p:grpSpPr>
            <p:cxnSp>
              <p:nvCxnSpPr>
                <p:cNvPr id="125" name="Straight Connector 124"/>
                <p:cNvCxnSpPr/>
                <p:nvPr/>
              </p:nvCxnSpPr>
              <p:spPr>
                <a:xfrm flipH="1">
                  <a:off x="1260563" y="6487154"/>
                  <a:ext cx="7392050" cy="0"/>
                </a:xfrm>
                <a:prstGeom prst="line">
                  <a:avLst/>
                </a:prstGeom>
                <a:ln/>
                <a:effectLst/>
              </p:spPr>
              <p:style>
                <a:lnRef idx="1">
                  <a:schemeClr val="accent2"/>
                </a:lnRef>
                <a:fillRef idx="0">
                  <a:schemeClr val="accent2"/>
                </a:fillRef>
                <a:effectRef idx="0">
                  <a:schemeClr val="accent2"/>
                </a:effectRef>
                <a:fontRef idx="minor">
                  <a:schemeClr val="tx1"/>
                </a:fontRef>
              </p:style>
            </p:cxnSp>
            <p:sp>
              <p:nvSpPr>
                <p:cNvPr id="126" name="TextBox 125"/>
                <p:cNvSpPr txBox="1"/>
                <p:nvPr/>
              </p:nvSpPr>
              <p:spPr>
                <a:xfrm>
                  <a:off x="5771425" y="6481706"/>
                  <a:ext cx="1891112" cy="499322"/>
                </a:xfrm>
                <a:prstGeom prst="rect">
                  <a:avLst/>
                </a:prstGeom>
                <a:noFill/>
              </p:spPr>
              <p:txBody>
                <a:bodyPr wrap="square" lIns="131912" tIns="65956" rIns="131912" bIns="65956" rtlCol="0">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rPr>
                    <a:t>Low Control</a:t>
                  </a:r>
                </a:p>
              </p:txBody>
            </p:sp>
            <p:sp>
              <p:nvSpPr>
                <p:cNvPr id="127" name="TextBox 126"/>
                <p:cNvSpPr txBox="1"/>
                <p:nvPr/>
              </p:nvSpPr>
              <p:spPr>
                <a:xfrm rot="16200000">
                  <a:off x="-309910" y="1400185"/>
                  <a:ext cx="2354137" cy="823123"/>
                </a:xfrm>
                <a:prstGeom prst="rect">
                  <a:avLst/>
                </a:prstGeom>
                <a:noFill/>
              </p:spPr>
              <p:txBody>
                <a:bodyPr wrap="square" lIns="131912" tIns="65956" rIns="131912" bIns="65956" rtlCol="0">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rPr>
                    <a:t>Shared</a:t>
                  </a:r>
                  <a:br>
                    <a:rPr kumimoji="0" lang="en-US" sz="2400"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rPr>
                  </a:br>
                  <a:r>
                    <a:rPr kumimoji="0" lang="en-US" sz="2400"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rPr>
                    <a:t>Lower cost</a:t>
                  </a:r>
                  <a:endParaRPr kumimoji="0" lang="en-US" sz="1467"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sp>
              <p:nvSpPr>
                <p:cNvPr id="128" name="TextBox 127"/>
                <p:cNvSpPr txBox="1"/>
                <p:nvPr/>
              </p:nvSpPr>
              <p:spPr>
                <a:xfrm rot="16200000">
                  <a:off x="-536503" y="4743940"/>
                  <a:ext cx="2807333" cy="823123"/>
                </a:xfrm>
                <a:prstGeom prst="rect">
                  <a:avLst/>
                </a:prstGeom>
                <a:noFill/>
              </p:spPr>
              <p:txBody>
                <a:bodyPr wrap="square" lIns="131912" tIns="65956" rIns="131912" bIns="65956"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rPr>
                    <a:t>Dedicated</a:t>
                  </a:r>
                  <a:br>
                    <a:rPr kumimoji="0" lang="en-US" sz="2400"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rPr>
                  </a:br>
                  <a:r>
                    <a:rPr kumimoji="0" lang="en-US" sz="2400"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rPr>
                    <a:t>Higher cost</a:t>
                  </a:r>
                  <a:endParaRPr kumimoji="0" lang="en-US" sz="1467"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sp>
              <p:nvSpPr>
                <p:cNvPr id="129" name="TextBox 128"/>
                <p:cNvSpPr txBox="1"/>
                <p:nvPr/>
              </p:nvSpPr>
              <p:spPr>
                <a:xfrm>
                  <a:off x="1270725" y="6506022"/>
                  <a:ext cx="2622390" cy="499322"/>
                </a:xfrm>
                <a:prstGeom prst="rect">
                  <a:avLst/>
                </a:prstGeom>
                <a:noFill/>
              </p:spPr>
              <p:txBody>
                <a:bodyPr wrap="square" lIns="131912" tIns="65956" rIns="131912" bIns="65956"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rPr>
                    <a:t>High Control</a:t>
                  </a:r>
                </a:p>
              </p:txBody>
            </p:sp>
          </p:grpSp>
        </p:grpSp>
        <p:grpSp>
          <p:nvGrpSpPr>
            <p:cNvPr id="73" name="Group 72"/>
            <p:cNvGrpSpPr/>
            <p:nvPr/>
          </p:nvGrpSpPr>
          <p:grpSpPr>
            <a:xfrm>
              <a:off x="3381778" y="-70091"/>
              <a:ext cx="7850946" cy="950891"/>
              <a:chOff x="2422894" y="867532"/>
              <a:chExt cx="7931679" cy="699248"/>
            </a:xfrm>
          </p:grpSpPr>
          <p:sp>
            <p:nvSpPr>
              <p:cNvPr id="121" name="Left Brace 120"/>
              <p:cNvSpPr/>
              <p:nvPr/>
            </p:nvSpPr>
            <p:spPr>
              <a:xfrm rot="5400000">
                <a:off x="6213418" y="-2574375"/>
                <a:ext cx="350631" cy="7931679"/>
              </a:xfrm>
              <a:prstGeom prst="leftBrace">
                <a:avLst/>
              </a:prstGeom>
              <a:effectLst/>
            </p:spPr>
            <p:style>
              <a:lnRef idx="3">
                <a:schemeClr val="accent1"/>
              </a:lnRef>
              <a:fillRef idx="0">
                <a:schemeClr val="accent1"/>
              </a:fillRef>
              <a:effectRef idx="2">
                <a:schemeClr val="accent1"/>
              </a:effectRef>
              <a:fontRef idx="minor">
                <a:schemeClr val="tx1"/>
              </a:fontRef>
            </p:style>
            <p:txBody>
              <a:bodyPr lIns="169089" tIns="84547" rIns="169089" bIns="84547"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sp>
            <p:nvSpPr>
              <p:cNvPr id="122" name="TextBox 121"/>
              <p:cNvSpPr txBox="1"/>
              <p:nvPr/>
            </p:nvSpPr>
            <p:spPr>
              <a:xfrm>
                <a:off x="4541861" y="867532"/>
                <a:ext cx="3565198" cy="398387"/>
              </a:xfrm>
              <a:prstGeom prst="rect">
                <a:avLst/>
              </a:prstGeom>
              <a:noFill/>
            </p:spPr>
            <p:txBody>
              <a:bodyPr wrap="square" lIns="131907" tIns="65952" rIns="131907" bIns="65952"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rPr>
                  <a:t>Hybrid Cloud</a:t>
                </a:r>
              </a:p>
            </p:txBody>
          </p:sp>
        </p:grpSp>
        <p:grpSp>
          <p:nvGrpSpPr>
            <p:cNvPr id="74" name="Group 73"/>
            <p:cNvGrpSpPr/>
            <p:nvPr/>
          </p:nvGrpSpPr>
          <p:grpSpPr>
            <a:xfrm>
              <a:off x="3266441" y="3467012"/>
              <a:ext cx="1319929" cy="1882324"/>
              <a:chOff x="1958631" y="3953984"/>
              <a:chExt cx="1186993" cy="1893407"/>
            </a:xfrm>
          </p:grpSpPr>
          <p:sp>
            <p:nvSpPr>
              <p:cNvPr id="118" name="Rectangle 117"/>
              <p:cNvSpPr/>
              <p:nvPr/>
            </p:nvSpPr>
            <p:spPr bwMode="auto">
              <a:xfrm>
                <a:off x="1959795" y="5450456"/>
                <a:ext cx="1185829" cy="396935"/>
              </a:xfrm>
              <a:prstGeom prst="rect">
                <a:avLst/>
              </a:prstGeom>
              <a:solidFill>
                <a:schemeClr val="accent1"/>
              </a:solidFill>
              <a:ln w="9525" cap="flat" cmpd="sng" algn="ctr">
                <a:noFill/>
                <a:prstDash val="solid"/>
                <a:headEnd type="none" w="med" len="med"/>
                <a:tailEnd type="none" w="med" len="med"/>
              </a:ln>
              <a:effectLst/>
            </p:spPr>
            <p:txBody>
              <a:bodyPr vert="horz" wrap="square" lIns="169075" tIns="0" rIns="0" bIns="0" numCol="1" rtlCol="0" anchor="ctr" anchorCtr="1" compatLnSpc="1">
                <a:prstTxWarp prst="textNoShape">
                  <a:avLst/>
                </a:prstTxWarp>
              </a:bodyPr>
              <a:lstStyle/>
              <a:p>
                <a:pPr marL="0" marR="0" lvl="0" indent="0" algn="l" defTabSz="1044351" rtl="0" eaLnBrk="1" fontAlgn="auto" latinLnBrk="0" hangingPunct="1">
                  <a:lnSpc>
                    <a:spcPct val="100000"/>
                  </a:lnSpc>
                  <a:spcBef>
                    <a:spcPts val="0"/>
                  </a:spcBef>
                  <a:spcAft>
                    <a:spcPts val="0"/>
                  </a:spcAft>
                  <a:buClrTx/>
                  <a:buSzPct val="90000"/>
                  <a:buFontTx/>
                  <a:buNone/>
                  <a:tabLst/>
                  <a:defRPr/>
                </a:pPr>
                <a:r>
                  <a:rPr kumimoji="0" lang="en-US" sz="2133" b="0" i="0" u="none" strike="noStrike" kern="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Physical</a:t>
                </a:r>
              </a:p>
            </p:txBody>
          </p:sp>
          <p:sp>
            <p:nvSpPr>
              <p:cNvPr id="119" name="Rectangle 118"/>
              <p:cNvSpPr/>
              <p:nvPr/>
            </p:nvSpPr>
            <p:spPr bwMode="auto">
              <a:xfrm>
                <a:off x="1958631" y="3953984"/>
                <a:ext cx="1185828" cy="1459888"/>
              </a:xfrm>
              <a:prstGeom prst="rect">
                <a:avLst/>
              </a:prstGeom>
              <a:solidFill>
                <a:schemeClr val="accent1"/>
              </a:solidFill>
              <a:ln w="9525" cap="flat" cmpd="sng" algn="ctr">
                <a:noFill/>
                <a:prstDash val="solid"/>
                <a:headEnd type="none" w="med" len="med"/>
                <a:tailEnd type="none" w="med" len="med"/>
              </a:ln>
              <a:effectLst/>
            </p:spPr>
            <p:txBody>
              <a:bodyPr vert="horz" wrap="square" lIns="338151" tIns="338151" rIns="169075" bIns="84533" numCol="1" rtlCol="0" anchor="t" anchorCtr="0" compatLnSpc="1">
                <a:prstTxWarp prst="textNoShape">
                  <a:avLst/>
                </a:prstTxWarp>
              </a:bodyPr>
              <a:lstStyle/>
              <a:p>
                <a:pPr marL="0" marR="0" lvl="0" indent="0" algn="l" defTabSz="1044351" rtl="0" eaLnBrk="1" fontAlgn="auto" latinLnBrk="0" hangingPunct="1">
                  <a:lnSpc>
                    <a:spcPct val="90000"/>
                  </a:lnSpc>
                  <a:spcBef>
                    <a:spcPts val="0"/>
                  </a:spcBef>
                  <a:spcAft>
                    <a:spcPts val="0"/>
                  </a:spcAft>
                  <a:buClrTx/>
                  <a:buSzPct val="90000"/>
                  <a:buFontTx/>
                  <a:buNone/>
                  <a:tabLst/>
                  <a:defRPr/>
                </a:pPr>
                <a:endParaRPr kumimoji="0" lang="en-US" sz="3467" b="0" i="0" u="none" strike="noStrike" kern="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pic>
            <p:nvPicPr>
              <p:cNvPr id="120"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134032" y="4265472"/>
                <a:ext cx="847194" cy="846972"/>
              </a:xfrm>
              <a:prstGeom prst="rect">
                <a:avLst/>
              </a:prstGeom>
              <a:noFill/>
            </p:spPr>
          </p:pic>
        </p:grpSp>
        <p:grpSp>
          <p:nvGrpSpPr>
            <p:cNvPr id="75" name="Group 74"/>
            <p:cNvGrpSpPr/>
            <p:nvPr/>
          </p:nvGrpSpPr>
          <p:grpSpPr>
            <a:xfrm>
              <a:off x="4904736" y="2643843"/>
              <a:ext cx="1224207" cy="1933122"/>
              <a:chOff x="2983003" y="2764132"/>
              <a:chExt cx="2829100" cy="4513958"/>
            </a:xfrm>
            <a:solidFill>
              <a:schemeClr val="accent2"/>
            </a:solidFill>
          </p:grpSpPr>
          <p:sp>
            <p:nvSpPr>
              <p:cNvPr id="115" name="Rectangle 114"/>
              <p:cNvSpPr/>
              <p:nvPr/>
            </p:nvSpPr>
            <p:spPr bwMode="auto">
              <a:xfrm>
                <a:off x="2985776" y="6331781"/>
                <a:ext cx="2826327" cy="946309"/>
              </a:xfrm>
              <a:prstGeom prst="rect">
                <a:avLst/>
              </a:prstGeom>
              <a:grp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marL="0" marR="0" lvl="0" indent="0" algn="l" defTabSz="1044351" rtl="0" eaLnBrk="1" fontAlgn="auto" latinLnBrk="0" hangingPunct="1">
                  <a:lnSpc>
                    <a:spcPct val="90000"/>
                  </a:lnSpc>
                  <a:spcBef>
                    <a:spcPts val="0"/>
                  </a:spcBef>
                  <a:spcAft>
                    <a:spcPts val="0"/>
                  </a:spcAft>
                  <a:buClrTx/>
                  <a:buSzPct val="90000"/>
                  <a:buFontTx/>
                  <a:buNone/>
                  <a:tabLst/>
                  <a:defRPr/>
                </a:pPr>
                <a:r>
                  <a:rPr kumimoji="0" lang="en-US" sz="2133" b="0" i="0" u="none" strike="noStrike" kern="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Virtual</a:t>
                </a:r>
              </a:p>
            </p:txBody>
          </p:sp>
          <p:sp>
            <p:nvSpPr>
              <p:cNvPr id="116" name="Rectangle 115"/>
              <p:cNvSpPr/>
              <p:nvPr/>
            </p:nvSpPr>
            <p:spPr bwMode="auto">
              <a:xfrm>
                <a:off x="2983003" y="2764132"/>
                <a:ext cx="2826327" cy="3480433"/>
              </a:xfrm>
              <a:prstGeom prst="rect">
                <a:avLst/>
              </a:prstGeom>
              <a:grpFill/>
              <a:ln w="9525" cap="flat" cmpd="sng" algn="ctr">
                <a:noFill/>
                <a:prstDash val="solid"/>
                <a:headEnd type="none" w="med" len="med"/>
                <a:tailEnd type="none" w="med" len="med"/>
              </a:ln>
              <a:effectLst/>
            </p:spPr>
            <p:txBody>
              <a:bodyPr vert="horz" wrap="square" lIns="338195" tIns="338195" rIns="169096" bIns="84544" numCol="1" rtlCol="0" anchor="t" anchorCtr="0" compatLnSpc="1">
                <a:prstTxWarp prst="textNoShape">
                  <a:avLst/>
                </a:prstTxWarp>
              </a:bodyPr>
              <a:lstStyle/>
              <a:p>
                <a:pPr marL="0" marR="0" lvl="0" indent="0" algn="l" defTabSz="1044351" rtl="0" eaLnBrk="1" fontAlgn="auto" latinLnBrk="0" hangingPunct="1">
                  <a:lnSpc>
                    <a:spcPct val="90000"/>
                  </a:lnSpc>
                  <a:spcBef>
                    <a:spcPts val="0"/>
                  </a:spcBef>
                  <a:spcAft>
                    <a:spcPts val="0"/>
                  </a:spcAft>
                  <a:buClrTx/>
                  <a:buSzPct val="90000"/>
                  <a:buFontTx/>
                  <a:buNone/>
                  <a:tabLst/>
                  <a:defRPr/>
                </a:pPr>
                <a:endParaRPr kumimoji="0" lang="en-US" sz="3467" b="0" i="0" u="none" strike="noStrike" kern="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pic>
            <p:nvPicPr>
              <p:cNvPr id="117" name="Picture 2"/>
              <p:cNvPicPr>
                <a:picLocks noChangeAspect="1" noChangeArrowheads="1"/>
              </p:cNvPicPr>
              <p:nvPr/>
            </p:nvPicPr>
            <p:blipFill>
              <a:blip r:embed="rId4" cstate="print">
                <a:lum bright="100000" contrast="100000"/>
              </a:blip>
              <a:srcRect/>
              <a:stretch>
                <a:fillRect/>
              </a:stretch>
            </p:blipFill>
            <p:spPr bwMode="auto">
              <a:xfrm>
                <a:off x="3470532" y="3346909"/>
                <a:ext cx="1782163" cy="2338867"/>
              </a:xfrm>
              <a:prstGeom prst="rect">
                <a:avLst/>
              </a:prstGeom>
              <a:grpFill/>
              <a:ln w="9525">
                <a:noFill/>
                <a:miter lim="800000"/>
                <a:headEnd/>
                <a:tailEnd/>
              </a:ln>
              <a:effectLst/>
            </p:spPr>
          </p:pic>
        </p:grpSp>
        <p:grpSp>
          <p:nvGrpSpPr>
            <p:cNvPr id="76" name="Group 75"/>
            <p:cNvGrpSpPr/>
            <p:nvPr/>
          </p:nvGrpSpPr>
          <p:grpSpPr>
            <a:xfrm>
              <a:off x="8172013" y="1119616"/>
              <a:ext cx="1182590" cy="1887925"/>
              <a:chOff x="7722489" y="2324512"/>
              <a:chExt cx="1239173" cy="1907167"/>
            </a:xfrm>
          </p:grpSpPr>
          <p:sp>
            <p:nvSpPr>
              <p:cNvPr id="108" name="Rectangle 107"/>
              <p:cNvSpPr/>
              <p:nvPr/>
            </p:nvSpPr>
            <p:spPr bwMode="auto">
              <a:xfrm>
                <a:off x="7723656" y="3834744"/>
                <a:ext cx="1238006" cy="396935"/>
              </a:xfrm>
              <a:prstGeom prst="rect">
                <a:avLst/>
              </a:prstGeom>
              <a:solidFill>
                <a:schemeClr val="accent4"/>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marL="0" marR="0" lvl="0" indent="0" algn="l" defTabSz="1044351" rtl="0" eaLnBrk="1" fontAlgn="auto" latinLnBrk="0" hangingPunct="1">
                  <a:lnSpc>
                    <a:spcPct val="90000"/>
                  </a:lnSpc>
                  <a:spcBef>
                    <a:spcPts val="0"/>
                  </a:spcBef>
                  <a:spcAft>
                    <a:spcPts val="0"/>
                  </a:spcAft>
                  <a:buClrTx/>
                  <a:buSzPct val="90000"/>
                  <a:buFontTx/>
                  <a:buNone/>
                  <a:tabLst/>
                  <a:defRPr/>
                </a:pPr>
                <a:endParaRPr kumimoji="0" lang="en-US" sz="2933" b="0" i="0" u="none" strike="noStrike" kern="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sp>
            <p:nvSpPr>
              <p:cNvPr id="109" name="Rectangle 108"/>
              <p:cNvSpPr/>
              <p:nvPr/>
            </p:nvSpPr>
            <p:spPr bwMode="auto">
              <a:xfrm>
                <a:off x="7722489" y="2338272"/>
                <a:ext cx="1238006" cy="1459888"/>
              </a:xfrm>
              <a:prstGeom prst="rect">
                <a:avLst/>
              </a:prstGeom>
              <a:solidFill>
                <a:schemeClr val="accent4"/>
              </a:solidFill>
              <a:ln w="9525" cap="flat" cmpd="sng" algn="ctr">
                <a:noFill/>
                <a:prstDash val="solid"/>
                <a:headEnd type="none" w="med" len="med"/>
                <a:tailEnd type="none" w="med" len="med"/>
              </a:ln>
              <a:effectLst/>
            </p:spPr>
            <p:txBody>
              <a:bodyPr vert="horz" wrap="square" lIns="338151" tIns="338151" rIns="169075" bIns="84533" numCol="1" rtlCol="0" anchor="t" anchorCtr="0" compatLnSpc="1">
                <a:prstTxWarp prst="textNoShape">
                  <a:avLst/>
                </a:prstTxWarp>
              </a:bodyPr>
              <a:lstStyle/>
              <a:p>
                <a:pPr marL="0" marR="0" lvl="0" indent="0" algn="l" defTabSz="1044351" rtl="0" eaLnBrk="1" fontAlgn="auto" latinLnBrk="0" hangingPunct="1">
                  <a:lnSpc>
                    <a:spcPct val="90000"/>
                  </a:lnSpc>
                  <a:spcBef>
                    <a:spcPts val="0"/>
                  </a:spcBef>
                  <a:spcAft>
                    <a:spcPts val="0"/>
                  </a:spcAft>
                  <a:buClrTx/>
                  <a:buSzPct val="90000"/>
                  <a:buFontTx/>
                  <a:buNone/>
                  <a:tabLst/>
                  <a:defRPr/>
                </a:pPr>
                <a:endParaRPr kumimoji="0" lang="en-US" sz="3467" b="0" i="0" u="none" strike="noStrike" kern="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sp>
            <p:nvSpPr>
              <p:cNvPr id="110" name="Rectangle 109"/>
              <p:cNvSpPr/>
              <p:nvPr/>
            </p:nvSpPr>
            <p:spPr bwMode="auto">
              <a:xfrm>
                <a:off x="7749744" y="3834744"/>
                <a:ext cx="1185828" cy="396935"/>
              </a:xfrm>
              <a:prstGeom prst="rect">
                <a:avLst/>
              </a:prstGeom>
              <a:noFill/>
              <a:ln w="9525" cap="flat" cmpd="sng" algn="ctr">
                <a:noFill/>
                <a:prstDash val="solid"/>
                <a:headEnd type="none" w="med" len="med"/>
                <a:tailEnd type="none" w="med" len="med"/>
              </a:ln>
              <a:effectLst/>
            </p:spPr>
            <p:txBody>
              <a:bodyPr vert="horz" wrap="square" lIns="338151" tIns="0" rIns="169075" bIns="0" numCol="1" rtlCol="0" anchor="ctr" anchorCtr="1" compatLnSpc="1">
                <a:prstTxWarp prst="textNoShape">
                  <a:avLst/>
                </a:prstTxWarp>
              </a:bodyPr>
              <a:lstStyle/>
              <a:p>
                <a:pPr marL="0" marR="0" lvl="0" indent="0" algn="l" defTabSz="1044351" rtl="0" eaLnBrk="1" fontAlgn="auto" latinLnBrk="0" hangingPunct="1">
                  <a:lnSpc>
                    <a:spcPct val="90000"/>
                  </a:lnSpc>
                  <a:spcBef>
                    <a:spcPts val="0"/>
                  </a:spcBef>
                  <a:spcAft>
                    <a:spcPts val="0"/>
                  </a:spcAft>
                  <a:buClrTx/>
                  <a:buSzPct val="90000"/>
                  <a:buFontTx/>
                  <a:buNone/>
                  <a:tabLst/>
                  <a:defRPr/>
                </a:pPr>
                <a:r>
                  <a:rPr kumimoji="0" lang="en-US" sz="2133" b="0" i="0" u="none" strike="noStrike" kern="0" cap="none" spc="0" normalizeH="0" baseline="0" noProof="0" err="1">
                    <a:ln>
                      <a:noFill/>
                    </a:ln>
                    <a:solidFill>
                      <a:srgbClr val="FFFFFF"/>
                    </a:solidFill>
                    <a:effectLst/>
                    <a:uLnTx/>
                    <a:uFillTx/>
                    <a:latin typeface="Segoe UI Light" panose="020B0502040204020203" pitchFamily="34" charset="0"/>
                    <a:ea typeface="+mn-ea"/>
                    <a:cs typeface="Segoe UI Light" panose="020B0502040204020203" pitchFamily="34" charset="0"/>
                  </a:rPr>
                  <a:t>PaaS</a:t>
                </a:r>
                <a:endParaRPr kumimoji="0" lang="en-US" sz="2133" b="0" i="0" u="none" strike="noStrike" kern="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111" name="Rectangle 110"/>
              <p:cNvSpPr/>
              <p:nvPr/>
            </p:nvSpPr>
            <p:spPr bwMode="auto">
              <a:xfrm>
                <a:off x="7748581" y="2338272"/>
                <a:ext cx="1185828" cy="1459888"/>
              </a:xfrm>
              <a:prstGeom prst="rect">
                <a:avLst/>
              </a:prstGeom>
              <a:noFill/>
              <a:ln w="9525" cap="flat" cmpd="sng" algn="ctr">
                <a:noFill/>
                <a:prstDash val="solid"/>
                <a:headEnd type="none" w="med" len="med"/>
                <a:tailEnd type="none" w="med" len="med"/>
              </a:ln>
              <a:effectLst/>
            </p:spPr>
            <p:txBody>
              <a:bodyPr vert="horz" wrap="square" lIns="338151" tIns="338151" rIns="169075" bIns="84533" numCol="1" rtlCol="0" anchor="t" anchorCtr="0" compatLnSpc="1">
                <a:prstTxWarp prst="textNoShape">
                  <a:avLst/>
                </a:prstTxWarp>
              </a:bodyPr>
              <a:lstStyle/>
              <a:p>
                <a:pPr marL="0" marR="0" lvl="0" indent="0" algn="l" defTabSz="1044351" rtl="0" eaLnBrk="1" fontAlgn="auto" latinLnBrk="0" hangingPunct="1">
                  <a:lnSpc>
                    <a:spcPct val="90000"/>
                  </a:lnSpc>
                  <a:spcBef>
                    <a:spcPts val="0"/>
                  </a:spcBef>
                  <a:spcAft>
                    <a:spcPts val="0"/>
                  </a:spcAft>
                  <a:buClrTx/>
                  <a:buSzPct val="90000"/>
                  <a:buFontTx/>
                  <a:buNone/>
                  <a:tabLst/>
                  <a:defRPr/>
                </a:pPr>
                <a:endParaRPr kumimoji="0" lang="en-US" sz="3467" b="0" i="0" u="none" strike="noStrike" kern="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sp>
            <p:nvSpPr>
              <p:cNvPr id="112" name="Isosceles Triangle 111"/>
              <p:cNvSpPr/>
              <p:nvPr/>
            </p:nvSpPr>
            <p:spPr bwMode="auto">
              <a:xfrm rot="10800000">
                <a:off x="8078804" y="2866149"/>
                <a:ext cx="343062" cy="557819"/>
              </a:xfrm>
              <a:prstGeom prst="triangle">
                <a:avLst>
                  <a:gd name="adj" fmla="val 0"/>
                </a:avLst>
              </a:prstGeom>
              <a:gradFill rotWithShape="1">
                <a:gsLst>
                  <a:gs pos="0">
                    <a:sysClr val="window" lastClr="FFFFFF">
                      <a:lumMod val="95000"/>
                      <a:alpha val="0"/>
                    </a:sysClr>
                  </a:gs>
                  <a:gs pos="50000">
                    <a:srgbClr val="FFFFFF">
                      <a:alpha val="53000"/>
                    </a:srgbClr>
                  </a:gs>
                  <a:gs pos="100000">
                    <a:srgbClr val="FFFFFF"/>
                  </a:gs>
                </a:gsLst>
                <a:lin ang="5400000" scaled="0"/>
              </a:gradFill>
              <a:ln w="9525" cap="flat" cmpd="sng" algn="ctr">
                <a:noFill/>
                <a:prstDash val="solid"/>
                <a:headEnd type="none" w="med" len="med"/>
                <a:tailEnd type="none" w="med" len="med"/>
              </a:ln>
              <a:effectLst/>
            </p:spPr>
            <p:txBody>
              <a:bodyPr vert="horz" wrap="square" lIns="169067" tIns="84533" rIns="169067" bIns="84533" numCol="1" rtlCol="0" anchor="ctr" anchorCtr="0" compatLnSpc="1">
                <a:prstTxWarp prst="textNoShape">
                  <a:avLst/>
                </a:prstTxWarp>
              </a:bodyPr>
              <a:lstStyle/>
              <a:p>
                <a:pPr marL="0" marR="0" lvl="0" indent="0" algn="ctr" defTabSz="1044007" rtl="0" eaLnBrk="1" fontAlgn="auto" latinLnBrk="0" hangingPunct="1">
                  <a:lnSpc>
                    <a:spcPct val="100000"/>
                  </a:lnSpc>
                  <a:spcBef>
                    <a:spcPts val="0"/>
                  </a:spcBef>
                  <a:spcAft>
                    <a:spcPts val="0"/>
                  </a:spcAft>
                  <a:buClrTx/>
                  <a:buSzTx/>
                  <a:buFontTx/>
                  <a:buNone/>
                  <a:tabLst/>
                  <a:defRPr/>
                </a:pPr>
                <a:endParaRPr kumimoji="0" lang="en-US" sz="2267" b="0" i="0" u="none" strike="noStrike" kern="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pic>
            <p:nvPicPr>
              <p:cNvPr id="113" name="Picture 112"/>
              <p:cNvPicPr>
                <a:picLocks noChangeAspect="1"/>
              </p:cNvPicPr>
              <p:nvPr/>
            </p:nvPicPr>
            <p:blipFill>
              <a:blip r:embed="rId5" cstate="print">
                <a:lum bright="100000" contrast="100000"/>
              </a:blip>
              <a:stretch>
                <a:fillRect/>
              </a:stretch>
            </p:blipFill>
            <p:spPr>
              <a:xfrm>
                <a:off x="7922275" y="3193962"/>
                <a:ext cx="886924" cy="528462"/>
              </a:xfrm>
              <a:prstGeom prst="rect">
                <a:avLst/>
              </a:prstGeom>
              <a:noFill/>
              <a:ln>
                <a:noFill/>
              </a:ln>
              <a:effectLst/>
            </p:spPr>
          </p:pic>
          <p:pic>
            <p:nvPicPr>
              <p:cNvPr id="114" name="Picture 113" descr="\\MAGNUM\Projects\Microsoft\Cloud Power FY12\Design\ICONS_PNG\Application.png"/>
              <p:cNvPicPr>
                <a:picLocks noChangeAspect="1" noChangeArrowheads="1"/>
              </p:cNvPicPr>
              <p:nvPr/>
            </p:nvPicPr>
            <p:blipFill>
              <a:blip r:embed="rId6" cstate="print">
                <a:lum bright="100000"/>
              </a:blip>
              <a:srcRect/>
              <a:stretch>
                <a:fillRect/>
              </a:stretch>
            </p:blipFill>
            <p:spPr bwMode="auto">
              <a:xfrm>
                <a:off x="7997671" y="2324512"/>
                <a:ext cx="505330" cy="655780"/>
              </a:xfrm>
              <a:prstGeom prst="rect">
                <a:avLst/>
              </a:prstGeom>
              <a:noFill/>
            </p:spPr>
          </p:pic>
        </p:grpSp>
        <p:grpSp>
          <p:nvGrpSpPr>
            <p:cNvPr id="77" name="Group 76"/>
            <p:cNvGrpSpPr/>
            <p:nvPr/>
          </p:nvGrpSpPr>
          <p:grpSpPr>
            <a:xfrm>
              <a:off x="9688734" y="782751"/>
              <a:ext cx="1239552" cy="1929908"/>
              <a:chOff x="9658058" y="1677298"/>
              <a:chExt cx="1339450" cy="1893407"/>
            </a:xfrm>
          </p:grpSpPr>
          <p:sp>
            <p:nvSpPr>
              <p:cNvPr id="102" name="Rectangle 101"/>
              <p:cNvSpPr/>
              <p:nvPr/>
            </p:nvSpPr>
            <p:spPr bwMode="auto">
              <a:xfrm>
                <a:off x="9659224" y="3173770"/>
                <a:ext cx="1338284" cy="396935"/>
              </a:xfrm>
              <a:prstGeom prst="rect">
                <a:avLst/>
              </a:prstGeom>
              <a:solidFill>
                <a:schemeClr val="accent5"/>
              </a:solidFill>
              <a:ln w="9525" cap="flat" cmpd="sng" algn="ctr">
                <a:noFill/>
                <a:prstDash val="solid"/>
                <a:headEnd type="none" w="med" len="med"/>
                <a:tailEnd type="none" w="med" len="med"/>
              </a:ln>
              <a:effectLst/>
            </p:spPr>
            <p:txBody>
              <a:bodyPr vert="horz" wrap="square" lIns="338151" tIns="0" rIns="169075" bIns="0" numCol="1" rtlCol="0" anchor="ctr" anchorCtr="1" compatLnSpc="1">
                <a:prstTxWarp prst="textNoShape">
                  <a:avLst/>
                </a:prstTxWarp>
              </a:bodyPr>
              <a:lstStyle/>
              <a:p>
                <a:pPr marL="0" marR="0" lvl="0" indent="0" algn="l" defTabSz="1044351" rtl="0" eaLnBrk="1" fontAlgn="auto" latinLnBrk="0" hangingPunct="1">
                  <a:lnSpc>
                    <a:spcPct val="90000"/>
                  </a:lnSpc>
                  <a:spcBef>
                    <a:spcPts val="0"/>
                  </a:spcBef>
                  <a:spcAft>
                    <a:spcPts val="0"/>
                  </a:spcAft>
                  <a:buClrTx/>
                  <a:buSzPct val="90000"/>
                  <a:buFontTx/>
                  <a:buNone/>
                  <a:tabLst/>
                  <a:defRPr/>
                </a:pPr>
                <a:r>
                  <a:rPr kumimoji="0" lang="en-US" sz="2133" b="0" i="0" u="none" strike="noStrike" kern="0" cap="none" spc="0" normalizeH="0" baseline="0" noProof="0" err="1">
                    <a:ln>
                      <a:noFill/>
                    </a:ln>
                    <a:solidFill>
                      <a:srgbClr val="FFFFFF"/>
                    </a:solidFill>
                    <a:effectLst/>
                    <a:uLnTx/>
                    <a:uFillTx/>
                    <a:latin typeface="Segoe UI Light" panose="020B0502040204020203" pitchFamily="34" charset="0"/>
                    <a:ea typeface="+mn-ea"/>
                    <a:cs typeface="Segoe UI Light" panose="020B0502040204020203" pitchFamily="34" charset="0"/>
                  </a:rPr>
                  <a:t>SaaS</a:t>
                </a:r>
                <a:endParaRPr kumimoji="0" lang="en-US" sz="2133" b="0" i="0" u="none" strike="noStrike" kern="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103" name="Rectangle 102"/>
              <p:cNvSpPr/>
              <p:nvPr/>
            </p:nvSpPr>
            <p:spPr bwMode="auto">
              <a:xfrm>
                <a:off x="9658058" y="1677298"/>
                <a:ext cx="1338283" cy="1459888"/>
              </a:xfrm>
              <a:prstGeom prst="rect">
                <a:avLst/>
              </a:prstGeom>
              <a:solidFill>
                <a:schemeClr val="accent5"/>
              </a:solidFill>
              <a:ln w="9525" cap="flat" cmpd="sng" algn="ctr">
                <a:noFill/>
                <a:prstDash val="solid"/>
                <a:headEnd type="none" w="med" len="med"/>
                <a:tailEnd type="none" w="med" len="med"/>
              </a:ln>
              <a:effectLst/>
            </p:spPr>
            <p:txBody>
              <a:bodyPr vert="horz" wrap="square" lIns="338151" tIns="338151" rIns="169075" bIns="84533" numCol="1" rtlCol="0" anchor="t" anchorCtr="0" compatLnSpc="1">
                <a:prstTxWarp prst="textNoShape">
                  <a:avLst/>
                </a:prstTxWarp>
              </a:bodyPr>
              <a:lstStyle/>
              <a:p>
                <a:pPr marL="0" marR="0" lvl="0" indent="0" algn="l" defTabSz="1044351" rtl="0" eaLnBrk="1" fontAlgn="auto" latinLnBrk="0" hangingPunct="1">
                  <a:lnSpc>
                    <a:spcPct val="90000"/>
                  </a:lnSpc>
                  <a:spcBef>
                    <a:spcPts val="0"/>
                  </a:spcBef>
                  <a:spcAft>
                    <a:spcPts val="0"/>
                  </a:spcAft>
                  <a:buClrTx/>
                  <a:buSzPct val="90000"/>
                  <a:buFontTx/>
                  <a:buNone/>
                  <a:tabLst/>
                  <a:defRPr/>
                </a:pPr>
                <a:endParaRPr kumimoji="0" lang="en-US" sz="3467" b="0" i="0" u="none" strike="noStrike" kern="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grpSp>
            <p:nvGrpSpPr>
              <p:cNvPr id="104" name="Group 103"/>
              <p:cNvGrpSpPr/>
              <p:nvPr/>
            </p:nvGrpSpPr>
            <p:grpSpPr>
              <a:xfrm>
                <a:off x="9946755" y="1730612"/>
                <a:ext cx="886924" cy="1316722"/>
                <a:chOff x="11261366" y="3014963"/>
                <a:chExt cx="2113909" cy="3139117"/>
              </a:xfrm>
            </p:grpSpPr>
            <p:pic>
              <p:nvPicPr>
                <p:cNvPr id="105" name="Picture 2" descr="\\MAGNUM\Projects\Microsoft\Cloud Power FY12\Design\Icons\PNGs\Web.png"/>
                <p:cNvPicPr>
                  <a:picLocks noChangeAspect="1" noChangeArrowheads="1"/>
                </p:cNvPicPr>
                <p:nvPr/>
              </p:nvPicPr>
              <p:blipFill rotWithShape="1">
                <a:blip r:embed="rId7" cstate="print">
                  <a:lum bright="100000"/>
                </a:blip>
                <a:srcRect t="1" b="-1316"/>
                <a:stretch/>
              </p:blipFill>
              <p:spPr bwMode="auto">
                <a:xfrm>
                  <a:off x="11426000" y="3014963"/>
                  <a:ext cx="1234536" cy="1250773"/>
                </a:xfrm>
                <a:prstGeom prst="rect">
                  <a:avLst/>
                </a:prstGeom>
                <a:noFill/>
              </p:spPr>
            </p:pic>
            <p:sp>
              <p:nvSpPr>
                <p:cNvPr id="106" name="Isosceles Triangle 105"/>
                <p:cNvSpPr/>
                <p:nvPr/>
              </p:nvSpPr>
              <p:spPr bwMode="auto">
                <a:xfrm rot="10800000">
                  <a:off x="11512446" y="4112686"/>
                  <a:ext cx="1061646" cy="1329862"/>
                </a:xfrm>
                <a:prstGeom prst="triangle">
                  <a:avLst>
                    <a:gd name="adj" fmla="val 0"/>
                  </a:avLst>
                </a:prstGeom>
                <a:gradFill rotWithShape="1">
                  <a:gsLst>
                    <a:gs pos="0">
                      <a:sysClr val="window" lastClr="FFFFFF">
                        <a:lumMod val="95000"/>
                        <a:alpha val="0"/>
                      </a:sysClr>
                    </a:gs>
                    <a:gs pos="50000">
                      <a:srgbClr val="FFFFFF">
                        <a:alpha val="67000"/>
                      </a:srgbClr>
                    </a:gs>
                    <a:gs pos="100000">
                      <a:srgbClr val="FFFFFF"/>
                    </a:gs>
                  </a:gsLst>
                  <a:lin ang="5400000" scaled="0"/>
                </a:gradFill>
                <a:ln w="9525" cap="flat" cmpd="sng" algn="ctr">
                  <a:noFill/>
                  <a:prstDash val="solid"/>
                  <a:headEnd type="none" w="med" len="med"/>
                  <a:tailEnd type="none" w="med" len="med"/>
                </a:ln>
                <a:effectLst/>
              </p:spPr>
              <p:txBody>
                <a:bodyPr vert="horz" wrap="square" lIns="169089" tIns="84544" rIns="169089" bIns="84544" numCol="1" rtlCol="0" anchor="ctr" anchorCtr="0" compatLnSpc="1">
                  <a:prstTxWarp prst="textNoShape">
                    <a:avLst/>
                  </a:prstTxWarp>
                </a:bodyPr>
                <a:lstStyle/>
                <a:p>
                  <a:pPr marL="0" marR="0" lvl="0" indent="0" algn="ctr" defTabSz="1044007" rtl="0" eaLnBrk="1" fontAlgn="auto" latinLnBrk="0" hangingPunct="1">
                    <a:lnSpc>
                      <a:spcPct val="100000"/>
                    </a:lnSpc>
                    <a:spcBef>
                      <a:spcPts val="0"/>
                    </a:spcBef>
                    <a:spcAft>
                      <a:spcPts val="0"/>
                    </a:spcAft>
                    <a:buClrTx/>
                    <a:buSzTx/>
                    <a:buFontTx/>
                    <a:buNone/>
                    <a:tabLst/>
                    <a:defRPr/>
                  </a:pPr>
                  <a:endParaRPr kumimoji="0" lang="en-US" sz="2267" b="0" i="0" u="none" strike="noStrike" kern="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pic>
              <p:nvPicPr>
                <p:cNvPr id="107" name="Picture 106"/>
                <p:cNvPicPr>
                  <a:picLocks noChangeAspect="1"/>
                </p:cNvPicPr>
                <p:nvPr/>
              </p:nvPicPr>
              <p:blipFill>
                <a:blip r:embed="rId5" cstate="print">
                  <a:lum bright="100000" contrast="100000"/>
                </a:blip>
                <a:stretch>
                  <a:fillRect/>
                </a:stretch>
              </p:blipFill>
              <p:spPr>
                <a:xfrm>
                  <a:off x="11261366" y="4894208"/>
                  <a:ext cx="2113909" cy="1259872"/>
                </a:xfrm>
                <a:prstGeom prst="rect">
                  <a:avLst/>
                </a:prstGeom>
                <a:noFill/>
                <a:ln>
                  <a:noFill/>
                </a:ln>
                <a:effectLst/>
              </p:spPr>
            </p:pic>
          </p:grpSp>
        </p:grpSp>
        <p:grpSp>
          <p:nvGrpSpPr>
            <p:cNvPr id="78" name="Group 77"/>
            <p:cNvGrpSpPr/>
            <p:nvPr/>
          </p:nvGrpSpPr>
          <p:grpSpPr>
            <a:xfrm>
              <a:off x="6538091" y="1736918"/>
              <a:ext cx="1275058" cy="2067658"/>
              <a:chOff x="5784878" y="2741868"/>
              <a:chExt cx="1186992" cy="1930460"/>
            </a:xfrm>
          </p:grpSpPr>
          <p:sp>
            <p:nvSpPr>
              <p:cNvPr id="95" name="Rectangle 94"/>
              <p:cNvSpPr/>
              <p:nvPr/>
            </p:nvSpPr>
            <p:spPr bwMode="auto">
              <a:xfrm>
                <a:off x="5786042" y="4275393"/>
                <a:ext cx="1185828" cy="396935"/>
              </a:xfrm>
              <a:prstGeom prst="rect">
                <a:avLst/>
              </a:prstGeom>
              <a:solidFill>
                <a:schemeClr val="accent3"/>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marL="0" marR="0" lvl="0" indent="0" algn="l" defTabSz="1044351" rtl="0" eaLnBrk="1" fontAlgn="auto" latinLnBrk="0" hangingPunct="1">
                  <a:lnSpc>
                    <a:spcPct val="90000"/>
                  </a:lnSpc>
                  <a:spcBef>
                    <a:spcPts val="0"/>
                  </a:spcBef>
                  <a:spcAft>
                    <a:spcPts val="0"/>
                  </a:spcAft>
                  <a:buClrTx/>
                  <a:buSzPct val="90000"/>
                  <a:buFontTx/>
                  <a:buNone/>
                  <a:tabLst/>
                  <a:defRPr/>
                </a:pPr>
                <a:endParaRPr kumimoji="0" lang="en-US" sz="2933" b="0" i="0" u="none" strike="noStrike" kern="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sp>
            <p:nvSpPr>
              <p:cNvPr id="96" name="Rectangle 95"/>
              <p:cNvSpPr/>
              <p:nvPr/>
            </p:nvSpPr>
            <p:spPr bwMode="auto">
              <a:xfrm>
                <a:off x="5784878" y="2778924"/>
                <a:ext cx="1185828" cy="1459888"/>
              </a:xfrm>
              <a:prstGeom prst="rect">
                <a:avLst/>
              </a:prstGeom>
              <a:solidFill>
                <a:schemeClr val="accent3"/>
              </a:solidFill>
              <a:ln w="9525" cap="flat" cmpd="sng" algn="ctr">
                <a:noFill/>
                <a:prstDash val="solid"/>
                <a:headEnd type="none" w="med" len="med"/>
                <a:tailEnd type="none" w="med" len="med"/>
              </a:ln>
              <a:effectLst/>
            </p:spPr>
            <p:txBody>
              <a:bodyPr vert="horz" wrap="square" lIns="338151" tIns="338151" rIns="169075" bIns="84533" numCol="1" rtlCol="0" anchor="t" anchorCtr="0" compatLnSpc="1">
                <a:prstTxWarp prst="textNoShape">
                  <a:avLst/>
                </a:prstTxWarp>
              </a:bodyPr>
              <a:lstStyle/>
              <a:p>
                <a:pPr marL="0" marR="0" lvl="0" indent="0" algn="l" defTabSz="1044351" rtl="0" eaLnBrk="1" fontAlgn="auto" latinLnBrk="0" hangingPunct="1">
                  <a:lnSpc>
                    <a:spcPct val="90000"/>
                  </a:lnSpc>
                  <a:spcBef>
                    <a:spcPts val="0"/>
                  </a:spcBef>
                  <a:spcAft>
                    <a:spcPts val="0"/>
                  </a:spcAft>
                  <a:buClrTx/>
                  <a:buSzPct val="90000"/>
                  <a:buFontTx/>
                  <a:buNone/>
                  <a:tabLst/>
                  <a:defRPr/>
                </a:pPr>
                <a:endParaRPr kumimoji="0" lang="en-US" sz="3467" b="0" i="0" u="none" strike="noStrike" kern="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sp>
            <p:nvSpPr>
              <p:cNvPr id="97" name="Rectangle 96"/>
              <p:cNvSpPr/>
              <p:nvPr/>
            </p:nvSpPr>
            <p:spPr bwMode="auto">
              <a:xfrm>
                <a:off x="5786042" y="4270362"/>
                <a:ext cx="1185828" cy="396935"/>
              </a:xfrm>
              <a:prstGeom prst="rect">
                <a:avLst/>
              </a:prstGeom>
              <a:noFill/>
              <a:ln w="9525" cap="flat" cmpd="sng" algn="ctr">
                <a:noFill/>
                <a:prstDash val="solid"/>
                <a:headEnd type="none" w="med" len="med"/>
                <a:tailEnd type="none" w="med" len="med"/>
              </a:ln>
              <a:effectLst/>
            </p:spPr>
            <p:txBody>
              <a:bodyPr vert="horz" wrap="square" lIns="338151" tIns="0" rIns="169075" bIns="0" numCol="1" rtlCol="0" anchor="ctr" anchorCtr="1" compatLnSpc="1">
                <a:prstTxWarp prst="textNoShape">
                  <a:avLst/>
                </a:prstTxWarp>
              </a:bodyPr>
              <a:lstStyle/>
              <a:p>
                <a:pPr marL="0" marR="0" lvl="0" indent="0" algn="l" defTabSz="1044351" rtl="0" eaLnBrk="1" fontAlgn="auto" latinLnBrk="0" hangingPunct="1">
                  <a:lnSpc>
                    <a:spcPct val="90000"/>
                  </a:lnSpc>
                  <a:spcBef>
                    <a:spcPts val="0"/>
                  </a:spcBef>
                  <a:spcAft>
                    <a:spcPts val="0"/>
                  </a:spcAft>
                  <a:buClrTx/>
                  <a:buSzPct val="90000"/>
                  <a:buFontTx/>
                  <a:buNone/>
                  <a:tabLst/>
                  <a:defRPr/>
                </a:pPr>
                <a:r>
                  <a:rPr kumimoji="0" lang="en-US" sz="2133" b="0" i="0" u="none" strike="noStrike" kern="0" cap="none" spc="0" normalizeH="0" baseline="0" noProof="0" err="1">
                    <a:ln>
                      <a:noFill/>
                    </a:ln>
                    <a:solidFill>
                      <a:srgbClr val="FFFFFF"/>
                    </a:solidFill>
                    <a:effectLst/>
                    <a:uLnTx/>
                    <a:uFillTx/>
                    <a:latin typeface="Segoe UI Light" panose="020B0502040204020203" pitchFamily="34" charset="0"/>
                    <a:ea typeface="+mn-ea"/>
                    <a:cs typeface="Segoe UI Light" panose="020B0502040204020203" pitchFamily="34" charset="0"/>
                  </a:rPr>
                  <a:t>IaaS</a:t>
                </a:r>
                <a:endParaRPr kumimoji="0" lang="en-US" sz="2133" b="0" i="0" u="none" strike="noStrike" kern="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98" name="Group 97"/>
              <p:cNvGrpSpPr/>
              <p:nvPr/>
            </p:nvGrpSpPr>
            <p:grpSpPr>
              <a:xfrm>
                <a:off x="5959516" y="2741868"/>
                <a:ext cx="971391" cy="1416175"/>
                <a:chOff x="5524586" y="2831115"/>
                <a:chExt cx="2315233" cy="3376220"/>
              </a:xfrm>
            </p:grpSpPr>
            <p:pic>
              <p:nvPicPr>
                <p:cNvPr id="99" name="Picture 2"/>
                <p:cNvPicPr>
                  <a:picLocks noChangeAspect="1" noChangeArrowheads="1"/>
                </p:cNvPicPr>
                <p:nvPr/>
              </p:nvPicPr>
              <p:blipFill>
                <a:blip r:embed="rId4" cstate="print">
                  <a:lum bright="100000" contrast="100000"/>
                </a:blip>
                <a:srcRect/>
                <a:stretch>
                  <a:fillRect/>
                </a:stretch>
              </p:blipFill>
              <p:spPr bwMode="auto">
                <a:xfrm>
                  <a:off x="5524586" y="2831115"/>
                  <a:ext cx="1563041" cy="1968998"/>
                </a:xfrm>
                <a:prstGeom prst="rect">
                  <a:avLst/>
                </a:prstGeom>
                <a:noFill/>
                <a:ln w="9525">
                  <a:noFill/>
                  <a:miter lim="800000"/>
                  <a:headEnd/>
                  <a:tailEnd/>
                </a:ln>
                <a:effectLst/>
              </p:spPr>
            </p:pic>
            <p:sp>
              <p:nvSpPr>
                <p:cNvPr id="100" name="Isosceles Triangle 99"/>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rgbClr val="FFFFFF">
                        <a:alpha val="58000"/>
                      </a:srgbClr>
                    </a:gs>
                    <a:gs pos="100000">
                      <a:srgbClr val="FFFFFF"/>
                    </a:gs>
                  </a:gsLst>
                  <a:lin ang="5400000" scaled="0"/>
                </a:gradFill>
                <a:ln w="9525" cap="flat" cmpd="sng" algn="ctr">
                  <a:noFill/>
                  <a:prstDash val="solid"/>
                  <a:headEnd type="none" w="med" len="med"/>
                  <a:tailEnd type="none" w="med" len="med"/>
                </a:ln>
                <a:effectLst/>
              </p:spPr>
              <p:txBody>
                <a:bodyPr vert="horz" wrap="square" lIns="169089" tIns="84544" rIns="169089" bIns="84544" numCol="1" rtlCol="0" anchor="ctr" anchorCtr="0" compatLnSpc="1">
                  <a:prstTxWarp prst="textNoShape">
                    <a:avLst/>
                  </a:prstTxWarp>
                </a:bodyPr>
                <a:lstStyle/>
                <a:p>
                  <a:pPr marL="0" marR="0" lvl="0" indent="0" algn="ctr" defTabSz="1044007" rtl="0" eaLnBrk="1" fontAlgn="auto" latinLnBrk="0" hangingPunct="1">
                    <a:lnSpc>
                      <a:spcPct val="100000"/>
                    </a:lnSpc>
                    <a:spcBef>
                      <a:spcPts val="0"/>
                    </a:spcBef>
                    <a:spcAft>
                      <a:spcPts val="0"/>
                    </a:spcAft>
                    <a:buClrTx/>
                    <a:buSzTx/>
                    <a:buFontTx/>
                    <a:buNone/>
                    <a:tabLst/>
                    <a:defRPr/>
                  </a:pPr>
                  <a:endParaRPr kumimoji="0" lang="en-US" sz="2267" b="0" i="0" u="none" strike="noStrike" kern="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pic>
              <p:nvPicPr>
                <p:cNvPr id="101" name="Picture 100"/>
                <p:cNvPicPr>
                  <a:picLocks noChangeAspect="1"/>
                </p:cNvPicPr>
                <p:nvPr/>
              </p:nvPicPr>
              <p:blipFill>
                <a:blip r:embed="rId5" cstate="print">
                  <a:lum bright="100000" contrast="100000"/>
                </a:blip>
                <a:stretch>
                  <a:fillRect/>
                </a:stretch>
              </p:blipFill>
              <p:spPr>
                <a:xfrm>
                  <a:off x="5725910" y="4947463"/>
                  <a:ext cx="2113909" cy="1259872"/>
                </a:xfrm>
                <a:prstGeom prst="rect">
                  <a:avLst/>
                </a:prstGeom>
                <a:noFill/>
                <a:ln>
                  <a:noFill/>
                </a:ln>
                <a:effectLst/>
              </p:spPr>
            </p:pic>
          </p:grpSp>
        </p:grpSp>
        <p:sp>
          <p:nvSpPr>
            <p:cNvPr id="79" name="TextBox 78"/>
            <p:cNvSpPr txBox="1"/>
            <p:nvPr/>
          </p:nvSpPr>
          <p:spPr>
            <a:xfrm>
              <a:off x="3222369" y="39307"/>
              <a:ext cx="3395624" cy="704550"/>
            </a:xfrm>
            <a:prstGeom prst="rect">
              <a:avLst/>
            </a:prstGeom>
            <a:noFill/>
            <a:effectLst/>
          </p:spPr>
          <p:txBody>
            <a:bodyPr wrap="square" lIns="169089" tIns="169089" rIns="169089" bIns="169089" rtlCol="0">
              <a:spAutoFit/>
            </a:bodyPr>
            <a:lstStyle/>
            <a:p>
              <a:pPr marL="0" marR="0" lvl="0" indent="0" algn="l" defTabSz="932742" rtl="0" eaLnBrk="1" fontAlgn="auto" latinLnBrk="0" hangingPunct="1">
                <a:lnSpc>
                  <a:spcPct val="90000"/>
                </a:lnSpc>
                <a:spcBef>
                  <a:spcPct val="20000"/>
                </a:spcBef>
                <a:spcAft>
                  <a:spcPts val="0"/>
                </a:spcAft>
                <a:buClrTx/>
                <a:buSzPct val="90000"/>
                <a:buFontTx/>
                <a:buNone/>
                <a:tabLst/>
                <a:defRPr/>
              </a:pPr>
              <a:r>
                <a:rPr kumimoji="0" lang="en-US" sz="1867"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rPr>
                <a:t>On</a:t>
              </a:r>
              <a:r>
                <a:rPr kumimoji="0" lang="en-US" sz="1867" b="0" i="0" u="none" strike="noStrike" kern="1200" cap="none" spc="0" normalizeH="0" baseline="0" noProof="0">
                  <a:ln>
                    <a:noFill/>
                  </a:ln>
                  <a:solidFill>
                    <a:srgbClr val="505050"/>
                  </a:solidFill>
                  <a:effectLst>
                    <a:outerShdw blurRad="38100" dist="38100" dir="2700000" algn="tl">
                      <a:srgbClr val="000000">
                        <a:alpha val="43137"/>
                      </a:srgbClr>
                    </a:outerShdw>
                  </a:effectLst>
                  <a:uLnTx/>
                  <a:uFillTx/>
                  <a:latin typeface="Segoe UI Light" panose="020B0502040204020203" pitchFamily="34" charset="0"/>
                  <a:ea typeface="+mn-ea"/>
                  <a:cs typeface="Segoe UI Light" panose="020B0502040204020203" pitchFamily="34" charset="0"/>
                </a:rPr>
                <a:t> </a:t>
              </a:r>
              <a:r>
                <a:rPr kumimoji="0" lang="en-US" sz="1867"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rPr>
                <a:t>premises</a:t>
              </a:r>
            </a:p>
          </p:txBody>
        </p:sp>
        <p:sp>
          <p:nvSpPr>
            <p:cNvPr id="80" name="TextBox 79"/>
            <p:cNvSpPr txBox="1"/>
            <p:nvPr/>
          </p:nvSpPr>
          <p:spPr>
            <a:xfrm>
              <a:off x="9598870" y="39307"/>
              <a:ext cx="2092296" cy="704550"/>
            </a:xfrm>
            <a:prstGeom prst="rect">
              <a:avLst/>
            </a:prstGeom>
            <a:noFill/>
            <a:effectLst/>
          </p:spPr>
          <p:txBody>
            <a:bodyPr wrap="square" lIns="169089" tIns="169089" rIns="169089" bIns="169089" rtlCol="0">
              <a:spAutoFit/>
            </a:bodyPr>
            <a:lstStyle/>
            <a:p>
              <a:pPr marL="0" marR="0" lvl="0" indent="0" algn="l" defTabSz="932742" rtl="0" eaLnBrk="1" fontAlgn="auto" latinLnBrk="0" hangingPunct="1">
                <a:lnSpc>
                  <a:spcPct val="90000"/>
                </a:lnSpc>
                <a:spcBef>
                  <a:spcPct val="20000"/>
                </a:spcBef>
                <a:spcAft>
                  <a:spcPts val="0"/>
                </a:spcAft>
                <a:buClrTx/>
                <a:buSzPct val="90000"/>
                <a:buFontTx/>
                <a:buNone/>
                <a:tabLst/>
                <a:defRPr/>
              </a:pPr>
              <a:r>
                <a:rPr kumimoji="0" lang="en-US" sz="1867"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rPr>
                <a:t>Off premises</a:t>
              </a:r>
            </a:p>
          </p:txBody>
        </p:sp>
        <p:pic>
          <p:nvPicPr>
            <p:cNvPr id="81" name="Picture 2" descr="C:\Users\patricmc\Pictures\DVD_ART35\Artwork_Imagery\Icons - Illustrations\_XML ICONS\Servers SQL database computer.png"/>
            <p:cNvPicPr>
              <a:picLocks noChangeAspect="1" noChangeArrowheads="1"/>
            </p:cNvPicPr>
            <p:nvPr/>
          </p:nvPicPr>
          <p:blipFill>
            <a:blip r:embed="rId8" cstate="print"/>
            <a:srcRect/>
            <a:stretch>
              <a:fillRect/>
            </a:stretch>
          </p:blipFill>
          <p:spPr bwMode="auto">
            <a:xfrm>
              <a:off x="3461485" y="5447883"/>
              <a:ext cx="308789" cy="588077"/>
            </a:xfrm>
            <a:prstGeom prst="rect">
              <a:avLst/>
            </a:prstGeom>
            <a:noFill/>
          </p:spPr>
        </p:pic>
        <p:sp>
          <p:nvSpPr>
            <p:cNvPr id="82" name="TextBox 81"/>
            <p:cNvSpPr txBox="1"/>
            <p:nvPr/>
          </p:nvSpPr>
          <p:spPr>
            <a:xfrm>
              <a:off x="3946051" y="5440754"/>
              <a:ext cx="1653005" cy="397496"/>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SQL Server</a:t>
              </a:r>
            </a:p>
          </p:txBody>
        </p:sp>
        <p:sp>
          <p:nvSpPr>
            <p:cNvPr id="83" name="TextBox 82"/>
            <p:cNvSpPr txBox="1"/>
            <p:nvPr/>
          </p:nvSpPr>
          <p:spPr>
            <a:xfrm>
              <a:off x="3934211" y="5761138"/>
              <a:ext cx="2710477" cy="303542"/>
            </a:xfrm>
            <a:prstGeom prst="rect">
              <a:avLst/>
            </a:prstGeom>
            <a:noFill/>
            <a:ln>
              <a:noFill/>
            </a:ln>
          </p:spPr>
          <p:txBody>
            <a:bodyPr wrap="square" rtlCol="0">
              <a:spAutoFit/>
            </a:bodyPr>
            <a:lstStyle/>
            <a:p>
              <a:pPr marL="0" marR="0" lvl="0" indent="0" algn="l" defTabSz="932742" rtl="0" eaLnBrk="1" fontAlgn="auto" latinLnBrk="0" hangingPunct="1">
                <a:lnSpc>
                  <a:spcPct val="90000"/>
                </a:lnSpc>
                <a:spcBef>
                  <a:spcPct val="200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Physical Machines (raw iron</a:t>
              </a:r>
              <a:r>
                <a:rPr kumimoji="0" lang="en-US" sz="1200"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rPr>
                <a:t>)</a:t>
              </a:r>
            </a:p>
          </p:txBody>
        </p:sp>
        <p:sp>
          <p:nvSpPr>
            <p:cNvPr id="84" name="Rectangle 83"/>
            <p:cNvSpPr/>
            <p:nvPr/>
          </p:nvSpPr>
          <p:spPr>
            <a:xfrm>
              <a:off x="4910309" y="4659375"/>
              <a:ext cx="3629827" cy="663153"/>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pic>
          <p:nvPicPr>
            <p:cNvPr id="85" name="Picture 8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992582" y="4499141"/>
              <a:ext cx="823055" cy="802626"/>
            </a:xfrm>
            <a:prstGeom prst="rect">
              <a:avLst/>
            </a:prstGeom>
          </p:spPr>
        </p:pic>
        <p:sp>
          <p:nvSpPr>
            <p:cNvPr id="86" name="TextBox 85"/>
            <p:cNvSpPr txBox="1"/>
            <p:nvPr/>
          </p:nvSpPr>
          <p:spPr>
            <a:xfrm>
              <a:off x="5889853" y="4638372"/>
              <a:ext cx="3137228" cy="397496"/>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SQL Server Private Cloud</a:t>
              </a:r>
            </a:p>
          </p:txBody>
        </p:sp>
        <p:sp>
          <p:nvSpPr>
            <p:cNvPr id="87" name="TextBox 86"/>
            <p:cNvSpPr txBox="1"/>
            <p:nvPr/>
          </p:nvSpPr>
          <p:spPr>
            <a:xfrm>
              <a:off x="5878013" y="4958757"/>
              <a:ext cx="3193087" cy="303542"/>
            </a:xfrm>
            <a:prstGeom prst="rect">
              <a:avLst/>
            </a:prstGeom>
            <a:noFill/>
            <a:ln>
              <a:noFill/>
            </a:ln>
          </p:spPr>
          <p:txBody>
            <a:bodyPr wrap="square" rtlCol="0">
              <a:spAutoFit/>
            </a:bodyPr>
            <a:lstStyle/>
            <a:p>
              <a:pPr marL="0" marR="0" lvl="0" indent="0" algn="l" defTabSz="932742" rtl="0" eaLnBrk="1" fontAlgn="auto" latinLnBrk="0" hangingPunct="1">
                <a:lnSpc>
                  <a:spcPct val="90000"/>
                </a:lnSpc>
                <a:spcBef>
                  <a:spcPct val="200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Virtualized Machines+ Appliances</a:t>
              </a:r>
            </a:p>
          </p:txBody>
        </p:sp>
        <p:sp>
          <p:nvSpPr>
            <p:cNvPr id="88" name="Rectangle 87"/>
            <p:cNvSpPr/>
            <p:nvPr/>
          </p:nvSpPr>
          <p:spPr>
            <a:xfrm>
              <a:off x="6531446" y="3884923"/>
              <a:ext cx="3625438" cy="663153"/>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sp>
          <p:nvSpPr>
            <p:cNvPr id="89" name="Rectangle 88"/>
            <p:cNvSpPr/>
            <p:nvPr/>
          </p:nvSpPr>
          <p:spPr>
            <a:xfrm>
              <a:off x="8164319" y="3088971"/>
              <a:ext cx="3785335" cy="663152"/>
            </a:xfrm>
            <a:prstGeom prst="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pic>
          <p:nvPicPr>
            <p:cNvPr id="90" name="Picture 3" descr="C:\Users\patricmc\Pictures\DVD_ART35\Artwork_Imagery\Icons - Illustrations\_VIRTUALIZATION ICONS\Server Virtual Database.png"/>
            <p:cNvPicPr>
              <a:picLocks noChangeAspect="1" noChangeArrowheads="1"/>
            </p:cNvPicPr>
            <p:nvPr/>
          </p:nvPicPr>
          <p:blipFill>
            <a:blip r:embed="rId10" cstate="print"/>
            <a:srcRect/>
            <a:stretch>
              <a:fillRect/>
            </a:stretch>
          </p:blipFill>
          <p:spPr bwMode="auto">
            <a:xfrm>
              <a:off x="6740487" y="3883536"/>
              <a:ext cx="898605" cy="670021"/>
            </a:xfrm>
            <a:prstGeom prst="rect">
              <a:avLst/>
            </a:prstGeom>
            <a:noFill/>
          </p:spPr>
        </p:pic>
        <p:sp>
          <p:nvSpPr>
            <p:cNvPr id="91" name="TextBox 90"/>
            <p:cNvSpPr txBox="1"/>
            <p:nvPr/>
          </p:nvSpPr>
          <p:spPr>
            <a:xfrm>
              <a:off x="7789978" y="3865874"/>
              <a:ext cx="2575948" cy="397496"/>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SQL Server in Azure VM</a:t>
              </a:r>
            </a:p>
          </p:txBody>
        </p:sp>
        <p:sp>
          <p:nvSpPr>
            <p:cNvPr id="92" name="TextBox 91"/>
            <p:cNvSpPr txBox="1"/>
            <p:nvPr/>
          </p:nvSpPr>
          <p:spPr>
            <a:xfrm>
              <a:off x="7778138" y="4186259"/>
              <a:ext cx="2710477" cy="303542"/>
            </a:xfrm>
            <a:prstGeom prst="rect">
              <a:avLst/>
            </a:prstGeom>
            <a:noFill/>
            <a:ln>
              <a:noFill/>
            </a:ln>
          </p:spPr>
          <p:txBody>
            <a:bodyPr wrap="square" rtlCol="0">
              <a:spAutoFit/>
            </a:bodyPr>
            <a:lstStyle/>
            <a:p>
              <a:pPr marL="0" marR="0" lvl="0" indent="0" algn="l" defTabSz="932742" rtl="0" eaLnBrk="1" fontAlgn="auto" latinLnBrk="0" hangingPunct="1">
                <a:lnSpc>
                  <a:spcPct val="90000"/>
                </a:lnSpc>
                <a:spcBef>
                  <a:spcPct val="200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Virtualized</a:t>
              </a:r>
              <a:r>
                <a:rPr kumimoji="0" lang="en-US" sz="1200" b="0" i="0" u="none" strike="noStrike" kern="120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rPr>
                <a:t> </a:t>
              </a:r>
              <a:r>
                <a:rPr kumimoji="0" lang="en-US" sz="12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achines</a:t>
              </a:r>
            </a:p>
          </p:txBody>
        </p:sp>
        <p:sp>
          <p:nvSpPr>
            <p:cNvPr id="93" name="TextBox 92"/>
            <p:cNvSpPr txBox="1"/>
            <p:nvPr/>
          </p:nvSpPr>
          <p:spPr>
            <a:xfrm>
              <a:off x="8876460" y="3422864"/>
              <a:ext cx="2710477" cy="336065"/>
            </a:xfrm>
            <a:prstGeom prst="rect">
              <a:avLst/>
            </a:prstGeom>
            <a:noFill/>
            <a:ln>
              <a:noFill/>
            </a:ln>
          </p:spPr>
          <p:txBody>
            <a:bodyPr wrap="square" rtlCol="0">
              <a:spAutoFit/>
            </a:bodyPr>
            <a:lstStyle/>
            <a:p>
              <a:pPr marL="0" marR="0" lvl="0" indent="0" algn="l" defTabSz="932742" rtl="0" eaLnBrk="1" fontAlgn="auto" latinLnBrk="0" hangingPunct="1">
                <a:lnSpc>
                  <a:spcPct val="90000"/>
                </a:lnSpc>
                <a:spcBef>
                  <a:spcPct val="200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base Services</a:t>
              </a:r>
            </a:p>
          </p:txBody>
        </p:sp>
        <p:pic>
          <p:nvPicPr>
            <p:cNvPr id="94" name="Picture 1" descr="\\server3\restrict\ftp_root\clients\white_Whale\5-00430 PDC\Working\David\Art\Mesh_Database.png"/>
            <p:cNvPicPr>
              <a:picLocks noChangeAspect="1" noChangeArrowheads="1"/>
            </p:cNvPicPr>
            <p:nvPr/>
          </p:nvPicPr>
          <p:blipFill>
            <a:blip r:embed="rId11" cstate="print"/>
            <a:srcRect/>
            <a:stretch>
              <a:fillRect/>
            </a:stretch>
          </p:blipFill>
          <p:spPr bwMode="auto">
            <a:xfrm>
              <a:off x="8270347" y="3200369"/>
              <a:ext cx="526579" cy="440354"/>
            </a:xfrm>
            <a:prstGeom prst="rect">
              <a:avLst/>
            </a:prstGeom>
            <a:noFill/>
          </p:spPr>
        </p:pic>
      </p:grpSp>
      <p:sp>
        <p:nvSpPr>
          <p:cNvPr id="131" name="TextBox 130"/>
          <p:cNvSpPr txBox="1"/>
          <p:nvPr/>
        </p:nvSpPr>
        <p:spPr>
          <a:xfrm>
            <a:off x="7863652" y="3770022"/>
            <a:ext cx="3831044" cy="338554"/>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zure SQL Data Services</a:t>
            </a:r>
          </a:p>
        </p:txBody>
      </p:sp>
      <p:sp>
        <p:nvSpPr>
          <p:cNvPr id="3" name="Title 2"/>
          <p:cNvSpPr>
            <a:spLocks noGrp="1"/>
          </p:cNvSpPr>
          <p:nvPr>
            <p:ph type="title"/>
          </p:nvPr>
        </p:nvSpPr>
        <p:spPr>
          <a:xfrm>
            <a:off x="190500" y="123881"/>
            <a:ext cx="10515600" cy="1325563"/>
          </a:xfrm>
        </p:spPr>
        <p:txBody>
          <a:bodyPr/>
          <a:lstStyle/>
          <a:p>
            <a:r>
              <a:rPr lang="en-US" dirty="0">
                <a:latin typeface="Segoe UI Light" panose="020B0502040204020203" pitchFamily="34" charset="0"/>
                <a:cs typeface="Segoe UI Light" panose="020B0502040204020203" pitchFamily="34" charset="0"/>
              </a:rPr>
              <a:t>SQL Server Cloud Continuum</a:t>
            </a:r>
            <a:endParaRPr lang="en-GB" dirty="0"/>
          </a:p>
        </p:txBody>
      </p:sp>
    </p:spTree>
    <p:extLst>
      <p:ext uri="{BB962C8B-B14F-4D97-AF65-F5344CB8AC3E}">
        <p14:creationId xmlns:p14="http://schemas.microsoft.com/office/powerpoint/2010/main" val="63953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5488" y="0"/>
            <a:ext cx="10910292"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Title 3">
            <a:extLst>
              <a:ext uri="{FF2B5EF4-FFF2-40B4-BE49-F238E27FC236}">
                <a16:creationId xmlns:a16="http://schemas.microsoft.com/office/drawing/2014/main" id="{2BB1377E-A60D-6742-974B-64C492F37B9E}"/>
              </a:ext>
            </a:extLst>
          </p:cNvPr>
          <p:cNvSpPr>
            <a:spLocks noGrp="1"/>
          </p:cNvSpPr>
          <p:nvPr>
            <p:ph type="title"/>
          </p:nvPr>
        </p:nvSpPr>
        <p:spPr>
          <a:xfrm>
            <a:off x="3045368" y="2043663"/>
            <a:ext cx="6105194" cy="2031055"/>
          </a:xfrm>
        </p:spPr>
        <p:txBody>
          <a:bodyPr vert="horz" lIns="91440" tIns="45720" rIns="91440" bIns="45720" rtlCol="0" anchor="b">
            <a:normAutofit/>
          </a:bodyPr>
          <a:lstStyle/>
          <a:p>
            <a:pPr algn="ctr"/>
            <a:r>
              <a:rPr lang="en-US" sz="6000" kern="1200">
                <a:solidFill>
                  <a:srgbClr val="FFFFFF"/>
                </a:solidFill>
                <a:latin typeface="+mj-lt"/>
                <a:ea typeface="+mj-ea"/>
                <a:cs typeface="+mj-cs"/>
              </a:rPr>
              <a:t>But before we begin….</a:t>
            </a:r>
          </a:p>
        </p:txBody>
      </p:sp>
    </p:spTree>
    <p:extLst>
      <p:ext uri="{BB962C8B-B14F-4D97-AF65-F5344CB8AC3E}">
        <p14:creationId xmlns:p14="http://schemas.microsoft.com/office/powerpoint/2010/main" val="13105494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a:extLst>
              <a:ext uri="{FF2B5EF4-FFF2-40B4-BE49-F238E27FC236}">
                <a16:creationId xmlns:a16="http://schemas.microsoft.com/office/drawing/2014/main" id="{329BA0BC-77FA-784F-B3BB-05F94609A5D8}"/>
              </a:ext>
            </a:extLst>
          </p:cNvPr>
          <p:cNvSpPr/>
          <p:nvPr/>
        </p:nvSpPr>
        <p:spPr>
          <a:xfrm>
            <a:off x="3488288" y="4682066"/>
            <a:ext cx="8053230" cy="502356"/>
          </a:xfrm>
          <a:prstGeom prst="rect">
            <a:avLst/>
          </a:prstGeom>
          <a:solidFill>
            <a:srgbClr val="D2D2D2"/>
          </a:solidFill>
          <a:ln>
            <a:noFill/>
          </a:ln>
        </p:spPr>
        <p:style>
          <a:lnRef idx="0">
            <a:scrgbClr r="0" g="0" b="0"/>
          </a:lnRef>
          <a:fillRef idx="0">
            <a:scrgbClr r="0" g="0" b="0"/>
          </a:fillRef>
          <a:effectRef idx="0">
            <a:scrgbClr r="0" g="0" b="0"/>
          </a:effectRef>
          <a:fontRef idx="minor">
            <a:schemeClr val="lt1"/>
          </a:fontRef>
        </p:style>
        <p:txBody>
          <a:bodyPr bIns="137160" rtlCol="0" anchor="b"/>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78D7"/>
              </a:solidFill>
              <a:effectLst/>
              <a:uLnTx/>
              <a:uFillTx/>
              <a:latin typeface="Segoe UI"/>
              <a:ea typeface="+mn-ea"/>
              <a:cs typeface="Segoe UI Semibold" panose="020B0702040204020203" pitchFamily="34" charset="0"/>
            </a:endParaRPr>
          </a:p>
        </p:txBody>
      </p:sp>
      <p:sp>
        <p:nvSpPr>
          <p:cNvPr id="106" name="Rectangle 105">
            <a:extLst>
              <a:ext uri="{FF2B5EF4-FFF2-40B4-BE49-F238E27FC236}">
                <a16:creationId xmlns:a16="http://schemas.microsoft.com/office/drawing/2014/main" id="{A20475A1-7F8D-C445-A1D7-DA221801EAC0}"/>
              </a:ext>
            </a:extLst>
          </p:cNvPr>
          <p:cNvSpPr/>
          <p:nvPr/>
        </p:nvSpPr>
        <p:spPr>
          <a:xfrm>
            <a:off x="3488288" y="4126089"/>
            <a:ext cx="8053230" cy="502356"/>
          </a:xfrm>
          <a:prstGeom prst="rect">
            <a:avLst/>
          </a:prstGeom>
          <a:solidFill>
            <a:srgbClr val="D2D2D2"/>
          </a:solidFill>
          <a:ln>
            <a:noFill/>
          </a:ln>
        </p:spPr>
        <p:style>
          <a:lnRef idx="0">
            <a:scrgbClr r="0" g="0" b="0"/>
          </a:lnRef>
          <a:fillRef idx="0">
            <a:scrgbClr r="0" g="0" b="0"/>
          </a:fillRef>
          <a:effectRef idx="0">
            <a:scrgbClr r="0" g="0" b="0"/>
          </a:effectRef>
          <a:fontRef idx="minor">
            <a:schemeClr val="lt1"/>
          </a:fontRef>
        </p:style>
        <p:txBody>
          <a:bodyPr bIns="137160" rtlCol="0" anchor="b"/>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78D7"/>
              </a:solidFill>
              <a:effectLst/>
              <a:uLnTx/>
              <a:uFillTx/>
              <a:latin typeface="Segoe UI"/>
              <a:ea typeface="+mn-ea"/>
              <a:cs typeface="Segoe UI Semibold" panose="020B0702040204020203" pitchFamily="34" charset="0"/>
            </a:endParaRPr>
          </a:p>
        </p:txBody>
      </p:sp>
      <p:sp>
        <p:nvSpPr>
          <p:cNvPr id="105" name="Rectangle 104">
            <a:extLst>
              <a:ext uri="{FF2B5EF4-FFF2-40B4-BE49-F238E27FC236}">
                <a16:creationId xmlns:a16="http://schemas.microsoft.com/office/drawing/2014/main" id="{8F06A86E-1586-6B4D-827E-11C36743B9AF}"/>
              </a:ext>
            </a:extLst>
          </p:cNvPr>
          <p:cNvSpPr/>
          <p:nvPr/>
        </p:nvSpPr>
        <p:spPr>
          <a:xfrm>
            <a:off x="3488288" y="2167466"/>
            <a:ext cx="8053230" cy="1896533"/>
          </a:xfrm>
          <a:prstGeom prst="rect">
            <a:avLst/>
          </a:prstGeom>
          <a:solidFill>
            <a:srgbClr val="737373"/>
          </a:solidFill>
          <a:ln>
            <a:noFill/>
          </a:ln>
        </p:spPr>
        <p:style>
          <a:lnRef idx="0">
            <a:scrgbClr r="0" g="0" b="0"/>
          </a:lnRef>
          <a:fillRef idx="0">
            <a:scrgbClr r="0" g="0" b="0"/>
          </a:fillRef>
          <a:effectRef idx="0">
            <a:scrgbClr r="0" g="0" b="0"/>
          </a:effectRef>
          <a:fontRef idx="minor">
            <a:schemeClr val="lt1"/>
          </a:fontRef>
        </p:style>
        <p:txBody>
          <a:bodyPr bIns="137160" rtlCol="0" anchor="b"/>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78D7"/>
              </a:solidFill>
              <a:effectLst/>
              <a:uLnTx/>
              <a:uFillTx/>
              <a:latin typeface="Segoe UI"/>
              <a:ea typeface="+mn-ea"/>
              <a:cs typeface="Segoe UI Semibold" panose="020B0702040204020203" pitchFamily="34" charset="0"/>
            </a:endParaRPr>
          </a:p>
        </p:txBody>
      </p:sp>
      <p:sp>
        <p:nvSpPr>
          <p:cNvPr id="5" name="TextBox 4">
            <a:extLst>
              <a:ext uri="{FF2B5EF4-FFF2-40B4-BE49-F238E27FC236}">
                <a16:creationId xmlns:a16="http://schemas.microsoft.com/office/drawing/2014/main" id="{3C4F90E4-C020-4513-9055-EC0783314993}"/>
              </a:ext>
            </a:extLst>
          </p:cNvPr>
          <p:cNvSpPr txBox="1"/>
          <p:nvPr/>
        </p:nvSpPr>
        <p:spPr>
          <a:xfrm>
            <a:off x="777524" y="1062306"/>
            <a:ext cx="2143476" cy="4265783"/>
          </a:xfrm>
          <a:prstGeom prst="rect">
            <a:avLst/>
          </a:prstGeom>
          <a:noFill/>
        </p:spPr>
        <p:txBody>
          <a:bodyPr wrap="square" lIns="182880" tIns="146304" rIns="182880" bIns="146304" rtlCol="0" anchor="ctr">
            <a:spAutoFit/>
          </a:bodyPr>
          <a:lstStyle/>
          <a:p>
            <a:pPr marL="0" marR="0" lvl="0" indent="0" algn="l" defTabSz="914400" rtl="0" eaLnBrk="1" fontAlgn="auto" latinLnBrk="0" hangingPunct="1">
              <a:lnSpc>
                <a:spcPct val="200000"/>
              </a:lnSpc>
              <a:spcBef>
                <a:spcPts val="1200"/>
              </a:spcBef>
              <a:spcAft>
                <a:spcPts val="60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Power BI</a:t>
            </a:r>
          </a:p>
          <a:p>
            <a:pPr marL="0" marR="0" lvl="0" indent="0" algn="l" defTabSz="914400" rtl="0" eaLnBrk="1" fontAlgn="auto" latinLnBrk="0" hangingPunct="1">
              <a:lnSpc>
                <a:spcPct val="200000"/>
              </a:lnSpc>
              <a:spcBef>
                <a:spcPts val="1200"/>
              </a:spcBef>
              <a:spcAft>
                <a:spcPts val="60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Azure App Services</a:t>
            </a:r>
          </a:p>
          <a:p>
            <a:pPr marL="0" marR="0" lvl="0" indent="0" algn="l" defTabSz="914400" rtl="0" eaLnBrk="1" fontAlgn="auto" latinLnBrk="0" hangingPunct="1">
              <a:lnSpc>
                <a:spcPct val="200000"/>
              </a:lnSpc>
              <a:spcBef>
                <a:spcPts val="1200"/>
              </a:spcBef>
              <a:spcAft>
                <a:spcPts val="60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Azure Data Factory</a:t>
            </a:r>
          </a:p>
          <a:p>
            <a:pPr marL="0" marR="0" lvl="0" indent="0" algn="l" defTabSz="914400" rtl="0" eaLnBrk="1" fontAlgn="auto" latinLnBrk="0" hangingPunct="1">
              <a:lnSpc>
                <a:spcPct val="200000"/>
              </a:lnSpc>
              <a:spcBef>
                <a:spcPts val="1200"/>
              </a:spcBef>
              <a:spcAft>
                <a:spcPts val="60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Azure Analysis Services</a:t>
            </a:r>
          </a:p>
          <a:p>
            <a:pPr marL="0" marR="0" lvl="0" indent="0" algn="l" defTabSz="914400" rtl="0" eaLnBrk="1" fontAlgn="auto" latinLnBrk="0" hangingPunct="1">
              <a:lnSpc>
                <a:spcPct val="200000"/>
              </a:lnSpc>
              <a:spcBef>
                <a:spcPts val="1200"/>
              </a:spcBef>
              <a:spcAft>
                <a:spcPts val="60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Azure Machine Learning</a:t>
            </a:r>
          </a:p>
          <a:p>
            <a:pPr marL="0" marR="0" lvl="0" indent="0" algn="l" defTabSz="914400" rtl="0" eaLnBrk="1" fontAlgn="auto" latinLnBrk="0" hangingPunct="1">
              <a:lnSpc>
                <a:spcPct val="200000"/>
              </a:lnSpc>
              <a:spcBef>
                <a:spcPts val="1200"/>
              </a:spcBef>
              <a:spcAft>
                <a:spcPts val="60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Azure Cognitive Services </a:t>
            </a:r>
          </a:p>
          <a:p>
            <a:pPr marL="0" marR="0" lvl="0" indent="0" algn="l" defTabSz="914400" rtl="0" eaLnBrk="1" fontAlgn="auto" latinLnBrk="0" hangingPunct="1">
              <a:lnSpc>
                <a:spcPct val="200000"/>
              </a:lnSpc>
              <a:spcBef>
                <a:spcPts val="1200"/>
              </a:spcBef>
              <a:spcAft>
                <a:spcPts val="60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Azure Bot Service</a:t>
            </a:r>
          </a:p>
        </p:txBody>
      </p:sp>
      <p:sp>
        <p:nvSpPr>
          <p:cNvPr id="17" name="Title 1">
            <a:extLst>
              <a:ext uri="{FF2B5EF4-FFF2-40B4-BE49-F238E27FC236}">
                <a16:creationId xmlns:a16="http://schemas.microsoft.com/office/drawing/2014/main" id="{D7C5636E-CC42-41A1-815D-7B00B83AC161}"/>
              </a:ext>
            </a:extLst>
          </p:cNvPr>
          <p:cNvSpPr>
            <a:spLocks noGrp="1"/>
          </p:cNvSpPr>
          <p:nvPr>
            <p:ph type="title"/>
          </p:nvPr>
        </p:nvSpPr>
        <p:spPr>
          <a:xfrm>
            <a:off x="269240" y="289511"/>
            <a:ext cx="11655840" cy="899665"/>
          </a:xfrm>
        </p:spPr>
        <p:txBody>
          <a:bodyPr/>
          <a:lstStyle/>
          <a:p>
            <a:r>
              <a:rPr lang="en-US" sz="2800" cap="all" spc="500">
                <a:solidFill>
                  <a:srgbClr val="0078D7"/>
                </a:solidFill>
                <a:latin typeface="Segoe UI Semilight" charset="0"/>
                <a:cs typeface="Segoe UI Semilight" charset="0"/>
              </a:rPr>
              <a:t>Azure Relational Database Platform</a:t>
            </a:r>
          </a:p>
        </p:txBody>
      </p:sp>
      <p:sp>
        <p:nvSpPr>
          <p:cNvPr id="34" name="Rectangle 33">
            <a:extLst>
              <a:ext uri="{FF2B5EF4-FFF2-40B4-BE49-F238E27FC236}">
                <a16:creationId xmlns:a16="http://schemas.microsoft.com/office/drawing/2014/main" id="{9456B450-73F8-C543-8092-1633ABC1378F}"/>
              </a:ext>
            </a:extLst>
          </p:cNvPr>
          <p:cNvSpPr/>
          <p:nvPr/>
        </p:nvSpPr>
        <p:spPr>
          <a:xfrm>
            <a:off x="3484949" y="1320799"/>
            <a:ext cx="1971140" cy="794771"/>
          </a:xfrm>
          <a:prstGeom prst="rect">
            <a:avLst/>
          </a:prstGeom>
          <a:solidFill>
            <a:srgbClr val="0078D7"/>
          </a:solidFill>
          <a:ln w="0">
            <a:noFill/>
          </a:ln>
        </p:spPr>
        <p:style>
          <a:lnRef idx="0">
            <a:scrgbClr r="0" g="0" b="0"/>
          </a:lnRef>
          <a:fillRef idx="0">
            <a:scrgbClr r="0" g="0" b="0"/>
          </a:fillRef>
          <a:effectRef idx="0">
            <a:scrgbClr r="0" g="0" b="0"/>
          </a:effectRef>
          <a:fontRef idx="minor">
            <a:schemeClr val="lt1"/>
          </a:fontRef>
        </p:style>
        <p:txBody>
          <a:bodyPr t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zure SQL Data Warehouse</a:t>
            </a:r>
          </a:p>
        </p:txBody>
      </p:sp>
      <p:sp>
        <p:nvSpPr>
          <p:cNvPr id="35" name="Rectangle 34">
            <a:extLst>
              <a:ext uri="{FF2B5EF4-FFF2-40B4-BE49-F238E27FC236}">
                <a16:creationId xmlns:a16="http://schemas.microsoft.com/office/drawing/2014/main" id="{8285E120-A86C-CC48-B717-70E28BDF2C7D}"/>
              </a:ext>
            </a:extLst>
          </p:cNvPr>
          <p:cNvSpPr/>
          <p:nvPr/>
        </p:nvSpPr>
        <p:spPr>
          <a:xfrm>
            <a:off x="5511829" y="1320799"/>
            <a:ext cx="1971140" cy="794771"/>
          </a:xfrm>
          <a:prstGeom prst="rect">
            <a:avLst/>
          </a:prstGeom>
          <a:solidFill>
            <a:srgbClr val="0078D7"/>
          </a:solidFill>
          <a:ln w="0">
            <a:noFill/>
          </a:ln>
        </p:spPr>
        <p:style>
          <a:lnRef idx="0">
            <a:scrgbClr r="0" g="0" b="0"/>
          </a:lnRef>
          <a:fillRef idx="0">
            <a:scrgbClr r="0" g="0" b="0"/>
          </a:fillRef>
          <a:effectRef idx="0">
            <a:scrgbClr r="0" g="0" b="0"/>
          </a:effectRef>
          <a:fontRef idx="minor">
            <a:schemeClr val="lt1"/>
          </a:fontRef>
        </p:style>
        <p:txBody>
          <a:bodyPr t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zure SQL </a:t>
            </a:r>
            <a:b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Database</a:t>
            </a:r>
          </a:p>
        </p:txBody>
      </p:sp>
      <p:sp>
        <p:nvSpPr>
          <p:cNvPr id="36" name="Rectangle 35">
            <a:extLst>
              <a:ext uri="{FF2B5EF4-FFF2-40B4-BE49-F238E27FC236}">
                <a16:creationId xmlns:a16="http://schemas.microsoft.com/office/drawing/2014/main" id="{13C5DA99-EC30-7946-802D-9F22AE0042EF}"/>
              </a:ext>
            </a:extLst>
          </p:cNvPr>
          <p:cNvSpPr/>
          <p:nvPr/>
        </p:nvSpPr>
        <p:spPr>
          <a:xfrm>
            <a:off x="7538711" y="1320799"/>
            <a:ext cx="1971140" cy="794771"/>
          </a:xfrm>
          <a:prstGeom prst="rect">
            <a:avLst/>
          </a:prstGeom>
          <a:solidFill>
            <a:srgbClr val="0078D7"/>
          </a:solidFill>
          <a:ln w="0">
            <a:noFill/>
          </a:ln>
        </p:spPr>
        <p:style>
          <a:lnRef idx="0">
            <a:scrgbClr r="0" g="0" b="0"/>
          </a:lnRef>
          <a:fillRef idx="0">
            <a:scrgbClr r="0" g="0" b="0"/>
          </a:fillRef>
          <a:effectRef idx="0">
            <a:scrgbClr r="0" g="0" b="0"/>
          </a:effectRef>
          <a:fontRef idx="minor">
            <a:schemeClr val="lt1"/>
          </a:fontRef>
        </p:style>
        <p:txBody>
          <a:bodyPr t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zure Database </a:t>
            </a:r>
            <a:b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for PostgreSQL</a:t>
            </a:r>
          </a:p>
        </p:txBody>
      </p:sp>
      <p:sp>
        <p:nvSpPr>
          <p:cNvPr id="37" name="Rectangle 36">
            <a:extLst>
              <a:ext uri="{FF2B5EF4-FFF2-40B4-BE49-F238E27FC236}">
                <a16:creationId xmlns:a16="http://schemas.microsoft.com/office/drawing/2014/main" id="{6A023A2C-4B8C-5B48-B4C6-DA7C49CFE3EB}"/>
              </a:ext>
            </a:extLst>
          </p:cNvPr>
          <p:cNvSpPr/>
          <p:nvPr/>
        </p:nvSpPr>
        <p:spPr>
          <a:xfrm>
            <a:off x="9566104" y="1320799"/>
            <a:ext cx="1971140" cy="794771"/>
          </a:xfrm>
          <a:prstGeom prst="rect">
            <a:avLst/>
          </a:prstGeom>
          <a:solidFill>
            <a:srgbClr val="0078D7"/>
          </a:solidFill>
          <a:ln w="0">
            <a:noFill/>
          </a:ln>
        </p:spPr>
        <p:style>
          <a:lnRef idx="0">
            <a:scrgbClr r="0" g="0" b="0"/>
          </a:lnRef>
          <a:fillRef idx="0">
            <a:scrgbClr r="0" g="0" b="0"/>
          </a:fillRef>
          <a:effectRef idx="0">
            <a:scrgbClr r="0" g="0" b="0"/>
          </a:effectRef>
          <a:fontRef idx="minor">
            <a:schemeClr val="lt1"/>
          </a:fontRef>
        </p:style>
        <p:txBody>
          <a:bodyPr t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zure Database </a:t>
            </a:r>
            <a:b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for MySQL</a:t>
            </a:r>
          </a:p>
        </p:txBody>
      </p:sp>
      <p:sp>
        <p:nvSpPr>
          <p:cNvPr id="15" name="Rectangle 14">
            <a:extLst>
              <a:ext uri="{FF2B5EF4-FFF2-40B4-BE49-F238E27FC236}">
                <a16:creationId xmlns:a16="http://schemas.microsoft.com/office/drawing/2014/main" id="{39C43A83-F683-4F16-B123-AECC97E83780}"/>
              </a:ext>
            </a:extLst>
          </p:cNvPr>
          <p:cNvSpPr/>
          <p:nvPr/>
        </p:nvSpPr>
        <p:spPr>
          <a:xfrm>
            <a:off x="4376751" y="3058332"/>
            <a:ext cx="2028519" cy="713891"/>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Intelligent</a:t>
            </a:r>
            <a:br>
              <a:rPr kumimoji="0" lang="en-US" sz="1200" b="1"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br>
            <a:r>
              <a:rPr kumimoji="0" lang="en-US" sz="120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Advisors, tuning, </a:t>
            </a:r>
            <a:br>
              <a:rPr kumimoji="0" lang="en-US" sz="120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br>
            <a:r>
              <a:rPr kumimoji="0" lang="en-US" sz="120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monitoring</a:t>
            </a:r>
          </a:p>
        </p:txBody>
      </p:sp>
      <p:sp>
        <p:nvSpPr>
          <p:cNvPr id="18" name="Rectangle 17">
            <a:extLst>
              <a:ext uri="{FF2B5EF4-FFF2-40B4-BE49-F238E27FC236}">
                <a16:creationId xmlns:a16="http://schemas.microsoft.com/office/drawing/2014/main" id="{30F010E8-2118-1842-9237-BDB37F89221F}"/>
              </a:ext>
            </a:extLst>
          </p:cNvPr>
          <p:cNvSpPr/>
          <p:nvPr/>
        </p:nvSpPr>
        <p:spPr>
          <a:xfrm>
            <a:off x="6512325" y="3058332"/>
            <a:ext cx="2028519" cy="713891"/>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Flexible</a:t>
            </a:r>
            <a:br>
              <a:rPr kumimoji="0" lang="en-US" sz="1200" b="1"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br>
            <a:r>
              <a:rPr kumimoji="0" lang="en-US" sz="120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On-demand scaling, </a:t>
            </a:r>
            <a:br>
              <a:rPr kumimoji="0" lang="en-US" sz="120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br>
            <a:r>
              <a:rPr kumimoji="0" lang="en-US" sz="120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resource governance</a:t>
            </a:r>
          </a:p>
        </p:txBody>
      </p:sp>
      <p:sp>
        <p:nvSpPr>
          <p:cNvPr id="19" name="Rectangle 18">
            <a:extLst>
              <a:ext uri="{FF2B5EF4-FFF2-40B4-BE49-F238E27FC236}">
                <a16:creationId xmlns:a16="http://schemas.microsoft.com/office/drawing/2014/main" id="{41C4140E-8919-1E48-A97D-2326EB6CC9CF}"/>
              </a:ext>
            </a:extLst>
          </p:cNvPr>
          <p:cNvSpPr/>
          <p:nvPr/>
        </p:nvSpPr>
        <p:spPr>
          <a:xfrm>
            <a:off x="8748134" y="3058332"/>
            <a:ext cx="2028519" cy="713891"/>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Trusted</a:t>
            </a:r>
            <a:br>
              <a:rPr kumimoji="0" lang="en-US" sz="1200" b="1"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br>
            <a:r>
              <a:rPr kumimoji="0" lang="en-US" sz="120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HA/DR, backup/restore, security, audit, isolation</a:t>
            </a:r>
          </a:p>
        </p:txBody>
      </p:sp>
      <p:sp>
        <p:nvSpPr>
          <p:cNvPr id="57" name="Rectangle 56">
            <a:extLst>
              <a:ext uri="{FF2B5EF4-FFF2-40B4-BE49-F238E27FC236}">
                <a16:creationId xmlns:a16="http://schemas.microsoft.com/office/drawing/2014/main" id="{E2164EC9-9F95-5841-9724-48A85605C9D6}"/>
              </a:ext>
            </a:extLst>
          </p:cNvPr>
          <p:cNvSpPr/>
          <p:nvPr/>
        </p:nvSpPr>
        <p:spPr>
          <a:xfrm>
            <a:off x="4607845" y="2234847"/>
            <a:ext cx="5721471" cy="307777"/>
          </a:xfrm>
          <a:prstGeom prst="rect">
            <a:avLst/>
          </a:prstGeom>
        </p:spPr>
        <p:txBody>
          <a:bodyPr>
            <a:sp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Database Services Platform </a:t>
            </a:r>
            <a:endParaRPr kumimoji="0" lang="en-US" sz="1400" b="1"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68">
            <a:extLst>
              <a:ext uri="{FF2B5EF4-FFF2-40B4-BE49-F238E27FC236}">
                <a16:creationId xmlns:a16="http://schemas.microsoft.com/office/drawing/2014/main" id="{991842BB-66CC-AE45-8C0F-03ADC211F5A7}"/>
              </a:ext>
            </a:extLst>
          </p:cNvPr>
          <p:cNvSpPr/>
          <p:nvPr/>
        </p:nvSpPr>
        <p:spPr>
          <a:xfrm>
            <a:off x="6537202" y="4120444"/>
            <a:ext cx="2028519" cy="496711"/>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8D7"/>
                </a:solidFill>
                <a:effectLst/>
                <a:uLnTx/>
                <a:uFillTx/>
                <a:latin typeface="Segoe UI"/>
                <a:ea typeface="+mn-ea"/>
                <a:cs typeface="Segoe UI Semibold" panose="020B0702040204020203" pitchFamily="34" charset="0"/>
              </a:rPr>
              <a:t>Azure compute</a:t>
            </a:r>
            <a:endParaRPr kumimoji="0" lang="en-US" sz="1200" b="0" i="0" u="none" strike="noStrike" kern="1200" cap="none" spc="0" normalizeH="0" baseline="0" noProof="0">
              <a:ln>
                <a:noFill/>
              </a:ln>
              <a:solidFill>
                <a:srgbClr val="0078D7"/>
              </a:solidFill>
              <a:effectLst/>
              <a:uLnTx/>
              <a:uFillTx/>
              <a:latin typeface="Segoe UI"/>
              <a:ea typeface="+mn-ea"/>
              <a:cs typeface="Segoe UI Semibold" panose="020B0702040204020203" pitchFamily="34" charset="0"/>
            </a:endParaRPr>
          </a:p>
        </p:txBody>
      </p:sp>
      <p:sp>
        <p:nvSpPr>
          <p:cNvPr id="71" name="Rectangle 70">
            <a:extLst>
              <a:ext uri="{FF2B5EF4-FFF2-40B4-BE49-F238E27FC236}">
                <a16:creationId xmlns:a16="http://schemas.microsoft.com/office/drawing/2014/main" id="{0351E3ED-9C7E-4344-A0D0-753948D5F4F7}"/>
              </a:ext>
            </a:extLst>
          </p:cNvPr>
          <p:cNvSpPr/>
          <p:nvPr/>
        </p:nvSpPr>
        <p:spPr>
          <a:xfrm>
            <a:off x="6537202" y="4571814"/>
            <a:ext cx="2028519" cy="713891"/>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8D7"/>
                </a:solidFill>
                <a:effectLst/>
                <a:uLnTx/>
                <a:uFillTx/>
                <a:latin typeface="Segoe UI"/>
                <a:ea typeface="+mn-ea"/>
                <a:cs typeface="Segoe UI Semibold" panose="020B0702040204020203" pitchFamily="34" charset="0"/>
              </a:rPr>
              <a:t>Azure storage</a:t>
            </a:r>
            <a:endParaRPr kumimoji="0" lang="en-US" sz="1200" b="0" i="0" u="none" strike="noStrike" kern="1200" cap="none" spc="0" normalizeH="0" baseline="0" noProof="0">
              <a:ln>
                <a:noFill/>
              </a:ln>
              <a:solidFill>
                <a:srgbClr val="0078D7"/>
              </a:solidFill>
              <a:effectLst/>
              <a:uLnTx/>
              <a:uFillTx/>
              <a:latin typeface="Segoe UI"/>
              <a:ea typeface="+mn-ea"/>
              <a:cs typeface="Segoe UI Semibold" panose="020B0702040204020203" pitchFamily="34" charset="0"/>
            </a:endParaRPr>
          </a:p>
        </p:txBody>
      </p:sp>
      <p:grpSp>
        <p:nvGrpSpPr>
          <p:cNvPr id="21" name="Group 4">
            <a:extLst>
              <a:ext uri="{FF2B5EF4-FFF2-40B4-BE49-F238E27FC236}">
                <a16:creationId xmlns:a16="http://schemas.microsoft.com/office/drawing/2014/main" id="{1EE2E1A2-71C6-964B-8785-39A9B1E83B64}"/>
              </a:ext>
            </a:extLst>
          </p:cNvPr>
          <p:cNvGrpSpPr>
            <a:grpSpLocks noChangeAspect="1"/>
          </p:cNvGrpSpPr>
          <p:nvPr/>
        </p:nvGrpSpPr>
        <p:grpSpPr bwMode="auto">
          <a:xfrm>
            <a:off x="5301074" y="2785074"/>
            <a:ext cx="144640" cy="269970"/>
            <a:chOff x="866" y="3346"/>
            <a:chExt cx="137" cy="240"/>
          </a:xfrm>
        </p:grpSpPr>
        <p:sp>
          <p:nvSpPr>
            <p:cNvPr id="22" name="Freeform 5">
              <a:extLst>
                <a:ext uri="{FF2B5EF4-FFF2-40B4-BE49-F238E27FC236}">
                  <a16:creationId xmlns:a16="http://schemas.microsoft.com/office/drawing/2014/main" id="{F75F65A0-FC31-4844-85A3-8037F69E0686}"/>
                </a:ext>
              </a:extLst>
            </p:cNvPr>
            <p:cNvSpPr>
              <a:spLocks/>
            </p:cNvSpPr>
            <p:nvPr/>
          </p:nvSpPr>
          <p:spPr bwMode="auto">
            <a:xfrm>
              <a:off x="866" y="3346"/>
              <a:ext cx="137" cy="158"/>
            </a:xfrm>
            <a:custGeom>
              <a:avLst/>
              <a:gdLst>
                <a:gd name="T0" fmla="*/ 86 w 99"/>
                <a:gd name="T1" fmla="*/ 82 h 114"/>
                <a:gd name="T2" fmla="*/ 74 w 99"/>
                <a:gd name="T3" fmla="*/ 114 h 114"/>
                <a:gd name="T4" fmla="*/ 24 w 99"/>
                <a:gd name="T5" fmla="*/ 114 h 114"/>
                <a:gd name="T6" fmla="*/ 13 w 99"/>
                <a:gd name="T7" fmla="*/ 84 h 114"/>
                <a:gd name="T8" fmla="*/ 10 w 99"/>
                <a:gd name="T9" fmla="*/ 79 h 114"/>
                <a:gd name="T10" fmla="*/ 0 w 99"/>
                <a:gd name="T11" fmla="*/ 49 h 114"/>
                <a:gd name="T12" fmla="*/ 49 w 99"/>
                <a:gd name="T13" fmla="*/ 0 h 114"/>
                <a:gd name="T14" fmla="*/ 99 w 99"/>
                <a:gd name="T15" fmla="*/ 49 h 114"/>
                <a:gd name="T16" fmla="*/ 88 w 99"/>
                <a:gd name="T17" fmla="*/ 78 h 114"/>
                <a:gd name="T18" fmla="*/ 86 w 99"/>
                <a:gd name="T19" fmla="*/ 82 h 114"/>
                <a:gd name="T20" fmla="*/ 86 w 99"/>
                <a:gd name="T21" fmla="*/ 8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14">
                  <a:moveTo>
                    <a:pt x="86" y="82"/>
                  </a:moveTo>
                  <a:cubicBezTo>
                    <a:pt x="75" y="99"/>
                    <a:pt x="74" y="114"/>
                    <a:pt x="74" y="114"/>
                  </a:cubicBezTo>
                  <a:cubicBezTo>
                    <a:pt x="24" y="114"/>
                    <a:pt x="24" y="114"/>
                    <a:pt x="24" y="114"/>
                  </a:cubicBezTo>
                  <a:cubicBezTo>
                    <a:pt x="25" y="105"/>
                    <a:pt x="13" y="84"/>
                    <a:pt x="13" y="84"/>
                  </a:cubicBezTo>
                  <a:cubicBezTo>
                    <a:pt x="10" y="79"/>
                    <a:pt x="10" y="79"/>
                    <a:pt x="10" y="79"/>
                  </a:cubicBezTo>
                  <a:cubicBezTo>
                    <a:pt x="3" y="71"/>
                    <a:pt x="0" y="61"/>
                    <a:pt x="0" y="49"/>
                  </a:cubicBezTo>
                  <a:cubicBezTo>
                    <a:pt x="0" y="21"/>
                    <a:pt x="22" y="0"/>
                    <a:pt x="49" y="0"/>
                  </a:cubicBezTo>
                  <a:cubicBezTo>
                    <a:pt x="77" y="0"/>
                    <a:pt x="99" y="21"/>
                    <a:pt x="99" y="49"/>
                  </a:cubicBezTo>
                  <a:cubicBezTo>
                    <a:pt x="99" y="61"/>
                    <a:pt x="96" y="70"/>
                    <a:pt x="88" y="78"/>
                  </a:cubicBezTo>
                  <a:cubicBezTo>
                    <a:pt x="86" y="82"/>
                    <a:pt x="86" y="82"/>
                    <a:pt x="86" y="82"/>
                  </a:cubicBezTo>
                  <a:cubicBezTo>
                    <a:pt x="86" y="82"/>
                    <a:pt x="86" y="82"/>
                    <a:pt x="86" y="82"/>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 name="Freeform 6">
              <a:extLst>
                <a:ext uri="{FF2B5EF4-FFF2-40B4-BE49-F238E27FC236}">
                  <a16:creationId xmlns:a16="http://schemas.microsoft.com/office/drawing/2014/main" id="{06A4EC1F-2304-964B-9D81-BCDBDFFA0375}"/>
                </a:ext>
              </a:extLst>
            </p:cNvPr>
            <p:cNvSpPr>
              <a:spLocks/>
            </p:cNvSpPr>
            <p:nvPr/>
          </p:nvSpPr>
          <p:spPr bwMode="auto">
            <a:xfrm>
              <a:off x="899" y="3534"/>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 name="Freeform 7">
              <a:extLst>
                <a:ext uri="{FF2B5EF4-FFF2-40B4-BE49-F238E27FC236}">
                  <a16:creationId xmlns:a16="http://schemas.microsoft.com/office/drawing/2014/main" id="{1C453C32-30C7-C842-B110-4F04C30A822A}"/>
                </a:ext>
              </a:extLst>
            </p:cNvPr>
            <p:cNvSpPr>
              <a:spLocks/>
            </p:cNvSpPr>
            <p:nvPr/>
          </p:nvSpPr>
          <p:spPr bwMode="auto">
            <a:xfrm>
              <a:off x="899" y="3560"/>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Freeform 8">
              <a:extLst>
                <a:ext uri="{FF2B5EF4-FFF2-40B4-BE49-F238E27FC236}">
                  <a16:creationId xmlns:a16="http://schemas.microsoft.com/office/drawing/2014/main" id="{576812FD-D745-924E-B4A6-684055A04583}"/>
                </a:ext>
              </a:extLst>
            </p:cNvPr>
            <p:cNvSpPr>
              <a:spLocks/>
            </p:cNvSpPr>
            <p:nvPr/>
          </p:nvSpPr>
          <p:spPr bwMode="auto">
            <a:xfrm>
              <a:off x="908" y="3586"/>
              <a:ext cx="54" cy="0"/>
            </a:xfrm>
            <a:custGeom>
              <a:avLst/>
              <a:gdLst>
                <a:gd name="T0" fmla="*/ 0 w 39"/>
                <a:gd name="T1" fmla="*/ 39 w 39"/>
              </a:gdLst>
              <a:ahLst/>
              <a:cxnLst>
                <a:cxn ang="0">
                  <a:pos x="T0" y="0"/>
                </a:cxn>
                <a:cxn ang="0">
                  <a:pos x="T1" y="0"/>
                </a:cxn>
              </a:cxnLst>
              <a:rect l="0" t="0" r="r" b="b"/>
              <a:pathLst>
                <a:path w="39">
                  <a:moveTo>
                    <a:pt x="0" y="0"/>
                  </a:moveTo>
                  <a:cubicBezTo>
                    <a:pt x="39" y="0"/>
                    <a:pt x="39" y="0"/>
                    <a:pt x="39"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6" name="Group 25">
            <a:extLst>
              <a:ext uri="{FF2B5EF4-FFF2-40B4-BE49-F238E27FC236}">
                <a16:creationId xmlns:a16="http://schemas.microsoft.com/office/drawing/2014/main" id="{957B477F-0956-3C44-A6F8-AB1BA289E6FA}"/>
              </a:ext>
            </a:extLst>
          </p:cNvPr>
          <p:cNvGrpSpPr/>
          <p:nvPr/>
        </p:nvGrpSpPr>
        <p:grpSpPr>
          <a:xfrm>
            <a:off x="7374913" y="2830138"/>
            <a:ext cx="243273" cy="179842"/>
            <a:chOff x="2128870" y="2598205"/>
            <a:chExt cx="653137" cy="453174"/>
          </a:xfrm>
        </p:grpSpPr>
        <p:sp>
          <p:nvSpPr>
            <p:cNvPr id="27" name="Freeform 5">
              <a:extLst>
                <a:ext uri="{FF2B5EF4-FFF2-40B4-BE49-F238E27FC236}">
                  <a16:creationId xmlns:a16="http://schemas.microsoft.com/office/drawing/2014/main" id="{81844563-0844-874A-A060-CF94DD2C74DD}"/>
                </a:ext>
              </a:extLst>
            </p:cNvPr>
            <p:cNvSpPr>
              <a:spLocks/>
            </p:cNvSpPr>
            <p:nvPr/>
          </p:nvSpPr>
          <p:spPr bwMode="auto">
            <a:xfrm>
              <a:off x="2461355" y="2824200"/>
              <a:ext cx="320652" cy="190499"/>
            </a:xfrm>
            <a:custGeom>
              <a:avLst/>
              <a:gdLst>
                <a:gd name="T0" fmla="*/ 0 w 179"/>
                <a:gd name="T1" fmla="*/ 0 h 106"/>
                <a:gd name="T2" fmla="*/ 106 w 179"/>
                <a:gd name="T3" fmla="*/ 106 h 106"/>
                <a:gd name="T4" fmla="*/ 179 w 179"/>
                <a:gd name="T5" fmla="*/ 106 h 106"/>
              </a:gdLst>
              <a:ahLst/>
              <a:cxnLst>
                <a:cxn ang="0">
                  <a:pos x="T0" y="T1"/>
                </a:cxn>
                <a:cxn ang="0">
                  <a:pos x="T2" y="T3"/>
                </a:cxn>
                <a:cxn ang="0">
                  <a:pos x="T4" y="T5"/>
                </a:cxn>
              </a:cxnLst>
              <a:rect l="0" t="0" r="r" b="b"/>
              <a:pathLst>
                <a:path w="179" h="106">
                  <a:moveTo>
                    <a:pt x="0" y="0"/>
                  </a:moveTo>
                  <a:cubicBezTo>
                    <a:pt x="0" y="59"/>
                    <a:pt x="47" y="106"/>
                    <a:pt x="106" y="106"/>
                  </a:cubicBezTo>
                  <a:cubicBezTo>
                    <a:pt x="179" y="106"/>
                    <a:pt x="179" y="106"/>
                    <a:pt x="179" y="106"/>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8" name="Freeform 27">
              <a:extLst>
                <a:ext uri="{FF2B5EF4-FFF2-40B4-BE49-F238E27FC236}">
                  <a16:creationId xmlns:a16="http://schemas.microsoft.com/office/drawing/2014/main" id="{D614E61E-AA20-BD46-BB81-1CA4CD0A8555}"/>
                </a:ext>
              </a:extLst>
            </p:cNvPr>
            <p:cNvSpPr>
              <a:spLocks/>
            </p:cNvSpPr>
            <p:nvPr/>
          </p:nvSpPr>
          <p:spPr bwMode="auto">
            <a:xfrm>
              <a:off x="2483836" y="2633702"/>
              <a:ext cx="298171" cy="100574"/>
            </a:xfrm>
            <a:custGeom>
              <a:avLst/>
              <a:gdLst>
                <a:gd name="T0" fmla="*/ 167 w 167"/>
                <a:gd name="T1" fmla="*/ 0 h 56"/>
                <a:gd name="T2" fmla="*/ 94 w 167"/>
                <a:gd name="T3" fmla="*/ 0 h 56"/>
                <a:gd name="T4" fmla="*/ 0 w 167"/>
                <a:gd name="T5" fmla="*/ 56 h 56"/>
              </a:gdLst>
              <a:ahLst/>
              <a:cxnLst>
                <a:cxn ang="0">
                  <a:pos x="T0" y="T1"/>
                </a:cxn>
                <a:cxn ang="0">
                  <a:pos x="T2" y="T3"/>
                </a:cxn>
                <a:cxn ang="0">
                  <a:pos x="T4" y="T5"/>
                </a:cxn>
              </a:cxnLst>
              <a:rect l="0" t="0" r="r" b="b"/>
              <a:pathLst>
                <a:path w="167" h="56">
                  <a:moveTo>
                    <a:pt x="167" y="0"/>
                  </a:moveTo>
                  <a:cubicBezTo>
                    <a:pt x="94" y="0"/>
                    <a:pt x="94" y="0"/>
                    <a:pt x="94" y="0"/>
                  </a:cubicBezTo>
                  <a:cubicBezTo>
                    <a:pt x="53" y="0"/>
                    <a:pt x="18" y="23"/>
                    <a:pt x="0" y="56"/>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9" name="Freeform 28">
              <a:extLst>
                <a:ext uri="{FF2B5EF4-FFF2-40B4-BE49-F238E27FC236}">
                  <a16:creationId xmlns:a16="http://schemas.microsoft.com/office/drawing/2014/main" id="{855F385E-9E19-BE4B-AFCD-EDF3171AE500}"/>
                </a:ext>
              </a:extLst>
            </p:cNvPr>
            <p:cNvSpPr>
              <a:spLocks/>
            </p:cNvSpPr>
            <p:nvPr/>
          </p:nvSpPr>
          <p:spPr bwMode="auto">
            <a:xfrm>
              <a:off x="2140702" y="2633702"/>
              <a:ext cx="320652" cy="190499"/>
            </a:xfrm>
            <a:custGeom>
              <a:avLst/>
              <a:gdLst>
                <a:gd name="T0" fmla="*/ 179 w 179"/>
                <a:gd name="T1" fmla="*/ 106 h 106"/>
                <a:gd name="T2" fmla="*/ 73 w 179"/>
                <a:gd name="T3" fmla="*/ 0 h 106"/>
                <a:gd name="T4" fmla="*/ 0 w 179"/>
                <a:gd name="T5" fmla="*/ 0 h 106"/>
              </a:gdLst>
              <a:ahLst/>
              <a:cxnLst>
                <a:cxn ang="0">
                  <a:pos x="T0" y="T1"/>
                </a:cxn>
                <a:cxn ang="0">
                  <a:pos x="T2" y="T3"/>
                </a:cxn>
                <a:cxn ang="0">
                  <a:pos x="T4" y="T5"/>
                </a:cxn>
              </a:cxnLst>
              <a:rect l="0" t="0" r="r" b="b"/>
              <a:pathLst>
                <a:path w="179" h="106">
                  <a:moveTo>
                    <a:pt x="179" y="106"/>
                  </a:moveTo>
                  <a:cubicBezTo>
                    <a:pt x="179" y="48"/>
                    <a:pt x="131" y="0"/>
                    <a:pt x="73" y="0"/>
                  </a:cubicBezTo>
                  <a:cubicBezTo>
                    <a:pt x="0" y="0"/>
                    <a:pt x="0" y="0"/>
                    <a:pt x="0"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0" name="Freeform 29">
              <a:extLst>
                <a:ext uri="{FF2B5EF4-FFF2-40B4-BE49-F238E27FC236}">
                  <a16:creationId xmlns:a16="http://schemas.microsoft.com/office/drawing/2014/main" id="{82AEAA39-EF0C-E54B-BEBC-A8BCC593CDF1}"/>
                </a:ext>
              </a:extLst>
            </p:cNvPr>
            <p:cNvSpPr>
              <a:spLocks/>
            </p:cNvSpPr>
            <p:nvPr/>
          </p:nvSpPr>
          <p:spPr bwMode="auto">
            <a:xfrm>
              <a:off x="2140702" y="2914125"/>
              <a:ext cx="299354" cy="100574"/>
            </a:xfrm>
            <a:custGeom>
              <a:avLst/>
              <a:gdLst>
                <a:gd name="T0" fmla="*/ 0 w 167"/>
                <a:gd name="T1" fmla="*/ 56 h 56"/>
                <a:gd name="T2" fmla="*/ 73 w 167"/>
                <a:gd name="T3" fmla="*/ 56 h 56"/>
                <a:gd name="T4" fmla="*/ 167 w 167"/>
                <a:gd name="T5" fmla="*/ 0 h 56"/>
              </a:gdLst>
              <a:ahLst/>
              <a:cxnLst>
                <a:cxn ang="0">
                  <a:pos x="T0" y="T1"/>
                </a:cxn>
                <a:cxn ang="0">
                  <a:pos x="T2" y="T3"/>
                </a:cxn>
                <a:cxn ang="0">
                  <a:pos x="T4" y="T5"/>
                </a:cxn>
              </a:cxnLst>
              <a:rect l="0" t="0" r="r" b="b"/>
              <a:pathLst>
                <a:path w="167" h="56">
                  <a:moveTo>
                    <a:pt x="0" y="56"/>
                  </a:moveTo>
                  <a:cubicBezTo>
                    <a:pt x="73" y="56"/>
                    <a:pt x="73" y="56"/>
                    <a:pt x="73" y="56"/>
                  </a:cubicBezTo>
                  <a:cubicBezTo>
                    <a:pt x="113" y="56"/>
                    <a:pt x="149" y="33"/>
                    <a:pt x="167"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1" name="Freeform 30">
              <a:extLst>
                <a:ext uri="{FF2B5EF4-FFF2-40B4-BE49-F238E27FC236}">
                  <a16:creationId xmlns:a16="http://schemas.microsoft.com/office/drawing/2014/main" id="{4FBBE6EC-4255-FE47-BE3C-742FBE2D5AFB}"/>
                </a:ext>
              </a:extLst>
            </p:cNvPr>
            <p:cNvSpPr>
              <a:spLocks/>
            </p:cNvSpPr>
            <p:nvPr/>
          </p:nvSpPr>
          <p:spPr bwMode="auto">
            <a:xfrm>
              <a:off x="2741778" y="2598205"/>
              <a:ext cx="40229" cy="72177"/>
            </a:xfrm>
            <a:custGeom>
              <a:avLst/>
              <a:gdLst>
                <a:gd name="T0" fmla="*/ 0 w 34"/>
                <a:gd name="T1" fmla="*/ 61 h 61"/>
                <a:gd name="T2" fmla="*/ 34 w 34"/>
                <a:gd name="T3" fmla="*/ 30 h 61"/>
                <a:gd name="T4" fmla="*/ 0 w 34"/>
                <a:gd name="T5" fmla="*/ 0 h 61"/>
              </a:gdLst>
              <a:ahLst/>
              <a:cxnLst>
                <a:cxn ang="0">
                  <a:pos x="T0" y="T1"/>
                </a:cxn>
                <a:cxn ang="0">
                  <a:pos x="T2" y="T3"/>
                </a:cxn>
                <a:cxn ang="0">
                  <a:pos x="T4" y="T5"/>
                </a:cxn>
              </a:cxnLst>
              <a:rect l="0" t="0" r="r" b="b"/>
              <a:pathLst>
                <a:path w="34" h="61">
                  <a:moveTo>
                    <a:pt x="0" y="61"/>
                  </a:moveTo>
                  <a:lnTo>
                    <a:pt x="34" y="30"/>
                  </a:lnTo>
                  <a:lnTo>
                    <a:pt x="0" y="0"/>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2" name="Freeform 31">
              <a:extLst>
                <a:ext uri="{FF2B5EF4-FFF2-40B4-BE49-F238E27FC236}">
                  <a16:creationId xmlns:a16="http://schemas.microsoft.com/office/drawing/2014/main" id="{CAD29F0B-E038-E84D-AFEB-28FD022F019C}"/>
                </a:ext>
              </a:extLst>
            </p:cNvPr>
            <p:cNvSpPr>
              <a:spLocks/>
            </p:cNvSpPr>
            <p:nvPr/>
          </p:nvSpPr>
          <p:spPr bwMode="auto">
            <a:xfrm>
              <a:off x="2741778" y="2981569"/>
              <a:ext cx="40229" cy="69810"/>
            </a:xfrm>
            <a:custGeom>
              <a:avLst/>
              <a:gdLst>
                <a:gd name="T0" fmla="*/ 0 w 34"/>
                <a:gd name="T1" fmla="*/ 59 h 59"/>
                <a:gd name="T2" fmla="*/ 34 w 34"/>
                <a:gd name="T3" fmla="*/ 28 h 59"/>
                <a:gd name="T4" fmla="*/ 0 w 34"/>
                <a:gd name="T5" fmla="*/ 0 h 59"/>
              </a:gdLst>
              <a:ahLst/>
              <a:cxnLst>
                <a:cxn ang="0">
                  <a:pos x="T0" y="T1"/>
                </a:cxn>
                <a:cxn ang="0">
                  <a:pos x="T2" y="T3"/>
                </a:cxn>
                <a:cxn ang="0">
                  <a:pos x="T4" y="T5"/>
                </a:cxn>
              </a:cxnLst>
              <a:rect l="0" t="0" r="r" b="b"/>
              <a:pathLst>
                <a:path w="34" h="59">
                  <a:moveTo>
                    <a:pt x="0" y="59"/>
                  </a:moveTo>
                  <a:lnTo>
                    <a:pt x="34" y="28"/>
                  </a:lnTo>
                  <a:lnTo>
                    <a:pt x="0" y="0"/>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3" name="Freeform 32">
              <a:extLst>
                <a:ext uri="{FF2B5EF4-FFF2-40B4-BE49-F238E27FC236}">
                  <a16:creationId xmlns:a16="http://schemas.microsoft.com/office/drawing/2014/main" id="{8FF09018-DA21-5F4B-91EE-AA7F7FA5A22E}"/>
                </a:ext>
              </a:extLst>
            </p:cNvPr>
            <p:cNvSpPr>
              <a:spLocks/>
            </p:cNvSpPr>
            <p:nvPr/>
          </p:nvSpPr>
          <p:spPr bwMode="auto">
            <a:xfrm>
              <a:off x="2128870" y="2981569"/>
              <a:ext cx="40229" cy="69810"/>
            </a:xfrm>
            <a:custGeom>
              <a:avLst/>
              <a:gdLst>
                <a:gd name="T0" fmla="*/ 34 w 34"/>
                <a:gd name="T1" fmla="*/ 0 h 59"/>
                <a:gd name="T2" fmla="*/ 0 w 34"/>
                <a:gd name="T3" fmla="*/ 28 h 59"/>
                <a:gd name="T4" fmla="*/ 34 w 34"/>
                <a:gd name="T5" fmla="*/ 59 h 59"/>
              </a:gdLst>
              <a:ahLst/>
              <a:cxnLst>
                <a:cxn ang="0">
                  <a:pos x="T0" y="T1"/>
                </a:cxn>
                <a:cxn ang="0">
                  <a:pos x="T2" y="T3"/>
                </a:cxn>
                <a:cxn ang="0">
                  <a:pos x="T4" y="T5"/>
                </a:cxn>
              </a:cxnLst>
              <a:rect l="0" t="0" r="r" b="b"/>
              <a:pathLst>
                <a:path w="34" h="59">
                  <a:moveTo>
                    <a:pt x="34" y="0"/>
                  </a:moveTo>
                  <a:lnTo>
                    <a:pt x="0" y="28"/>
                  </a:lnTo>
                  <a:lnTo>
                    <a:pt x="34" y="59"/>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 name="Freeform 37">
              <a:extLst>
                <a:ext uri="{FF2B5EF4-FFF2-40B4-BE49-F238E27FC236}">
                  <a16:creationId xmlns:a16="http://schemas.microsoft.com/office/drawing/2014/main" id="{C5BD952C-B6F6-D24F-A958-C61B9784E707}"/>
                </a:ext>
              </a:extLst>
            </p:cNvPr>
            <p:cNvSpPr>
              <a:spLocks/>
            </p:cNvSpPr>
            <p:nvPr/>
          </p:nvSpPr>
          <p:spPr bwMode="auto">
            <a:xfrm>
              <a:off x="2128870" y="2598205"/>
              <a:ext cx="40229" cy="72177"/>
            </a:xfrm>
            <a:custGeom>
              <a:avLst/>
              <a:gdLst>
                <a:gd name="T0" fmla="*/ 34 w 34"/>
                <a:gd name="T1" fmla="*/ 0 h 61"/>
                <a:gd name="T2" fmla="*/ 0 w 34"/>
                <a:gd name="T3" fmla="*/ 30 h 61"/>
                <a:gd name="T4" fmla="*/ 34 w 34"/>
                <a:gd name="T5" fmla="*/ 61 h 61"/>
              </a:gdLst>
              <a:ahLst/>
              <a:cxnLst>
                <a:cxn ang="0">
                  <a:pos x="T0" y="T1"/>
                </a:cxn>
                <a:cxn ang="0">
                  <a:pos x="T2" y="T3"/>
                </a:cxn>
                <a:cxn ang="0">
                  <a:pos x="T4" y="T5"/>
                </a:cxn>
              </a:cxnLst>
              <a:rect l="0" t="0" r="r" b="b"/>
              <a:pathLst>
                <a:path w="34" h="61">
                  <a:moveTo>
                    <a:pt x="34" y="0"/>
                  </a:moveTo>
                  <a:lnTo>
                    <a:pt x="0" y="30"/>
                  </a:lnTo>
                  <a:lnTo>
                    <a:pt x="34" y="61"/>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9" name="Group 38">
            <a:extLst>
              <a:ext uri="{FF2B5EF4-FFF2-40B4-BE49-F238E27FC236}">
                <a16:creationId xmlns:a16="http://schemas.microsoft.com/office/drawing/2014/main" id="{916A9948-9BB1-B943-932E-0B156307DD88}"/>
              </a:ext>
            </a:extLst>
          </p:cNvPr>
          <p:cNvGrpSpPr/>
          <p:nvPr/>
        </p:nvGrpSpPr>
        <p:grpSpPr>
          <a:xfrm>
            <a:off x="9675116" y="2788171"/>
            <a:ext cx="218935" cy="263777"/>
            <a:chOff x="9005455" y="6149108"/>
            <a:chExt cx="1115925" cy="1261885"/>
          </a:xfrm>
        </p:grpSpPr>
        <p:sp>
          <p:nvSpPr>
            <p:cNvPr id="40" name="Freeform 39">
              <a:extLst>
                <a:ext uri="{FF2B5EF4-FFF2-40B4-BE49-F238E27FC236}">
                  <a16:creationId xmlns:a16="http://schemas.microsoft.com/office/drawing/2014/main" id="{6A03167B-7B5F-B248-98ED-274787D3C846}"/>
                </a:ext>
              </a:extLst>
            </p:cNvPr>
            <p:cNvSpPr/>
            <p:nvPr/>
          </p:nvSpPr>
          <p:spPr>
            <a:xfrm>
              <a:off x="9005455" y="6282459"/>
              <a:ext cx="555625" cy="1123950"/>
            </a:xfrm>
            <a:custGeom>
              <a:avLst/>
              <a:gdLst>
                <a:gd name="connsiteX0" fmla="*/ 555625 w 555625"/>
                <a:gd name="connsiteY0" fmla="*/ 1123950 h 1123950"/>
                <a:gd name="connsiteX1" fmla="*/ 0 w 555625"/>
                <a:gd name="connsiteY1" fmla="*/ 1123950 h 1123950"/>
                <a:gd name="connsiteX2" fmla="*/ 0 w 555625"/>
                <a:gd name="connsiteY2" fmla="*/ 0 h 1123950"/>
                <a:gd name="connsiteX3" fmla="*/ 219075 w 555625"/>
                <a:gd name="connsiteY3" fmla="*/ 0 h 1123950"/>
              </a:gdLst>
              <a:ahLst/>
              <a:cxnLst>
                <a:cxn ang="0">
                  <a:pos x="connsiteX0" y="connsiteY0"/>
                </a:cxn>
                <a:cxn ang="0">
                  <a:pos x="connsiteX1" y="connsiteY1"/>
                </a:cxn>
                <a:cxn ang="0">
                  <a:pos x="connsiteX2" y="connsiteY2"/>
                </a:cxn>
                <a:cxn ang="0">
                  <a:pos x="connsiteX3" y="connsiteY3"/>
                </a:cxn>
              </a:cxnLst>
              <a:rect l="l" t="t" r="r" b="b"/>
              <a:pathLst>
                <a:path w="555625" h="1123950">
                  <a:moveTo>
                    <a:pt x="555625" y="1123950"/>
                  </a:moveTo>
                  <a:lnTo>
                    <a:pt x="0" y="1123950"/>
                  </a:lnTo>
                  <a:lnTo>
                    <a:pt x="0" y="0"/>
                  </a:lnTo>
                  <a:lnTo>
                    <a:pt x="219075" y="0"/>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Freeform 41">
              <a:extLst>
                <a:ext uri="{FF2B5EF4-FFF2-40B4-BE49-F238E27FC236}">
                  <a16:creationId xmlns:a16="http://schemas.microsoft.com/office/drawing/2014/main" id="{1B03CBC7-5E54-BC43-BFC0-548B652687C1}"/>
                </a:ext>
              </a:extLst>
            </p:cNvPr>
            <p:cNvSpPr/>
            <p:nvPr/>
          </p:nvSpPr>
          <p:spPr>
            <a:xfrm>
              <a:off x="9707130" y="6282459"/>
              <a:ext cx="215900" cy="485775"/>
            </a:xfrm>
            <a:custGeom>
              <a:avLst/>
              <a:gdLst>
                <a:gd name="connsiteX0" fmla="*/ 0 w 215900"/>
                <a:gd name="connsiteY0" fmla="*/ 0 h 485775"/>
                <a:gd name="connsiteX1" fmla="*/ 215900 w 215900"/>
                <a:gd name="connsiteY1" fmla="*/ 0 h 485775"/>
                <a:gd name="connsiteX2" fmla="*/ 215900 w 215900"/>
                <a:gd name="connsiteY2" fmla="*/ 485775 h 485775"/>
              </a:gdLst>
              <a:ahLst/>
              <a:cxnLst>
                <a:cxn ang="0">
                  <a:pos x="connsiteX0" y="connsiteY0"/>
                </a:cxn>
                <a:cxn ang="0">
                  <a:pos x="connsiteX1" y="connsiteY1"/>
                </a:cxn>
                <a:cxn ang="0">
                  <a:pos x="connsiteX2" y="connsiteY2"/>
                </a:cxn>
              </a:cxnLst>
              <a:rect l="l" t="t" r="r" b="b"/>
              <a:pathLst>
                <a:path w="215900" h="485775">
                  <a:moveTo>
                    <a:pt x="0" y="0"/>
                  </a:moveTo>
                  <a:lnTo>
                    <a:pt x="215900" y="0"/>
                  </a:lnTo>
                  <a:lnTo>
                    <a:pt x="215900" y="4857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Freeform 42">
              <a:extLst>
                <a:ext uri="{FF2B5EF4-FFF2-40B4-BE49-F238E27FC236}">
                  <a16:creationId xmlns:a16="http://schemas.microsoft.com/office/drawing/2014/main" id="{B63D94F6-A09A-7C45-B685-31900719DF18}"/>
                </a:ext>
              </a:extLst>
            </p:cNvPr>
            <p:cNvSpPr/>
            <p:nvPr/>
          </p:nvSpPr>
          <p:spPr>
            <a:xfrm>
              <a:off x="9221355" y="6149108"/>
              <a:ext cx="482600" cy="190500"/>
            </a:xfrm>
            <a:custGeom>
              <a:avLst/>
              <a:gdLst>
                <a:gd name="connsiteX0" fmla="*/ 142875 w 482600"/>
                <a:gd name="connsiteY0" fmla="*/ 0 h 190500"/>
                <a:gd name="connsiteX1" fmla="*/ 339725 w 482600"/>
                <a:gd name="connsiteY1" fmla="*/ 0 h 190500"/>
                <a:gd name="connsiteX2" fmla="*/ 339725 w 482600"/>
                <a:gd name="connsiteY2" fmla="*/ 47625 h 190500"/>
                <a:gd name="connsiteX3" fmla="*/ 482600 w 482600"/>
                <a:gd name="connsiteY3" fmla="*/ 47625 h 190500"/>
                <a:gd name="connsiteX4" fmla="*/ 482600 w 482600"/>
                <a:gd name="connsiteY4" fmla="*/ 190500 h 190500"/>
                <a:gd name="connsiteX5" fmla="*/ 0 w 482600"/>
                <a:gd name="connsiteY5" fmla="*/ 190500 h 190500"/>
                <a:gd name="connsiteX6" fmla="*/ 0 w 482600"/>
                <a:gd name="connsiteY6" fmla="*/ 47625 h 190500"/>
                <a:gd name="connsiteX7" fmla="*/ 142875 w 482600"/>
                <a:gd name="connsiteY7" fmla="*/ 4762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600" h="190500">
                  <a:moveTo>
                    <a:pt x="142875" y="0"/>
                  </a:moveTo>
                  <a:lnTo>
                    <a:pt x="339725" y="0"/>
                  </a:lnTo>
                  <a:lnTo>
                    <a:pt x="339725" y="47625"/>
                  </a:lnTo>
                  <a:lnTo>
                    <a:pt x="482600" y="47625"/>
                  </a:lnTo>
                  <a:lnTo>
                    <a:pt x="482600" y="190500"/>
                  </a:lnTo>
                  <a:lnTo>
                    <a:pt x="0" y="190500"/>
                  </a:lnTo>
                  <a:lnTo>
                    <a:pt x="0" y="47625"/>
                  </a:lnTo>
                  <a:lnTo>
                    <a:pt x="142875" y="47625"/>
                  </a:lnTo>
                  <a:close/>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43">
              <a:extLst>
                <a:ext uri="{FF2B5EF4-FFF2-40B4-BE49-F238E27FC236}">
                  <a16:creationId xmlns:a16="http://schemas.microsoft.com/office/drawing/2014/main" id="{0E508BD8-818B-6E4A-B9DD-C40BCF7CFB28}"/>
                </a:ext>
              </a:extLst>
            </p:cNvPr>
            <p:cNvSpPr/>
            <p:nvPr/>
          </p:nvSpPr>
          <p:spPr bwMode="auto">
            <a:xfrm>
              <a:off x="9671568" y="7021832"/>
              <a:ext cx="333569" cy="212271"/>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5" name="Oval 44">
              <a:extLst>
                <a:ext uri="{FF2B5EF4-FFF2-40B4-BE49-F238E27FC236}">
                  <a16:creationId xmlns:a16="http://schemas.microsoft.com/office/drawing/2014/main" id="{03E9AF22-D70D-5146-8821-D0F1D20F4E0E}"/>
                </a:ext>
              </a:extLst>
            </p:cNvPr>
            <p:cNvSpPr/>
            <p:nvPr/>
          </p:nvSpPr>
          <p:spPr bwMode="auto">
            <a:xfrm>
              <a:off x="9555323" y="6844938"/>
              <a:ext cx="566057" cy="566055"/>
            </a:xfrm>
            <a:prstGeom prst="ellipse">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 name="Group 9">
            <a:extLst>
              <a:ext uri="{FF2B5EF4-FFF2-40B4-BE49-F238E27FC236}">
                <a16:creationId xmlns:a16="http://schemas.microsoft.com/office/drawing/2014/main" id="{C9749504-82D1-D642-92EE-19D7B1CAD3AC}"/>
              </a:ext>
            </a:extLst>
          </p:cNvPr>
          <p:cNvGrpSpPr/>
          <p:nvPr/>
        </p:nvGrpSpPr>
        <p:grpSpPr>
          <a:xfrm>
            <a:off x="2933701" y="1309511"/>
            <a:ext cx="393390" cy="3872088"/>
            <a:chOff x="2619375" y="1734014"/>
            <a:chExt cx="263215" cy="4432610"/>
          </a:xfrm>
        </p:grpSpPr>
        <p:sp>
          <p:nvSpPr>
            <p:cNvPr id="2" name="Freeform 1">
              <a:extLst>
                <a:ext uri="{FF2B5EF4-FFF2-40B4-BE49-F238E27FC236}">
                  <a16:creationId xmlns:a16="http://schemas.microsoft.com/office/drawing/2014/main" id="{D7E9234F-3035-054C-AAC8-7A6F3631B25E}"/>
                </a:ext>
              </a:extLst>
            </p:cNvPr>
            <p:cNvSpPr/>
            <p:nvPr/>
          </p:nvSpPr>
          <p:spPr bwMode="auto">
            <a:xfrm rot="5400000">
              <a:off x="596590" y="3880624"/>
              <a:ext cx="4432610" cy="139390"/>
            </a:xfrm>
            <a:custGeom>
              <a:avLst/>
              <a:gdLst>
                <a:gd name="connsiteX0" fmla="*/ 0 w 2096430"/>
                <a:gd name="connsiteY0" fmla="*/ 0 h 278780"/>
                <a:gd name="connsiteX1" fmla="*/ 0 w 2096430"/>
                <a:gd name="connsiteY1" fmla="*/ 278780 h 278780"/>
                <a:gd name="connsiteX2" fmla="*/ 2096430 w 2096430"/>
                <a:gd name="connsiteY2" fmla="*/ 278780 h 278780"/>
                <a:gd name="connsiteX3" fmla="*/ 2096430 w 2096430"/>
                <a:gd name="connsiteY3" fmla="*/ 11151 h 278780"/>
              </a:gdLst>
              <a:ahLst/>
              <a:cxnLst>
                <a:cxn ang="0">
                  <a:pos x="connsiteX0" y="connsiteY0"/>
                </a:cxn>
                <a:cxn ang="0">
                  <a:pos x="connsiteX1" y="connsiteY1"/>
                </a:cxn>
                <a:cxn ang="0">
                  <a:pos x="connsiteX2" y="connsiteY2"/>
                </a:cxn>
                <a:cxn ang="0">
                  <a:pos x="connsiteX3" y="connsiteY3"/>
                </a:cxn>
              </a:cxnLst>
              <a:rect l="l" t="t" r="r" b="b"/>
              <a:pathLst>
                <a:path w="2096430" h="278780">
                  <a:moveTo>
                    <a:pt x="0" y="0"/>
                  </a:moveTo>
                  <a:lnTo>
                    <a:pt x="0" y="278780"/>
                  </a:lnTo>
                  <a:lnTo>
                    <a:pt x="2096430" y="278780"/>
                  </a:lnTo>
                  <a:lnTo>
                    <a:pt x="2096430" y="11151"/>
                  </a:lnTo>
                </a:path>
              </a:pathLst>
            </a:custGeom>
            <a:noFill/>
            <a:ln w="12700">
              <a:solidFill>
                <a:srgbClr val="0078D7"/>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7" name="Straight Connector 6">
              <a:extLst>
                <a:ext uri="{FF2B5EF4-FFF2-40B4-BE49-F238E27FC236}">
                  <a16:creationId xmlns:a16="http://schemas.microsoft.com/office/drawing/2014/main" id="{0D269377-219E-BB47-AA1A-7DAE560FF44C}"/>
                </a:ext>
              </a:extLst>
            </p:cNvPr>
            <p:cNvCxnSpPr>
              <a:cxnSpLocks/>
            </p:cNvCxnSpPr>
            <p:nvPr/>
          </p:nvCxnSpPr>
          <p:spPr>
            <a:xfrm>
              <a:off x="2619375" y="3950318"/>
              <a:ext cx="127000" cy="0"/>
            </a:xfrm>
            <a:prstGeom prst="line">
              <a:avLst/>
            </a:prstGeom>
            <a:ln w="12700">
              <a:solidFill>
                <a:srgbClr val="0078D7"/>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9D4496D9-4F8D-C041-9F04-95A8A929666F}"/>
              </a:ext>
            </a:extLst>
          </p:cNvPr>
          <p:cNvGrpSpPr/>
          <p:nvPr/>
        </p:nvGrpSpPr>
        <p:grpSpPr>
          <a:xfrm>
            <a:off x="496548" y="1364544"/>
            <a:ext cx="287902" cy="219170"/>
            <a:chOff x="2502877" y="2643553"/>
            <a:chExt cx="3651737" cy="2779942"/>
          </a:xfrm>
        </p:grpSpPr>
        <p:cxnSp>
          <p:nvCxnSpPr>
            <p:cNvPr id="48" name="Straight Connector 47">
              <a:extLst>
                <a:ext uri="{FF2B5EF4-FFF2-40B4-BE49-F238E27FC236}">
                  <a16:creationId xmlns:a16="http://schemas.microsoft.com/office/drawing/2014/main" id="{21039AB2-31A7-D74F-83AB-078F453A8637}"/>
                </a:ext>
              </a:extLst>
            </p:cNvPr>
            <p:cNvCxnSpPr>
              <a:cxnSpLocks/>
            </p:cNvCxnSpPr>
            <p:nvPr/>
          </p:nvCxnSpPr>
          <p:spPr>
            <a:xfrm>
              <a:off x="3303655" y="4505747"/>
              <a:ext cx="0" cy="917748"/>
            </a:xfrm>
            <a:prstGeom prst="line">
              <a:avLst/>
            </a:prstGeom>
            <a:ln w="127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A7DAB0A-A387-D04A-BE65-7D41FABF7A9B}"/>
                </a:ext>
              </a:extLst>
            </p:cNvPr>
            <p:cNvCxnSpPr>
              <a:cxnSpLocks/>
            </p:cNvCxnSpPr>
            <p:nvPr/>
          </p:nvCxnSpPr>
          <p:spPr>
            <a:xfrm>
              <a:off x="3983069" y="3734649"/>
              <a:ext cx="0" cy="1688846"/>
            </a:xfrm>
            <a:prstGeom prst="line">
              <a:avLst/>
            </a:prstGeom>
            <a:ln w="127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C9849D2-54B2-2648-AE6F-B8AC4E3D59C2}"/>
                </a:ext>
              </a:extLst>
            </p:cNvPr>
            <p:cNvCxnSpPr>
              <a:cxnSpLocks/>
            </p:cNvCxnSpPr>
            <p:nvPr/>
          </p:nvCxnSpPr>
          <p:spPr>
            <a:xfrm>
              <a:off x="4662482" y="4051603"/>
              <a:ext cx="0" cy="1371892"/>
            </a:xfrm>
            <a:prstGeom prst="line">
              <a:avLst/>
            </a:prstGeom>
            <a:ln w="127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60F1AA6A-E318-B740-839B-3DC3197278E7}"/>
                </a:ext>
              </a:extLst>
            </p:cNvPr>
            <p:cNvCxnSpPr>
              <a:cxnSpLocks/>
            </p:cNvCxnSpPr>
            <p:nvPr/>
          </p:nvCxnSpPr>
          <p:spPr>
            <a:xfrm>
              <a:off x="5330632" y="3185667"/>
              <a:ext cx="0" cy="2237828"/>
            </a:xfrm>
            <a:prstGeom prst="line">
              <a:avLst/>
            </a:prstGeom>
            <a:ln w="127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2" name="Freeform: Shape 581">
              <a:extLst>
                <a:ext uri="{FF2B5EF4-FFF2-40B4-BE49-F238E27FC236}">
                  <a16:creationId xmlns:a16="http://schemas.microsoft.com/office/drawing/2014/main" id="{F85CFA35-E74F-C540-8CFA-55768DBC3DF7}"/>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3" name="Group 52">
            <a:extLst>
              <a:ext uri="{FF2B5EF4-FFF2-40B4-BE49-F238E27FC236}">
                <a16:creationId xmlns:a16="http://schemas.microsoft.com/office/drawing/2014/main" id="{1AC6CAE9-B2F8-3646-AD36-F81451907D52}"/>
              </a:ext>
            </a:extLst>
          </p:cNvPr>
          <p:cNvGrpSpPr/>
          <p:nvPr/>
        </p:nvGrpSpPr>
        <p:grpSpPr>
          <a:xfrm>
            <a:off x="504682" y="1910643"/>
            <a:ext cx="271634" cy="271019"/>
            <a:chOff x="5348504" y="1630136"/>
            <a:chExt cx="867409" cy="865446"/>
          </a:xfrm>
        </p:grpSpPr>
        <p:sp>
          <p:nvSpPr>
            <p:cNvPr id="54" name="Freeform: Shape 158">
              <a:extLst>
                <a:ext uri="{FF2B5EF4-FFF2-40B4-BE49-F238E27FC236}">
                  <a16:creationId xmlns:a16="http://schemas.microsoft.com/office/drawing/2014/main" id="{FA972DE9-90E8-2441-86C5-BAD77ABAFA3A}"/>
                </a:ext>
              </a:extLst>
            </p:cNvPr>
            <p:cNvSpPr/>
            <p:nvPr/>
          </p:nvSpPr>
          <p:spPr bwMode="auto">
            <a:xfrm>
              <a:off x="5348504" y="1630136"/>
              <a:ext cx="397792" cy="397792"/>
            </a:xfrm>
            <a:custGeom>
              <a:avLst/>
              <a:gdLst>
                <a:gd name="connsiteX0" fmla="*/ 0 w 423698"/>
                <a:gd name="connsiteY0" fmla="*/ 0 h 423698"/>
                <a:gd name="connsiteX1" fmla="*/ 423698 w 423698"/>
                <a:gd name="connsiteY1" fmla="*/ 0 h 423698"/>
                <a:gd name="connsiteX2" fmla="*/ 423698 w 423698"/>
                <a:gd name="connsiteY2" fmla="*/ 201564 h 423698"/>
                <a:gd name="connsiteX3" fmla="*/ 407843 w 423698"/>
                <a:gd name="connsiteY3" fmla="*/ 206708 h 423698"/>
                <a:gd name="connsiteX4" fmla="*/ 384001 w 423698"/>
                <a:gd name="connsiteY4" fmla="*/ 217835 h 423698"/>
                <a:gd name="connsiteX5" fmla="*/ 360879 w 423698"/>
                <a:gd name="connsiteY5" fmla="*/ 234266 h 423698"/>
                <a:gd name="connsiteX6" fmla="*/ 360879 w 423698"/>
                <a:gd name="connsiteY6" fmla="*/ 62819 h 423698"/>
                <a:gd name="connsiteX7" fmla="*/ 62819 w 423698"/>
                <a:gd name="connsiteY7" fmla="*/ 62819 h 423698"/>
                <a:gd name="connsiteX8" fmla="*/ 62819 w 423698"/>
                <a:gd name="connsiteY8" fmla="*/ 360880 h 423698"/>
                <a:gd name="connsiteX9" fmla="*/ 156880 w 423698"/>
                <a:gd name="connsiteY9" fmla="*/ 360880 h 423698"/>
                <a:gd name="connsiteX10" fmla="*/ 141670 w 423698"/>
                <a:gd name="connsiteY10" fmla="*/ 379314 h 423698"/>
                <a:gd name="connsiteX11" fmla="*/ 126659 w 423698"/>
                <a:gd name="connsiteY11" fmla="*/ 406971 h 423698"/>
                <a:gd name="connsiteX12" fmla="*/ 121466 w 423698"/>
                <a:gd name="connsiteY12" fmla="*/ 423698 h 423698"/>
                <a:gd name="connsiteX13" fmla="*/ 0 w 423698"/>
                <a:gd name="connsiteY13" fmla="*/ 423698 h 423698"/>
                <a:gd name="connsiteX14" fmla="*/ 0 w 423698"/>
                <a:gd name="connsiteY14" fmla="*/ 0 h 423698"/>
                <a:gd name="connsiteX0" fmla="*/ 0 w 423698"/>
                <a:gd name="connsiteY0" fmla="*/ 0 h 423698"/>
                <a:gd name="connsiteX1" fmla="*/ 423698 w 423698"/>
                <a:gd name="connsiteY1" fmla="*/ 0 h 423698"/>
                <a:gd name="connsiteX2" fmla="*/ 423698 w 423698"/>
                <a:gd name="connsiteY2" fmla="*/ 201564 h 423698"/>
                <a:gd name="connsiteX3" fmla="*/ 407843 w 423698"/>
                <a:gd name="connsiteY3" fmla="*/ 206708 h 423698"/>
                <a:gd name="connsiteX4" fmla="*/ 384001 w 423698"/>
                <a:gd name="connsiteY4" fmla="*/ 217835 h 423698"/>
                <a:gd name="connsiteX5" fmla="*/ 360879 w 423698"/>
                <a:gd name="connsiteY5" fmla="*/ 234266 h 423698"/>
                <a:gd name="connsiteX6" fmla="*/ 360879 w 423698"/>
                <a:gd name="connsiteY6" fmla="*/ 62819 h 423698"/>
                <a:gd name="connsiteX7" fmla="*/ 62819 w 423698"/>
                <a:gd name="connsiteY7" fmla="*/ 62819 h 423698"/>
                <a:gd name="connsiteX8" fmla="*/ 62819 w 423698"/>
                <a:gd name="connsiteY8" fmla="*/ 360880 h 423698"/>
                <a:gd name="connsiteX9" fmla="*/ 156880 w 423698"/>
                <a:gd name="connsiteY9" fmla="*/ 360880 h 423698"/>
                <a:gd name="connsiteX10" fmla="*/ 141670 w 423698"/>
                <a:gd name="connsiteY10" fmla="*/ 379314 h 423698"/>
                <a:gd name="connsiteX11" fmla="*/ 121466 w 423698"/>
                <a:gd name="connsiteY11" fmla="*/ 423698 h 423698"/>
                <a:gd name="connsiteX12" fmla="*/ 0 w 423698"/>
                <a:gd name="connsiteY12" fmla="*/ 423698 h 423698"/>
                <a:gd name="connsiteX13" fmla="*/ 0 w 423698"/>
                <a:gd name="connsiteY13" fmla="*/ 0 h 423698"/>
                <a:gd name="connsiteX0" fmla="*/ 0 w 423698"/>
                <a:gd name="connsiteY0" fmla="*/ 0 h 423698"/>
                <a:gd name="connsiteX1" fmla="*/ 423698 w 423698"/>
                <a:gd name="connsiteY1" fmla="*/ 0 h 423698"/>
                <a:gd name="connsiteX2" fmla="*/ 423698 w 423698"/>
                <a:gd name="connsiteY2" fmla="*/ 201564 h 423698"/>
                <a:gd name="connsiteX3" fmla="*/ 407843 w 423698"/>
                <a:gd name="connsiteY3" fmla="*/ 206708 h 423698"/>
                <a:gd name="connsiteX4" fmla="*/ 384001 w 423698"/>
                <a:gd name="connsiteY4" fmla="*/ 217835 h 423698"/>
                <a:gd name="connsiteX5" fmla="*/ 360879 w 423698"/>
                <a:gd name="connsiteY5" fmla="*/ 234266 h 423698"/>
                <a:gd name="connsiteX6" fmla="*/ 360879 w 423698"/>
                <a:gd name="connsiteY6" fmla="*/ 62819 h 423698"/>
                <a:gd name="connsiteX7" fmla="*/ 62819 w 423698"/>
                <a:gd name="connsiteY7" fmla="*/ 62819 h 423698"/>
                <a:gd name="connsiteX8" fmla="*/ 62819 w 423698"/>
                <a:gd name="connsiteY8" fmla="*/ 360880 h 423698"/>
                <a:gd name="connsiteX9" fmla="*/ 156880 w 423698"/>
                <a:gd name="connsiteY9" fmla="*/ 360880 h 423698"/>
                <a:gd name="connsiteX10" fmla="*/ 121466 w 423698"/>
                <a:gd name="connsiteY10" fmla="*/ 423698 h 423698"/>
                <a:gd name="connsiteX11" fmla="*/ 0 w 423698"/>
                <a:gd name="connsiteY11" fmla="*/ 423698 h 423698"/>
                <a:gd name="connsiteX12" fmla="*/ 0 w 423698"/>
                <a:gd name="connsiteY12" fmla="*/ 0 h 423698"/>
                <a:gd name="connsiteX0" fmla="*/ 0 w 423698"/>
                <a:gd name="connsiteY0" fmla="*/ 0 h 423698"/>
                <a:gd name="connsiteX1" fmla="*/ 423698 w 423698"/>
                <a:gd name="connsiteY1" fmla="*/ 0 h 423698"/>
                <a:gd name="connsiteX2" fmla="*/ 423698 w 423698"/>
                <a:gd name="connsiteY2" fmla="*/ 201564 h 423698"/>
                <a:gd name="connsiteX3" fmla="*/ 407843 w 423698"/>
                <a:gd name="connsiteY3" fmla="*/ 206708 h 423698"/>
                <a:gd name="connsiteX4" fmla="*/ 384001 w 423698"/>
                <a:gd name="connsiteY4" fmla="*/ 217835 h 423698"/>
                <a:gd name="connsiteX5" fmla="*/ 360879 w 423698"/>
                <a:gd name="connsiteY5" fmla="*/ 234266 h 423698"/>
                <a:gd name="connsiteX6" fmla="*/ 360879 w 423698"/>
                <a:gd name="connsiteY6" fmla="*/ 62819 h 423698"/>
                <a:gd name="connsiteX7" fmla="*/ 62819 w 423698"/>
                <a:gd name="connsiteY7" fmla="*/ 62819 h 423698"/>
                <a:gd name="connsiteX8" fmla="*/ 62819 w 423698"/>
                <a:gd name="connsiteY8" fmla="*/ 360880 h 423698"/>
                <a:gd name="connsiteX9" fmla="*/ 121466 w 423698"/>
                <a:gd name="connsiteY9" fmla="*/ 423698 h 423698"/>
                <a:gd name="connsiteX10" fmla="*/ 0 w 423698"/>
                <a:gd name="connsiteY10" fmla="*/ 423698 h 423698"/>
                <a:gd name="connsiteX11" fmla="*/ 0 w 423698"/>
                <a:gd name="connsiteY11" fmla="*/ 0 h 423698"/>
                <a:gd name="connsiteX0" fmla="*/ 0 w 423698"/>
                <a:gd name="connsiteY0" fmla="*/ 0 h 423698"/>
                <a:gd name="connsiteX1" fmla="*/ 423698 w 423698"/>
                <a:gd name="connsiteY1" fmla="*/ 0 h 423698"/>
                <a:gd name="connsiteX2" fmla="*/ 423698 w 423698"/>
                <a:gd name="connsiteY2" fmla="*/ 201564 h 423698"/>
                <a:gd name="connsiteX3" fmla="*/ 384001 w 423698"/>
                <a:gd name="connsiteY3" fmla="*/ 217835 h 423698"/>
                <a:gd name="connsiteX4" fmla="*/ 360879 w 423698"/>
                <a:gd name="connsiteY4" fmla="*/ 234266 h 423698"/>
                <a:gd name="connsiteX5" fmla="*/ 360879 w 423698"/>
                <a:gd name="connsiteY5" fmla="*/ 62819 h 423698"/>
                <a:gd name="connsiteX6" fmla="*/ 62819 w 423698"/>
                <a:gd name="connsiteY6" fmla="*/ 62819 h 423698"/>
                <a:gd name="connsiteX7" fmla="*/ 62819 w 423698"/>
                <a:gd name="connsiteY7" fmla="*/ 360880 h 423698"/>
                <a:gd name="connsiteX8" fmla="*/ 121466 w 423698"/>
                <a:gd name="connsiteY8" fmla="*/ 423698 h 423698"/>
                <a:gd name="connsiteX9" fmla="*/ 0 w 423698"/>
                <a:gd name="connsiteY9" fmla="*/ 423698 h 423698"/>
                <a:gd name="connsiteX10" fmla="*/ 0 w 423698"/>
                <a:gd name="connsiteY10" fmla="*/ 0 h 423698"/>
                <a:gd name="connsiteX0" fmla="*/ 0 w 423698"/>
                <a:gd name="connsiteY0" fmla="*/ 0 h 423698"/>
                <a:gd name="connsiteX1" fmla="*/ 423698 w 423698"/>
                <a:gd name="connsiteY1" fmla="*/ 0 h 423698"/>
                <a:gd name="connsiteX2" fmla="*/ 423698 w 423698"/>
                <a:gd name="connsiteY2" fmla="*/ 201564 h 423698"/>
                <a:gd name="connsiteX3" fmla="*/ 360879 w 423698"/>
                <a:gd name="connsiteY3" fmla="*/ 234266 h 423698"/>
                <a:gd name="connsiteX4" fmla="*/ 360879 w 423698"/>
                <a:gd name="connsiteY4" fmla="*/ 62819 h 423698"/>
                <a:gd name="connsiteX5" fmla="*/ 62819 w 423698"/>
                <a:gd name="connsiteY5" fmla="*/ 62819 h 423698"/>
                <a:gd name="connsiteX6" fmla="*/ 62819 w 423698"/>
                <a:gd name="connsiteY6" fmla="*/ 360880 h 423698"/>
                <a:gd name="connsiteX7" fmla="*/ 121466 w 423698"/>
                <a:gd name="connsiteY7" fmla="*/ 423698 h 423698"/>
                <a:gd name="connsiteX8" fmla="*/ 0 w 423698"/>
                <a:gd name="connsiteY8" fmla="*/ 423698 h 423698"/>
                <a:gd name="connsiteX9" fmla="*/ 0 w 423698"/>
                <a:gd name="connsiteY9" fmla="*/ 0 h 423698"/>
                <a:gd name="connsiteX0" fmla="*/ 0 w 423698"/>
                <a:gd name="connsiteY0" fmla="*/ 0 h 423698"/>
                <a:gd name="connsiteX1" fmla="*/ 423698 w 423698"/>
                <a:gd name="connsiteY1" fmla="*/ 0 h 423698"/>
                <a:gd name="connsiteX2" fmla="*/ 423698 w 423698"/>
                <a:gd name="connsiteY2" fmla="*/ 201564 h 423698"/>
                <a:gd name="connsiteX3" fmla="*/ 360879 w 423698"/>
                <a:gd name="connsiteY3" fmla="*/ 62819 h 423698"/>
                <a:gd name="connsiteX4" fmla="*/ 62819 w 423698"/>
                <a:gd name="connsiteY4" fmla="*/ 62819 h 423698"/>
                <a:gd name="connsiteX5" fmla="*/ 62819 w 423698"/>
                <a:gd name="connsiteY5" fmla="*/ 360880 h 423698"/>
                <a:gd name="connsiteX6" fmla="*/ 121466 w 423698"/>
                <a:gd name="connsiteY6" fmla="*/ 423698 h 423698"/>
                <a:gd name="connsiteX7" fmla="*/ 0 w 423698"/>
                <a:gd name="connsiteY7" fmla="*/ 423698 h 423698"/>
                <a:gd name="connsiteX8" fmla="*/ 0 w 423698"/>
                <a:gd name="connsiteY8" fmla="*/ 0 h 423698"/>
                <a:gd name="connsiteX0" fmla="*/ 0 w 423698"/>
                <a:gd name="connsiteY0" fmla="*/ 0 h 423698"/>
                <a:gd name="connsiteX1" fmla="*/ 423698 w 423698"/>
                <a:gd name="connsiteY1" fmla="*/ 0 h 423698"/>
                <a:gd name="connsiteX2" fmla="*/ 423698 w 423698"/>
                <a:gd name="connsiteY2" fmla="*/ 201564 h 423698"/>
                <a:gd name="connsiteX3" fmla="*/ 62819 w 423698"/>
                <a:gd name="connsiteY3" fmla="*/ 62819 h 423698"/>
                <a:gd name="connsiteX4" fmla="*/ 62819 w 423698"/>
                <a:gd name="connsiteY4" fmla="*/ 360880 h 423698"/>
                <a:gd name="connsiteX5" fmla="*/ 121466 w 423698"/>
                <a:gd name="connsiteY5" fmla="*/ 423698 h 423698"/>
                <a:gd name="connsiteX6" fmla="*/ 0 w 423698"/>
                <a:gd name="connsiteY6" fmla="*/ 423698 h 423698"/>
                <a:gd name="connsiteX7" fmla="*/ 0 w 423698"/>
                <a:gd name="connsiteY7" fmla="*/ 0 h 423698"/>
                <a:gd name="connsiteX0" fmla="*/ 0 w 423698"/>
                <a:gd name="connsiteY0" fmla="*/ 0 h 423698"/>
                <a:gd name="connsiteX1" fmla="*/ 423698 w 423698"/>
                <a:gd name="connsiteY1" fmla="*/ 0 h 423698"/>
                <a:gd name="connsiteX2" fmla="*/ 423698 w 423698"/>
                <a:gd name="connsiteY2" fmla="*/ 201564 h 423698"/>
                <a:gd name="connsiteX3" fmla="*/ 62819 w 423698"/>
                <a:gd name="connsiteY3" fmla="*/ 62819 h 423698"/>
                <a:gd name="connsiteX4" fmla="*/ 121466 w 423698"/>
                <a:gd name="connsiteY4" fmla="*/ 423698 h 423698"/>
                <a:gd name="connsiteX5" fmla="*/ 0 w 423698"/>
                <a:gd name="connsiteY5" fmla="*/ 423698 h 423698"/>
                <a:gd name="connsiteX6" fmla="*/ 0 w 423698"/>
                <a:gd name="connsiteY6" fmla="*/ 0 h 423698"/>
                <a:gd name="connsiteX0" fmla="*/ 62819 w 423698"/>
                <a:gd name="connsiteY0" fmla="*/ 62819 h 423698"/>
                <a:gd name="connsiteX1" fmla="*/ 121466 w 423698"/>
                <a:gd name="connsiteY1" fmla="*/ 423698 h 423698"/>
                <a:gd name="connsiteX2" fmla="*/ 0 w 423698"/>
                <a:gd name="connsiteY2" fmla="*/ 423698 h 423698"/>
                <a:gd name="connsiteX3" fmla="*/ 0 w 423698"/>
                <a:gd name="connsiteY3" fmla="*/ 0 h 423698"/>
                <a:gd name="connsiteX4" fmla="*/ 423698 w 423698"/>
                <a:gd name="connsiteY4" fmla="*/ 0 h 423698"/>
                <a:gd name="connsiteX5" fmla="*/ 423698 w 423698"/>
                <a:gd name="connsiteY5" fmla="*/ 201564 h 423698"/>
                <a:gd name="connsiteX6" fmla="*/ 154259 w 423698"/>
                <a:gd name="connsiteY6" fmla="*/ 154259 h 423698"/>
                <a:gd name="connsiteX0" fmla="*/ 62819 w 423698"/>
                <a:gd name="connsiteY0" fmla="*/ 62819 h 423698"/>
                <a:gd name="connsiteX1" fmla="*/ 121466 w 423698"/>
                <a:gd name="connsiteY1" fmla="*/ 423698 h 423698"/>
                <a:gd name="connsiteX2" fmla="*/ 0 w 423698"/>
                <a:gd name="connsiteY2" fmla="*/ 423698 h 423698"/>
                <a:gd name="connsiteX3" fmla="*/ 0 w 423698"/>
                <a:gd name="connsiteY3" fmla="*/ 0 h 423698"/>
                <a:gd name="connsiteX4" fmla="*/ 423698 w 423698"/>
                <a:gd name="connsiteY4" fmla="*/ 0 h 423698"/>
                <a:gd name="connsiteX5" fmla="*/ 423698 w 423698"/>
                <a:gd name="connsiteY5" fmla="*/ 201564 h 423698"/>
                <a:gd name="connsiteX0" fmla="*/ 121466 w 423698"/>
                <a:gd name="connsiteY0" fmla="*/ 423698 h 423698"/>
                <a:gd name="connsiteX1" fmla="*/ 0 w 423698"/>
                <a:gd name="connsiteY1" fmla="*/ 423698 h 423698"/>
                <a:gd name="connsiteX2" fmla="*/ 0 w 423698"/>
                <a:gd name="connsiteY2" fmla="*/ 0 h 423698"/>
                <a:gd name="connsiteX3" fmla="*/ 423698 w 423698"/>
                <a:gd name="connsiteY3" fmla="*/ 0 h 423698"/>
                <a:gd name="connsiteX4" fmla="*/ 423698 w 423698"/>
                <a:gd name="connsiteY4" fmla="*/ 201564 h 42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698" h="423698">
                  <a:moveTo>
                    <a:pt x="121466" y="423698"/>
                  </a:moveTo>
                  <a:lnTo>
                    <a:pt x="0" y="423698"/>
                  </a:lnTo>
                  <a:lnTo>
                    <a:pt x="0" y="0"/>
                  </a:lnTo>
                  <a:lnTo>
                    <a:pt x="423698" y="0"/>
                  </a:lnTo>
                  <a:lnTo>
                    <a:pt x="423698" y="201564"/>
                  </a:lnTo>
                </a:path>
              </a:pathLst>
            </a:custGeom>
            <a:no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Freeform: Shape 159">
              <a:extLst>
                <a:ext uri="{FF2B5EF4-FFF2-40B4-BE49-F238E27FC236}">
                  <a16:creationId xmlns:a16="http://schemas.microsoft.com/office/drawing/2014/main" id="{E46978E1-F241-C345-87AC-0E19B7948B21}"/>
                </a:ext>
              </a:extLst>
            </p:cNvPr>
            <p:cNvSpPr/>
            <p:nvPr/>
          </p:nvSpPr>
          <p:spPr bwMode="auto">
            <a:xfrm>
              <a:off x="5818121" y="1630136"/>
              <a:ext cx="397792" cy="397792"/>
            </a:xfrm>
            <a:custGeom>
              <a:avLst/>
              <a:gdLst>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51967 w 423698"/>
                <a:gd name="connsiteY4" fmla="*/ 410313 h 423698"/>
                <a:gd name="connsiteX5" fmla="*/ 237321 w 423698"/>
                <a:gd name="connsiteY5" fmla="*/ 402364 h 423698"/>
                <a:gd name="connsiteX6" fmla="*/ 233530 w 423698"/>
                <a:gd name="connsiteY6" fmla="*/ 364759 h 423698"/>
                <a:gd name="connsiteX7" fmla="*/ 232378 w 423698"/>
                <a:gd name="connsiteY7" fmla="*/ 360880 h 423698"/>
                <a:gd name="connsiteX8" fmla="*/ 360879 w 423698"/>
                <a:gd name="connsiteY8" fmla="*/ 360880 h 423698"/>
                <a:gd name="connsiteX9" fmla="*/ 360879 w 423698"/>
                <a:gd name="connsiteY9" fmla="*/ 62819 h 423698"/>
                <a:gd name="connsiteX10" fmla="*/ 62819 w 423698"/>
                <a:gd name="connsiteY10" fmla="*/ 62819 h 423698"/>
                <a:gd name="connsiteX11" fmla="*/ 62819 w 423698"/>
                <a:gd name="connsiteY11" fmla="*/ 195945 h 423698"/>
                <a:gd name="connsiteX12" fmla="*/ 59532 w 423698"/>
                <a:gd name="connsiteY12" fmla="*/ 195057 h 423698"/>
                <a:gd name="connsiteX13" fmla="*/ 21159 w 423698"/>
                <a:gd name="connsiteY13" fmla="*/ 191671 h 423698"/>
                <a:gd name="connsiteX14" fmla="*/ 0 w 423698"/>
                <a:gd name="connsiteY14" fmla="*/ 193006 h 423698"/>
                <a:gd name="connsiteX15" fmla="*/ 0 w 423698"/>
                <a:gd name="connsiteY15"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51967 w 423698"/>
                <a:gd name="connsiteY4" fmla="*/ 410313 h 423698"/>
                <a:gd name="connsiteX5" fmla="*/ 237321 w 423698"/>
                <a:gd name="connsiteY5" fmla="*/ 402364 h 423698"/>
                <a:gd name="connsiteX6" fmla="*/ 233530 w 423698"/>
                <a:gd name="connsiteY6" fmla="*/ 364759 h 423698"/>
                <a:gd name="connsiteX7" fmla="*/ 232378 w 423698"/>
                <a:gd name="connsiteY7" fmla="*/ 360880 h 423698"/>
                <a:gd name="connsiteX8" fmla="*/ 360879 w 423698"/>
                <a:gd name="connsiteY8" fmla="*/ 360880 h 423698"/>
                <a:gd name="connsiteX9" fmla="*/ 360879 w 423698"/>
                <a:gd name="connsiteY9" fmla="*/ 62819 h 423698"/>
                <a:gd name="connsiteX10" fmla="*/ 62819 w 423698"/>
                <a:gd name="connsiteY10" fmla="*/ 62819 h 423698"/>
                <a:gd name="connsiteX11" fmla="*/ 62819 w 423698"/>
                <a:gd name="connsiteY11" fmla="*/ 195945 h 423698"/>
                <a:gd name="connsiteX12" fmla="*/ 59532 w 423698"/>
                <a:gd name="connsiteY12" fmla="*/ 195057 h 423698"/>
                <a:gd name="connsiteX13" fmla="*/ 0 w 423698"/>
                <a:gd name="connsiteY13" fmla="*/ 193006 h 423698"/>
                <a:gd name="connsiteX14" fmla="*/ 0 w 423698"/>
                <a:gd name="connsiteY14"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51967 w 423698"/>
                <a:gd name="connsiteY4" fmla="*/ 410313 h 423698"/>
                <a:gd name="connsiteX5" fmla="*/ 237321 w 423698"/>
                <a:gd name="connsiteY5" fmla="*/ 402364 h 423698"/>
                <a:gd name="connsiteX6" fmla="*/ 233530 w 423698"/>
                <a:gd name="connsiteY6" fmla="*/ 364759 h 423698"/>
                <a:gd name="connsiteX7" fmla="*/ 232378 w 423698"/>
                <a:gd name="connsiteY7" fmla="*/ 360880 h 423698"/>
                <a:gd name="connsiteX8" fmla="*/ 360879 w 423698"/>
                <a:gd name="connsiteY8" fmla="*/ 360880 h 423698"/>
                <a:gd name="connsiteX9" fmla="*/ 360879 w 423698"/>
                <a:gd name="connsiteY9" fmla="*/ 62819 h 423698"/>
                <a:gd name="connsiteX10" fmla="*/ 62819 w 423698"/>
                <a:gd name="connsiteY10" fmla="*/ 62819 h 423698"/>
                <a:gd name="connsiteX11" fmla="*/ 62819 w 423698"/>
                <a:gd name="connsiteY11" fmla="*/ 195945 h 423698"/>
                <a:gd name="connsiteX12" fmla="*/ 0 w 423698"/>
                <a:gd name="connsiteY12" fmla="*/ 193006 h 423698"/>
                <a:gd name="connsiteX13" fmla="*/ 0 w 423698"/>
                <a:gd name="connsiteY13"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51967 w 423698"/>
                <a:gd name="connsiteY4" fmla="*/ 410313 h 423698"/>
                <a:gd name="connsiteX5" fmla="*/ 237321 w 423698"/>
                <a:gd name="connsiteY5" fmla="*/ 402364 h 423698"/>
                <a:gd name="connsiteX6" fmla="*/ 233530 w 423698"/>
                <a:gd name="connsiteY6" fmla="*/ 364759 h 423698"/>
                <a:gd name="connsiteX7" fmla="*/ 232378 w 423698"/>
                <a:gd name="connsiteY7" fmla="*/ 360880 h 423698"/>
                <a:gd name="connsiteX8" fmla="*/ 360879 w 423698"/>
                <a:gd name="connsiteY8" fmla="*/ 360880 h 423698"/>
                <a:gd name="connsiteX9" fmla="*/ 360879 w 423698"/>
                <a:gd name="connsiteY9" fmla="*/ 62819 h 423698"/>
                <a:gd name="connsiteX10" fmla="*/ 62819 w 423698"/>
                <a:gd name="connsiteY10" fmla="*/ 195945 h 423698"/>
                <a:gd name="connsiteX11" fmla="*/ 0 w 423698"/>
                <a:gd name="connsiteY11" fmla="*/ 193006 h 423698"/>
                <a:gd name="connsiteX12" fmla="*/ 0 w 423698"/>
                <a:gd name="connsiteY12"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51967 w 423698"/>
                <a:gd name="connsiteY4" fmla="*/ 410313 h 423698"/>
                <a:gd name="connsiteX5" fmla="*/ 233530 w 423698"/>
                <a:gd name="connsiteY5" fmla="*/ 364759 h 423698"/>
                <a:gd name="connsiteX6" fmla="*/ 232378 w 423698"/>
                <a:gd name="connsiteY6" fmla="*/ 360880 h 423698"/>
                <a:gd name="connsiteX7" fmla="*/ 360879 w 423698"/>
                <a:gd name="connsiteY7" fmla="*/ 360880 h 423698"/>
                <a:gd name="connsiteX8" fmla="*/ 360879 w 423698"/>
                <a:gd name="connsiteY8" fmla="*/ 62819 h 423698"/>
                <a:gd name="connsiteX9" fmla="*/ 62819 w 423698"/>
                <a:gd name="connsiteY9" fmla="*/ 195945 h 423698"/>
                <a:gd name="connsiteX10" fmla="*/ 0 w 423698"/>
                <a:gd name="connsiteY10" fmla="*/ 193006 h 423698"/>
                <a:gd name="connsiteX11" fmla="*/ 0 w 423698"/>
                <a:gd name="connsiteY11"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33530 w 423698"/>
                <a:gd name="connsiteY4" fmla="*/ 364759 h 423698"/>
                <a:gd name="connsiteX5" fmla="*/ 232378 w 423698"/>
                <a:gd name="connsiteY5" fmla="*/ 360880 h 423698"/>
                <a:gd name="connsiteX6" fmla="*/ 360879 w 423698"/>
                <a:gd name="connsiteY6" fmla="*/ 360880 h 423698"/>
                <a:gd name="connsiteX7" fmla="*/ 360879 w 423698"/>
                <a:gd name="connsiteY7" fmla="*/ 62819 h 423698"/>
                <a:gd name="connsiteX8" fmla="*/ 62819 w 423698"/>
                <a:gd name="connsiteY8" fmla="*/ 195945 h 423698"/>
                <a:gd name="connsiteX9" fmla="*/ 0 w 423698"/>
                <a:gd name="connsiteY9" fmla="*/ 193006 h 423698"/>
                <a:gd name="connsiteX10" fmla="*/ 0 w 423698"/>
                <a:gd name="connsiteY10"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233530 w 423698"/>
                <a:gd name="connsiteY4" fmla="*/ 364759 h 423698"/>
                <a:gd name="connsiteX5" fmla="*/ 360879 w 423698"/>
                <a:gd name="connsiteY5" fmla="*/ 360880 h 423698"/>
                <a:gd name="connsiteX6" fmla="*/ 360879 w 423698"/>
                <a:gd name="connsiteY6" fmla="*/ 62819 h 423698"/>
                <a:gd name="connsiteX7" fmla="*/ 62819 w 423698"/>
                <a:gd name="connsiteY7" fmla="*/ 195945 h 423698"/>
                <a:gd name="connsiteX8" fmla="*/ 0 w 423698"/>
                <a:gd name="connsiteY8" fmla="*/ 193006 h 423698"/>
                <a:gd name="connsiteX9" fmla="*/ 0 w 423698"/>
                <a:gd name="connsiteY9"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360879 w 423698"/>
                <a:gd name="connsiteY4" fmla="*/ 360880 h 423698"/>
                <a:gd name="connsiteX5" fmla="*/ 360879 w 423698"/>
                <a:gd name="connsiteY5" fmla="*/ 62819 h 423698"/>
                <a:gd name="connsiteX6" fmla="*/ 62819 w 423698"/>
                <a:gd name="connsiteY6" fmla="*/ 195945 h 423698"/>
                <a:gd name="connsiteX7" fmla="*/ 0 w 423698"/>
                <a:gd name="connsiteY7" fmla="*/ 193006 h 423698"/>
                <a:gd name="connsiteX8" fmla="*/ 0 w 423698"/>
                <a:gd name="connsiteY8"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360879 w 423698"/>
                <a:gd name="connsiteY4" fmla="*/ 62819 h 423698"/>
                <a:gd name="connsiteX5" fmla="*/ 62819 w 423698"/>
                <a:gd name="connsiteY5" fmla="*/ 195945 h 423698"/>
                <a:gd name="connsiteX6" fmla="*/ 0 w 423698"/>
                <a:gd name="connsiteY6" fmla="*/ 193006 h 423698"/>
                <a:gd name="connsiteX7" fmla="*/ 0 w 423698"/>
                <a:gd name="connsiteY7" fmla="*/ 0 h 423698"/>
                <a:gd name="connsiteX0" fmla="*/ 0 w 423698"/>
                <a:gd name="connsiteY0" fmla="*/ 0 h 423698"/>
                <a:gd name="connsiteX1" fmla="*/ 423698 w 423698"/>
                <a:gd name="connsiteY1" fmla="*/ 0 h 423698"/>
                <a:gd name="connsiteX2" fmla="*/ 423698 w 423698"/>
                <a:gd name="connsiteY2" fmla="*/ 423698 h 423698"/>
                <a:gd name="connsiteX3" fmla="*/ 267423 w 423698"/>
                <a:gd name="connsiteY3" fmla="*/ 423698 h 423698"/>
                <a:gd name="connsiteX4" fmla="*/ 360879 w 423698"/>
                <a:gd name="connsiteY4" fmla="*/ 62819 h 423698"/>
                <a:gd name="connsiteX5" fmla="*/ 0 w 423698"/>
                <a:gd name="connsiteY5" fmla="*/ 193006 h 423698"/>
                <a:gd name="connsiteX6" fmla="*/ 0 w 423698"/>
                <a:gd name="connsiteY6" fmla="*/ 0 h 423698"/>
                <a:gd name="connsiteX0" fmla="*/ 360879 w 452319"/>
                <a:gd name="connsiteY0" fmla="*/ 62819 h 423698"/>
                <a:gd name="connsiteX1" fmla="*/ 0 w 452319"/>
                <a:gd name="connsiteY1" fmla="*/ 193006 h 423698"/>
                <a:gd name="connsiteX2" fmla="*/ 0 w 452319"/>
                <a:gd name="connsiteY2" fmla="*/ 0 h 423698"/>
                <a:gd name="connsiteX3" fmla="*/ 423698 w 452319"/>
                <a:gd name="connsiteY3" fmla="*/ 0 h 423698"/>
                <a:gd name="connsiteX4" fmla="*/ 423698 w 452319"/>
                <a:gd name="connsiteY4" fmla="*/ 423698 h 423698"/>
                <a:gd name="connsiteX5" fmla="*/ 267423 w 452319"/>
                <a:gd name="connsiteY5" fmla="*/ 423698 h 423698"/>
                <a:gd name="connsiteX6" fmla="*/ 452319 w 452319"/>
                <a:gd name="connsiteY6" fmla="*/ 154259 h 423698"/>
                <a:gd name="connsiteX0" fmla="*/ 0 w 452319"/>
                <a:gd name="connsiteY0" fmla="*/ 193006 h 423698"/>
                <a:gd name="connsiteX1" fmla="*/ 0 w 452319"/>
                <a:gd name="connsiteY1" fmla="*/ 0 h 423698"/>
                <a:gd name="connsiteX2" fmla="*/ 423698 w 452319"/>
                <a:gd name="connsiteY2" fmla="*/ 0 h 423698"/>
                <a:gd name="connsiteX3" fmla="*/ 423698 w 452319"/>
                <a:gd name="connsiteY3" fmla="*/ 423698 h 423698"/>
                <a:gd name="connsiteX4" fmla="*/ 267423 w 452319"/>
                <a:gd name="connsiteY4" fmla="*/ 423698 h 423698"/>
                <a:gd name="connsiteX5" fmla="*/ 452319 w 452319"/>
                <a:gd name="connsiteY5" fmla="*/ 154259 h 423698"/>
                <a:gd name="connsiteX0" fmla="*/ 0 w 423698"/>
                <a:gd name="connsiteY0" fmla="*/ 193006 h 423698"/>
                <a:gd name="connsiteX1" fmla="*/ 0 w 423698"/>
                <a:gd name="connsiteY1" fmla="*/ 0 h 423698"/>
                <a:gd name="connsiteX2" fmla="*/ 423698 w 423698"/>
                <a:gd name="connsiteY2" fmla="*/ 0 h 423698"/>
                <a:gd name="connsiteX3" fmla="*/ 423698 w 423698"/>
                <a:gd name="connsiteY3" fmla="*/ 423698 h 423698"/>
                <a:gd name="connsiteX4" fmla="*/ 267423 w 423698"/>
                <a:gd name="connsiteY4" fmla="*/ 423698 h 42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698" h="423698">
                  <a:moveTo>
                    <a:pt x="0" y="193006"/>
                  </a:moveTo>
                  <a:lnTo>
                    <a:pt x="0" y="0"/>
                  </a:lnTo>
                  <a:lnTo>
                    <a:pt x="423698" y="0"/>
                  </a:lnTo>
                  <a:lnTo>
                    <a:pt x="423698" y="423698"/>
                  </a:lnTo>
                  <a:lnTo>
                    <a:pt x="267423" y="423698"/>
                  </a:lnTo>
                </a:path>
              </a:pathLst>
            </a:custGeom>
            <a:no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Freeform: Shape 160">
              <a:extLst>
                <a:ext uri="{FF2B5EF4-FFF2-40B4-BE49-F238E27FC236}">
                  <a16:creationId xmlns:a16="http://schemas.microsoft.com/office/drawing/2014/main" id="{5448647C-CBBA-6E47-BFB0-02F6F835CF6B}"/>
                </a:ext>
              </a:extLst>
            </p:cNvPr>
            <p:cNvSpPr/>
            <p:nvPr/>
          </p:nvSpPr>
          <p:spPr bwMode="auto">
            <a:xfrm>
              <a:off x="5496410" y="1848461"/>
              <a:ext cx="577730" cy="365853"/>
            </a:xfrm>
            <a:custGeom>
              <a:avLst/>
              <a:gdLst>
                <a:gd name="connsiteX0" fmla="*/ 322629 w 577730"/>
                <a:gd name="connsiteY0" fmla="*/ 0 h 365853"/>
                <a:gd name="connsiteX1" fmla="*/ 496682 w 577730"/>
                <a:gd name="connsiteY1" fmla="*/ 177449 h 365853"/>
                <a:gd name="connsiteX2" fmla="*/ 495309 w 577730"/>
                <a:gd name="connsiteY2" fmla="*/ 191336 h 365853"/>
                <a:gd name="connsiteX3" fmla="*/ 525238 w 577730"/>
                <a:gd name="connsiteY3" fmla="*/ 197496 h 365853"/>
                <a:gd name="connsiteX4" fmla="*/ 577730 w 577730"/>
                <a:gd name="connsiteY4" fmla="*/ 278232 h 365853"/>
                <a:gd name="connsiteX5" fmla="*/ 525238 w 577730"/>
                <a:gd name="connsiteY5" fmla="*/ 358967 h 365853"/>
                <a:gd name="connsiteX6" fmla="*/ 499772 w 577730"/>
                <a:gd name="connsiteY6" fmla="*/ 364208 h 365853"/>
                <a:gd name="connsiteX7" fmla="*/ 495879 w 577730"/>
                <a:gd name="connsiteY7" fmla="*/ 365853 h 365853"/>
                <a:gd name="connsiteX8" fmla="*/ 491785 w 577730"/>
                <a:gd name="connsiteY8" fmla="*/ 365853 h 365853"/>
                <a:gd name="connsiteX9" fmla="*/ 125282 w 577730"/>
                <a:gd name="connsiteY9" fmla="*/ 365853 h 365853"/>
                <a:gd name="connsiteX10" fmla="*/ 109582 w 577730"/>
                <a:gd name="connsiteY10" fmla="*/ 365853 h 365853"/>
                <a:gd name="connsiteX11" fmla="*/ 104532 w 577730"/>
                <a:gd name="connsiteY11" fmla="*/ 363720 h 365853"/>
                <a:gd name="connsiteX12" fmla="*/ 100033 w 577730"/>
                <a:gd name="connsiteY12" fmla="*/ 363258 h 365853"/>
                <a:gd name="connsiteX13" fmla="*/ 0 w 577730"/>
                <a:gd name="connsiteY13" fmla="*/ 238128 h 365853"/>
                <a:gd name="connsiteX14" fmla="*/ 125282 w 577730"/>
                <a:gd name="connsiteY14" fmla="*/ 110403 h 365853"/>
                <a:gd name="connsiteX15" fmla="*/ 150530 w 577730"/>
                <a:gd name="connsiteY15" fmla="*/ 112998 h 365853"/>
                <a:gd name="connsiteX16" fmla="*/ 160700 w 577730"/>
                <a:gd name="connsiteY16" fmla="*/ 116217 h 365853"/>
                <a:gd name="connsiteX17" fmla="*/ 162253 w 577730"/>
                <a:gd name="connsiteY17" fmla="*/ 108378 h 365853"/>
                <a:gd name="connsiteX18" fmla="*/ 322629 w 577730"/>
                <a:gd name="connsiteY18" fmla="*/ 0 h 36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730" h="365853">
                  <a:moveTo>
                    <a:pt x="322629" y="0"/>
                  </a:moveTo>
                  <a:cubicBezTo>
                    <a:pt x="418756" y="0"/>
                    <a:pt x="496682" y="79447"/>
                    <a:pt x="496682" y="177449"/>
                  </a:cubicBezTo>
                  <a:lnTo>
                    <a:pt x="495309" y="191336"/>
                  </a:lnTo>
                  <a:lnTo>
                    <a:pt x="525238" y="197496"/>
                  </a:lnTo>
                  <a:cubicBezTo>
                    <a:pt x="556085" y="210798"/>
                    <a:pt x="577730" y="241938"/>
                    <a:pt x="577730" y="278232"/>
                  </a:cubicBezTo>
                  <a:cubicBezTo>
                    <a:pt x="577730" y="314526"/>
                    <a:pt x="556085" y="345666"/>
                    <a:pt x="525238" y="358967"/>
                  </a:cubicBezTo>
                  <a:lnTo>
                    <a:pt x="499772" y="364208"/>
                  </a:lnTo>
                  <a:lnTo>
                    <a:pt x="495879" y="365853"/>
                  </a:lnTo>
                  <a:lnTo>
                    <a:pt x="491785" y="365853"/>
                  </a:lnTo>
                  <a:lnTo>
                    <a:pt x="125282" y="365853"/>
                  </a:lnTo>
                  <a:lnTo>
                    <a:pt x="109582" y="365853"/>
                  </a:lnTo>
                  <a:lnTo>
                    <a:pt x="104532" y="363720"/>
                  </a:lnTo>
                  <a:lnTo>
                    <a:pt x="100033" y="363258"/>
                  </a:lnTo>
                  <a:cubicBezTo>
                    <a:pt x="42944" y="351348"/>
                    <a:pt x="0" y="299851"/>
                    <a:pt x="0" y="238128"/>
                  </a:cubicBezTo>
                  <a:cubicBezTo>
                    <a:pt x="0" y="167587"/>
                    <a:pt x="56091" y="110403"/>
                    <a:pt x="125282" y="110403"/>
                  </a:cubicBezTo>
                  <a:cubicBezTo>
                    <a:pt x="133930" y="110403"/>
                    <a:pt x="142374" y="111297"/>
                    <a:pt x="150530" y="112998"/>
                  </a:cubicBezTo>
                  <a:lnTo>
                    <a:pt x="160700" y="116217"/>
                  </a:lnTo>
                  <a:lnTo>
                    <a:pt x="162253" y="108378"/>
                  </a:lnTo>
                  <a:cubicBezTo>
                    <a:pt x="188675" y="44689"/>
                    <a:pt x="250533" y="0"/>
                    <a:pt x="322629" y="0"/>
                  </a:cubicBezTo>
                  <a:close/>
                </a:path>
              </a:pathLst>
            </a:custGeom>
            <a:no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Freeform: Shape 161">
              <a:extLst>
                <a:ext uri="{FF2B5EF4-FFF2-40B4-BE49-F238E27FC236}">
                  <a16:creationId xmlns:a16="http://schemas.microsoft.com/office/drawing/2014/main" id="{F134952A-A196-E64C-8809-73FD7C342463}"/>
                </a:ext>
              </a:extLst>
            </p:cNvPr>
            <p:cNvSpPr/>
            <p:nvPr/>
          </p:nvSpPr>
          <p:spPr bwMode="auto">
            <a:xfrm>
              <a:off x="5348504" y="2097790"/>
              <a:ext cx="397792" cy="397792"/>
            </a:xfrm>
            <a:custGeom>
              <a:avLst/>
              <a:gdLst>
                <a:gd name="connsiteX0" fmla="*/ 0 w 423698"/>
                <a:gd name="connsiteY0" fmla="*/ 0 h 423698"/>
                <a:gd name="connsiteX1" fmla="*/ 117582 w 423698"/>
                <a:gd name="connsiteY1" fmla="*/ 0 h 423698"/>
                <a:gd name="connsiteX2" fmla="*/ 117311 w 423698"/>
                <a:gd name="connsiteY2" fmla="*/ 2692 h 423698"/>
                <a:gd name="connsiteX3" fmla="*/ 122437 w 423698"/>
                <a:gd name="connsiteY3" fmla="*/ 43382 h 423698"/>
                <a:gd name="connsiteX4" fmla="*/ 130084 w 423698"/>
                <a:gd name="connsiteY4" fmla="*/ 62819 h 423698"/>
                <a:gd name="connsiteX5" fmla="*/ 62819 w 423698"/>
                <a:gd name="connsiteY5" fmla="*/ 62819 h 423698"/>
                <a:gd name="connsiteX6" fmla="*/ 62819 w 423698"/>
                <a:gd name="connsiteY6" fmla="*/ 360879 h 423698"/>
                <a:gd name="connsiteX7" fmla="*/ 360880 w 423698"/>
                <a:gd name="connsiteY7" fmla="*/ 360879 h 423698"/>
                <a:gd name="connsiteX8" fmla="*/ 360880 w 423698"/>
                <a:gd name="connsiteY8" fmla="*/ 173255 h 423698"/>
                <a:gd name="connsiteX9" fmla="*/ 423698 w 423698"/>
                <a:gd name="connsiteY9" fmla="*/ 173255 h 423698"/>
                <a:gd name="connsiteX10" fmla="*/ 423698 w 423698"/>
                <a:gd name="connsiteY10" fmla="*/ 423698 h 423698"/>
                <a:gd name="connsiteX11" fmla="*/ 0 w 423698"/>
                <a:gd name="connsiteY11" fmla="*/ 423698 h 423698"/>
                <a:gd name="connsiteX12" fmla="*/ 0 w 423698"/>
                <a:gd name="connsiteY12" fmla="*/ 0 h 423698"/>
                <a:gd name="connsiteX0" fmla="*/ 62819 w 423698"/>
                <a:gd name="connsiteY0" fmla="*/ 360879 h 452319"/>
                <a:gd name="connsiteX1" fmla="*/ 360880 w 423698"/>
                <a:gd name="connsiteY1" fmla="*/ 360879 h 452319"/>
                <a:gd name="connsiteX2" fmla="*/ 360880 w 423698"/>
                <a:gd name="connsiteY2" fmla="*/ 173255 h 452319"/>
                <a:gd name="connsiteX3" fmla="*/ 423698 w 423698"/>
                <a:gd name="connsiteY3" fmla="*/ 173255 h 452319"/>
                <a:gd name="connsiteX4" fmla="*/ 423698 w 423698"/>
                <a:gd name="connsiteY4" fmla="*/ 423698 h 452319"/>
                <a:gd name="connsiteX5" fmla="*/ 0 w 423698"/>
                <a:gd name="connsiteY5" fmla="*/ 423698 h 452319"/>
                <a:gd name="connsiteX6" fmla="*/ 0 w 423698"/>
                <a:gd name="connsiteY6" fmla="*/ 0 h 452319"/>
                <a:gd name="connsiteX7" fmla="*/ 117582 w 423698"/>
                <a:gd name="connsiteY7" fmla="*/ 0 h 452319"/>
                <a:gd name="connsiteX8" fmla="*/ 117311 w 423698"/>
                <a:gd name="connsiteY8" fmla="*/ 2692 h 452319"/>
                <a:gd name="connsiteX9" fmla="*/ 122437 w 423698"/>
                <a:gd name="connsiteY9" fmla="*/ 43382 h 452319"/>
                <a:gd name="connsiteX10" fmla="*/ 130084 w 423698"/>
                <a:gd name="connsiteY10" fmla="*/ 62819 h 452319"/>
                <a:gd name="connsiteX11" fmla="*/ 62819 w 423698"/>
                <a:gd name="connsiteY11" fmla="*/ 62819 h 452319"/>
                <a:gd name="connsiteX12" fmla="*/ 154259 w 423698"/>
                <a:gd name="connsiteY12" fmla="*/ 452319 h 452319"/>
                <a:gd name="connsiteX0" fmla="*/ 360880 w 423698"/>
                <a:gd name="connsiteY0" fmla="*/ 360879 h 452319"/>
                <a:gd name="connsiteX1" fmla="*/ 360880 w 423698"/>
                <a:gd name="connsiteY1" fmla="*/ 173255 h 452319"/>
                <a:gd name="connsiteX2" fmla="*/ 423698 w 423698"/>
                <a:gd name="connsiteY2" fmla="*/ 173255 h 452319"/>
                <a:gd name="connsiteX3" fmla="*/ 423698 w 423698"/>
                <a:gd name="connsiteY3" fmla="*/ 423698 h 452319"/>
                <a:gd name="connsiteX4" fmla="*/ 0 w 423698"/>
                <a:gd name="connsiteY4" fmla="*/ 423698 h 452319"/>
                <a:gd name="connsiteX5" fmla="*/ 0 w 423698"/>
                <a:gd name="connsiteY5" fmla="*/ 0 h 452319"/>
                <a:gd name="connsiteX6" fmla="*/ 117582 w 423698"/>
                <a:gd name="connsiteY6" fmla="*/ 0 h 452319"/>
                <a:gd name="connsiteX7" fmla="*/ 117311 w 423698"/>
                <a:gd name="connsiteY7" fmla="*/ 2692 h 452319"/>
                <a:gd name="connsiteX8" fmla="*/ 122437 w 423698"/>
                <a:gd name="connsiteY8" fmla="*/ 43382 h 452319"/>
                <a:gd name="connsiteX9" fmla="*/ 130084 w 423698"/>
                <a:gd name="connsiteY9" fmla="*/ 62819 h 452319"/>
                <a:gd name="connsiteX10" fmla="*/ 62819 w 423698"/>
                <a:gd name="connsiteY10" fmla="*/ 62819 h 452319"/>
                <a:gd name="connsiteX11" fmla="*/ 154259 w 423698"/>
                <a:gd name="connsiteY11" fmla="*/ 452319 h 452319"/>
                <a:gd name="connsiteX0" fmla="*/ 360880 w 423698"/>
                <a:gd name="connsiteY0" fmla="*/ 360879 h 423698"/>
                <a:gd name="connsiteX1" fmla="*/ 360880 w 423698"/>
                <a:gd name="connsiteY1" fmla="*/ 173255 h 423698"/>
                <a:gd name="connsiteX2" fmla="*/ 423698 w 423698"/>
                <a:gd name="connsiteY2" fmla="*/ 173255 h 423698"/>
                <a:gd name="connsiteX3" fmla="*/ 423698 w 423698"/>
                <a:gd name="connsiteY3" fmla="*/ 423698 h 423698"/>
                <a:gd name="connsiteX4" fmla="*/ 0 w 423698"/>
                <a:gd name="connsiteY4" fmla="*/ 423698 h 423698"/>
                <a:gd name="connsiteX5" fmla="*/ 0 w 423698"/>
                <a:gd name="connsiteY5" fmla="*/ 0 h 423698"/>
                <a:gd name="connsiteX6" fmla="*/ 117582 w 423698"/>
                <a:gd name="connsiteY6" fmla="*/ 0 h 423698"/>
                <a:gd name="connsiteX7" fmla="*/ 117311 w 423698"/>
                <a:gd name="connsiteY7" fmla="*/ 2692 h 423698"/>
                <a:gd name="connsiteX8" fmla="*/ 122437 w 423698"/>
                <a:gd name="connsiteY8" fmla="*/ 43382 h 423698"/>
                <a:gd name="connsiteX9" fmla="*/ 130084 w 423698"/>
                <a:gd name="connsiteY9" fmla="*/ 62819 h 423698"/>
                <a:gd name="connsiteX10" fmla="*/ 62819 w 423698"/>
                <a:gd name="connsiteY10" fmla="*/ 62819 h 423698"/>
                <a:gd name="connsiteX0" fmla="*/ 360880 w 423698"/>
                <a:gd name="connsiteY0" fmla="*/ 360879 h 423698"/>
                <a:gd name="connsiteX1" fmla="*/ 360880 w 423698"/>
                <a:gd name="connsiteY1" fmla="*/ 173255 h 423698"/>
                <a:gd name="connsiteX2" fmla="*/ 423698 w 423698"/>
                <a:gd name="connsiteY2" fmla="*/ 173255 h 423698"/>
                <a:gd name="connsiteX3" fmla="*/ 423698 w 423698"/>
                <a:gd name="connsiteY3" fmla="*/ 423698 h 423698"/>
                <a:gd name="connsiteX4" fmla="*/ 0 w 423698"/>
                <a:gd name="connsiteY4" fmla="*/ 423698 h 423698"/>
                <a:gd name="connsiteX5" fmla="*/ 0 w 423698"/>
                <a:gd name="connsiteY5" fmla="*/ 0 h 423698"/>
                <a:gd name="connsiteX6" fmla="*/ 117582 w 423698"/>
                <a:gd name="connsiteY6" fmla="*/ 0 h 423698"/>
                <a:gd name="connsiteX7" fmla="*/ 117311 w 423698"/>
                <a:gd name="connsiteY7" fmla="*/ 2692 h 423698"/>
                <a:gd name="connsiteX8" fmla="*/ 122437 w 423698"/>
                <a:gd name="connsiteY8" fmla="*/ 43382 h 423698"/>
                <a:gd name="connsiteX9" fmla="*/ 130084 w 423698"/>
                <a:gd name="connsiteY9" fmla="*/ 62819 h 423698"/>
                <a:gd name="connsiteX0" fmla="*/ 360880 w 423698"/>
                <a:gd name="connsiteY0" fmla="*/ 360879 h 423698"/>
                <a:gd name="connsiteX1" fmla="*/ 360880 w 423698"/>
                <a:gd name="connsiteY1" fmla="*/ 173255 h 423698"/>
                <a:gd name="connsiteX2" fmla="*/ 423698 w 423698"/>
                <a:gd name="connsiteY2" fmla="*/ 173255 h 423698"/>
                <a:gd name="connsiteX3" fmla="*/ 423698 w 423698"/>
                <a:gd name="connsiteY3" fmla="*/ 423698 h 423698"/>
                <a:gd name="connsiteX4" fmla="*/ 0 w 423698"/>
                <a:gd name="connsiteY4" fmla="*/ 423698 h 423698"/>
                <a:gd name="connsiteX5" fmla="*/ 0 w 423698"/>
                <a:gd name="connsiteY5" fmla="*/ 0 h 423698"/>
                <a:gd name="connsiteX6" fmla="*/ 117582 w 423698"/>
                <a:gd name="connsiteY6" fmla="*/ 0 h 423698"/>
                <a:gd name="connsiteX7" fmla="*/ 117311 w 423698"/>
                <a:gd name="connsiteY7" fmla="*/ 2692 h 423698"/>
                <a:gd name="connsiteX8" fmla="*/ 122437 w 423698"/>
                <a:gd name="connsiteY8" fmla="*/ 43382 h 423698"/>
                <a:gd name="connsiteX0" fmla="*/ 360880 w 423698"/>
                <a:gd name="connsiteY0" fmla="*/ 360879 h 423698"/>
                <a:gd name="connsiteX1" fmla="*/ 360880 w 423698"/>
                <a:gd name="connsiteY1" fmla="*/ 173255 h 423698"/>
                <a:gd name="connsiteX2" fmla="*/ 423698 w 423698"/>
                <a:gd name="connsiteY2" fmla="*/ 173255 h 423698"/>
                <a:gd name="connsiteX3" fmla="*/ 423698 w 423698"/>
                <a:gd name="connsiteY3" fmla="*/ 423698 h 423698"/>
                <a:gd name="connsiteX4" fmla="*/ 0 w 423698"/>
                <a:gd name="connsiteY4" fmla="*/ 423698 h 423698"/>
                <a:gd name="connsiteX5" fmla="*/ 0 w 423698"/>
                <a:gd name="connsiteY5" fmla="*/ 0 h 423698"/>
                <a:gd name="connsiteX6" fmla="*/ 117582 w 423698"/>
                <a:gd name="connsiteY6" fmla="*/ 0 h 423698"/>
                <a:gd name="connsiteX7" fmla="*/ 117311 w 423698"/>
                <a:gd name="connsiteY7" fmla="*/ 2692 h 423698"/>
                <a:gd name="connsiteX0" fmla="*/ 360880 w 423698"/>
                <a:gd name="connsiteY0" fmla="*/ 173255 h 423698"/>
                <a:gd name="connsiteX1" fmla="*/ 423698 w 423698"/>
                <a:gd name="connsiteY1" fmla="*/ 173255 h 423698"/>
                <a:gd name="connsiteX2" fmla="*/ 423698 w 423698"/>
                <a:gd name="connsiteY2" fmla="*/ 423698 h 423698"/>
                <a:gd name="connsiteX3" fmla="*/ 0 w 423698"/>
                <a:gd name="connsiteY3" fmla="*/ 423698 h 423698"/>
                <a:gd name="connsiteX4" fmla="*/ 0 w 423698"/>
                <a:gd name="connsiteY4" fmla="*/ 0 h 423698"/>
                <a:gd name="connsiteX5" fmla="*/ 117582 w 423698"/>
                <a:gd name="connsiteY5" fmla="*/ 0 h 423698"/>
                <a:gd name="connsiteX6" fmla="*/ 117311 w 423698"/>
                <a:gd name="connsiteY6" fmla="*/ 2692 h 423698"/>
                <a:gd name="connsiteX0" fmla="*/ 360880 w 423698"/>
                <a:gd name="connsiteY0" fmla="*/ 173255 h 423698"/>
                <a:gd name="connsiteX1" fmla="*/ 423698 w 423698"/>
                <a:gd name="connsiteY1" fmla="*/ 173255 h 423698"/>
                <a:gd name="connsiteX2" fmla="*/ 423698 w 423698"/>
                <a:gd name="connsiteY2" fmla="*/ 423698 h 423698"/>
                <a:gd name="connsiteX3" fmla="*/ 0 w 423698"/>
                <a:gd name="connsiteY3" fmla="*/ 423698 h 423698"/>
                <a:gd name="connsiteX4" fmla="*/ 0 w 423698"/>
                <a:gd name="connsiteY4" fmla="*/ 0 h 423698"/>
                <a:gd name="connsiteX5" fmla="*/ 117582 w 423698"/>
                <a:gd name="connsiteY5" fmla="*/ 0 h 423698"/>
                <a:gd name="connsiteX0" fmla="*/ 423698 w 423698"/>
                <a:gd name="connsiteY0" fmla="*/ 173255 h 423698"/>
                <a:gd name="connsiteX1" fmla="*/ 423698 w 423698"/>
                <a:gd name="connsiteY1" fmla="*/ 423698 h 423698"/>
                <a:gd name="connsiteX2" fmla="*/ 0 w 423698"/>
                <a:gd name="connsiteY2" fmla="*/ 423698 h 423698"/>
                <a:gd name="connsiteX3" fmla="*/ 0 w 423698"/>
                <a:gd name="connsiteY3" fmla="*/ 0 h 423698"/>
                <a:gd name="connsiteX4" fmla="*/ 117582 w 423698"/>
                <a:gd name="connsiteY4" fmla="*/ 0 h 42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698" h="423698">
                  <a:moveTo>
                    <a:pt x="423698" y="173255"/>
                  </a:moveTo>
                  <a:lnTo>
                    <a:pt x="423698" y="423698"/>
                  </a:lnTo>
                  <a:lnTo>
                    <a:pt x="0" y="423698"/>
                  </a:lnTo>
                  <a:lnTo>
                    <a:pt x="0" y="0"/>
                  </a:lnTo>
                  <a:lnTo>
                    <a:pt x="117582" y="0"/>
                  </a:lnTo>
                </a:path>
              </a:pathLst>
            </a:custGeom>
            <a:no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Freeform: Shape 162">
              <a:extLst>
                <a:ext uri="{FF2B5EF4-FFF2-40B4-BE49-F238E27FC236}">
                  <a16:creationId xmlns:a16="http://schemas.microsoft.com/office/drawing/2014/main" id="{D9D5A590-2C10-B145-8C0D-2A2E7518F68D}"/>
                </a:ext>
              </a:extLst>
            </p:cNvPr>
            <p:cNvSpPr/>
            <p:nvPr/>
          </p:nvSpPr>
          <p:spPr bwMode="auto">
            <a:xfrm>
              <a:off x="5818121" y="2097790"/>
              <a:ext cx="397792" cy="397792"/>
            </a:xfrm>
            <a:custGeom>
              <a:avLst/>
              <a:gdLst>
                <a:gd name="connsiteX0" fmla="*/ 300015 w 423698"/>
                <a:gd name="connsiteY0" fmla="*/ 0 h 423698"/>
                <a:gd name="connsiteX1" fmla="*/ 423698 w 423698"/>
                <a:gd name="connsiteY1" fmla="*/ 0 h 423698"/>
                <a:gd name="connsiteX2" fmla="*/ 423698 w 423698"/>
                <a:gd name="connsiteY2" fmla="*/ 423698 h 423698"/>
                <a:gd name="connsiteX3" fmla="*/ 0 w 423698"/>
                <a:gd name="connsiteY3" fmla="*/ 423698 h 423698"/>
                <a:gd name="connsiteX4" fmla="*/ 0 w 423698"/>
                <a:gd name="connsiteY4" fmla="*/ 173255 h 423698"/>
                <a:gd name="connsiteX5" fmla="*/ 62819 w 423698"/>
                <a:gd name="connsiteY5" fmla="*/ 173255 h 423698"/>
                <a:gd name="connsiteX6" fmla="*/ 62819 w 423698"/>
                <a:gd name="connsiteY6" fmla="*/ 360879 h 423698"/>
                <a:gd name="connsiteX7" fmla="*/ 360880 w 423698"/>
                <a:gd name="connsiteY7" fmla="*/ 360879 h 423698"/>
                <a:gd name="connsiteX8" fmla="*/ 360880 w 423698"/>
                <a:gd name="connsiteY8" fmla="*/ 62819 h 423698"/>
                <a:gd name="connsiteX9" fmla="*/ 307337 w 423698"/>
                <a:gd name="connsiteY9" fmla="*/ 62819 h 423698"/>
                <a:gd name="connsiteX10" fmla="*/ 307558 w 423698"/>
                <a:gd name="connsiteY10" fmla="*/ 61858 h 423698"/>
                <a:gd name="connsiteX11" fmla="*/ 308958 w 423698"/>
                <a:gd name="connsiteY11" fmla="*/ 43363 h 423698"/>
                <a:gd name="connsiteX12" fmla="*/ 305135 w 423698"/>
                <a:gd name="connsiteY12" fmla="*/ 13012 h 423698"/>
                <a:gd name="connsiteX13" fmla="*/ 300015 w 423698"/>
                <a:gd name="connsiteY13" fmla="*/ 0 h 423698"/>
                <a:gd name="connsiteX0" fmla="*/ 360880 w 452320"/>
                <a:gd name="connsiteY0" fmla="*/ 360879 h 452319"/>
                <a:gd name="connsiteX1" fmla="*/ 360880 w 452320"/>
                <a:gd name="connsiteY1" fmla="*/ 62819 h 452319"/>
                <a:gd name="connsiteX2" fmla="*/ 307337 w 452320"/>
                <a:gd name="connsiteY2" fmla="*/ 62819 h 452319"/>
                <a:gd name="connsiteX3" fmla="*/ 307558 w 452320"/>
                <a:gd name="connsiteY3" fmla="*/ 61858 h 452319"/>
                <a:gd name="connsiteX4" fmla="*/ 308958 w 452320"/>
                <a:gd name="connsiteY4" fmla="*/ 43363 h 452319"/>
                <a:gd name="connsiteX5" fmla="*/ 305135 w 452320"/>
                <a:gd name="connsiteY5" fmla="*/ 13012 h 452319"/>
                <a:gd name="connsiteX6" fmla="*/ 300015 w 452320"/>
                <a:gd name="connsiteY6" fmla="*/ 0 h 452319"/>
                <a:gd name="connsiteX7" fmla="*/ 423698 w 452320"/>
                <a:gd name="connsiteY7" fmla="*/ 0 h 452319"/>
                <a:gd name="connsiteX8" fmla="*/ 423698 w 452320"/>
                <a:gd name="connsiteY8" fmla="*/ 423698 h 452319"/>
                <a:gd name="connsiteX9" fmla="*/ 0 w 452320"/>
                <a:gd name="connsiteY9" fmla="*/ 423698 h 452319"/>
                <a:gd name="connsiteX10" fmla="*/ 0 w 452320"/>
                <a:gd name="connsiteY10" fmla="*/ 173255 h 452319"/>
                <a:gd name="connsiteX11" fmla="*/ 62819 w 452320"/>
                <a:gd name="connsiteY11" fmla="*/ 173255 h 452319"/>
                <a:gd name="connsiteX12" fmla="*/ 62819 w 452320"/>
                <a:gd name="connsiteY12" fmla="*/ 360879 h 452319"/>
                <a:gd name="connsiteX13" fmla="*/ 452320 w 452320"/>
                <a:gd name="connsiteY13" fmla="*/ 452319 h 452319"/>
                <a:gd name="connsiteX0" fmla="*/ 360880 w 423698"/>
                <a:gd name="connsiteY0" fmla="*/ 360879 h 423698"/>
                <a:gd name="connsiteX1" fmla="*/ 360880 w 423698"/>
                <a:gd name="connsiteY1" fmla="*/ 62819 h 423698"/>
                <a:gd name="connsiteX2" fmla="*/ 307337 w 423698"/>
                <a:gd name="connsiteY2" fmla="*/ 62819 h 423698"/>
                <a:gd name="connsiteX3" fmla="*/ 307558 w 423698"/>
                <a:gd name="connsiteY3" fmla="*/ 61858 h 423698"/>
                <a:gd name="connsiteX4" fmla="*/ 308958 w 423698"/>
                <a:gd name="connsiteY4" fmla="*/ 43363 h 423698"/>
                <a:gd name="connsiteX5" fmla="*/ 305135 w 423698"/>
                <a:gd name="connsiteY5" fmla="*/ 13012 h 423698"/>
                <a:gd name="connsiteX6" fmla="*/ 300015 w 423698"/>
                <a:gd name="connsiteY6" fmla="*/ 0 h 423698"/>
                <a:gd name="connsiteX7" fmla="*/ 423698 w 423698"/>
                <a:gd name="connsiteY7" fmla="*/ 0 h 423698"/>
                <a:gd name="connsiteX8" fmla="*/ 423698 w 423698"/>
                <a:gd name="connsiteY8" fmla="*/ 423698 h 423698"/>
                <a:gd name="connsiteX9" fmla="*/ 0 w 423698"/>
                <a:gd name="connsiteY9" fmla="*/ 423698 h 423698"/>
                <a:gd name="connsiteX10" fmla="*/ 0 w 423698"/>
                <a:gd name="connsiteY10" fmla="*/ 173255 h 423698"/>
                <a:gd name="connsiteX11" fmla="*/ 62819 w 423698"/>
                <a:gd name="connsiteY11" fmla="*/ 173255 h 423698"/>
                <a:gd name="connsiteX12" fmla="*/ 62819 w 423698"/>
                <a:gd name="connsiteY12" fmla="*/ 360879 h 423698"/>
                <a:gd name="connsiteX0" fmla="*/ 360880 w 423698"/>
                <a:gd name="connsiteY0" fmla="*/ 62819 h 423698"/>
                <a:gd name="connsiteX1" fmla="*/ 307337 w 423698"/>
                <a:gd name="connsiteY1" fmla="*/ 62819 h 423698"/>
                <a:gd name="connsiteX2" fmla="*/ 307558 w 423698"/>
                <a:gd name="connsiteY2" fmla="*/ 61858 h 423698"/>
                <a:gd name="connsiteX3" fmla="*/ 308958 w 423698"/>
                <a:gd name="connsiteY3" fmla="*/ 43363 h 423698"/>
                <a:gd name="connsiteX4" fmla="*/ 305135 w 423698"/>
                <a:gd name="connsiteY4" fmla="*/ 13012 h 423698"/>
                <a:gd name="connsiteX5" fmla="*/ 300015 w 423698"/>
                <a:gd name="connsiteY5" fmla="*/ 0 h 423698"/>
                <a:gd name="connsiteX6" fmla="*/ 423698 w 423698"/>
                <a:gd name="connsiteY6" fmla="*/ 0 h 423698"/>
                <a:gd name="connsiteX7" fmla="*/ 423698 w 423698"/>
                <a:gd name="connsiteY7" fmla="*/ 423698 h 423698"/>
                <a:gd name="connsiteX8" fmla="*/ 0 w 423698"/>
                <a:gd name="connsiteY8" fmla="*/ 423698 h 423698"/>
                <a:gd name="connsiteX9" fmla="*/ 0 w 423698"/>
                <a:gd name="connsiteY9" fmla="*/ 173255 h 423698"/>
                <a:gd name="connsiteX10" fmla="*/ 62819 w 423698"/>
                <a:gd name="connsiteY10" fmla="*/ 173255 h 423698"/>
                <a:gd name="connsiteX11" fmla="*/ 62819 w 423698"/>
                <a:gd name="connsiteY11" fmla="*/ 360879 h 423698"/>
                <a:gd name="connsiteX0" fmla="*/ 307337 w 423698"/>
                <a:gd name="connsiteY0" fmla="*/ 62819 h 423698"/>
                <a:gd name="connsiteX1" fmla="*/ 307558 w 423698"/>
                <a:gd name="connsiteY1" fmla="*/ 61858 h 423698"/>
                <a:gd name="connsiteX2" fmla="*/ 308958 w 423698"/>
                <a:gd name="connsiteY2" fmla="*/ 43363 h 423698"/>
                <a:gd name="connsiteX3" fmla="*/ 305135 w 423698"/>
                <a:gd name="connsiteY3" fmla="*/ 13012 h 423698"/>
                <a:gd name="connsiteX4" fmla="*/ 300015 w 423698"/>
                <a:gd name="connsiteY4" fmla="*/ 0 h 423698"/>
                <a:gd name="connsiteX5" fmla="*/ 423698 w 423698"/>
                <a:gd name="connsiteY5" fmla="*/ 0 h 423698"/>
                <a:gd name="connsiteX6" fmla="*/ 423698 w 423698"/>
                <a:gd name="connsiteY6" fmla="*/ 423698 h 423698"/>
                <a:gd name="connsiteX7" fmla="*/ 0 w 423698"/>
                <a:gd name="connsiteY7" fmla="*/ 423698 h 423698"/>
                <a:gd name="connsiteX8" fmla="*/ 0 w 423698"/>
                <a:gd name="connsiteY8" fmla="*/ 173255 h 423698"/>
                <a:gd name="connsiteX9" fmla="*/ 62819 w 423698"/>
                <a:gd name="connsiteY9" fmla="*/ 173255 h 423698"/>
                <a:gd name="connsiteX10" fmla="*/ 62819 w 423698"/>
                <a:gd name="connsiteY10" fmla="*/ 360879 h 423698"/>
                <a:gd name="connsiteX0" fmla="*/ 307337 w 423698"/>
                <a:gd name="connsiteY0" fmla="*/ 62819 h 423698"/>
                <a:gd name="connsiteX1" fmla="*/ 308958 w 423698"/>
                <a:gd name="connsiteY1" fmla="*/ 43363 h 423698"/>
                <a:gd name="connsiteX2" fmla="*/ 305135 w 423698"/>
                <a:gd name="connsiteY2" fmla="*/ 13012 h 423698"/>
                <a:gd name="connsiteX3" fmla="*/ 300015 w 423698"/>
                <a:gd name="connsiteY3" fmla="*/ 0 h 423698"/>
                <a:gd name="connsiteX4" fmla="*/ 423698 w 423698"/>
                <a:gd name="connsiteY4" fmla="*/ 0 h 423698"/>
                <a:gd name="connsiteX5" fmla="*/ 423698 w 423698"/>
                <a:gd name="connsiteY5" fmla="*/ 423698 h 423698"/>
                <a:gd name="connsiteX6" fmla="*/ 0 w 423698"/>
                <a:gd name="connsiteY6" fmla="*/ 423698 h 423698"/>
                <a:gd name="connsiteX7" fmla="*/ 0 w 423698"/>
                <a:gd name="connsiteY7" fmla="*/ 173255 h 423698"/>
                <a:gd name="connsiteX8" fmla="*/ 62819 w 423698"/>
                <a:gd name="connsiteY8" fmla="*/ 173255 h 423698"/>
                <a:gd name="connsiteX9" fmla="*/ 62819 w 423698"/>
                <a:gd name="connsiteY9" fmla="*/ 360879 h 423698"/>
                <a:gd name="connsiteX0" fmla="*/ 307337 w 423698"/>
                <a:gd name="connsiteY0" fmla="*/ 62819 h 423698"/>
                <a:gd name="connsiteX1" fmla="*/ 305135 w 423698"/>
                <a:gd name="connsiteY1" fmla="*/ 13012 h 423698"/>
                <a:gd name="connsiteX2" fmla="*/ 300015 w 423698"/>
                <a:gd name="connsiteY2" fmla="*/ 0 h 423698"/>
                <a:gd name="connsiteX3" fmla="*/ 423698 w 423698"/>
                <a:gd name="connsiteY3" fmla="*/ 0 h 423698"/>
                <a:gd name="connsiteX4" fmla="*/ 423698 w 423698"/>
                <a:gd name="connsiteY4" fmla="*/ 423698 h 423698"/>
                <a:gd name="connsiteX5" fmla="*/ 0 w 423698"/>
                <a:gd name="connsiteY5" fmla="*/ 423698 h 423698"/>
                <a:gd name="connsiteX6" fmla="*/ 0 w 423698"/>
                <a:gd name="connsiteY6" fmla="*/ 173255 h 423698"/>
                <a:gd name="connsiteX7" fmla="*/ 62819 w 423698"/>
                <a:gd name="connsiteY7" fmla="*/ 173255 h 423698"/>
                <a:gd name="connsiteX8" fmla="*/ 62819 w 423698"/>
                <a:gd name="connsiteY8" fmla="*/ 360879 h 423698"/>
                <a:gd name="connsiteX0" fmla="*/ 305135 w 423698"/>
                <a:gd name="connsiteY0" fmla="*/ 13012 h 423698"/>
                <a:gd name="connsiteX1" fmla="*/ 300015 w 423698"/>
                <a:gd name="connsiteY1" fmla="*/ 0 h 423698"/>
                <a:gd name="connsiteX2" fmla="*/ 423698 w 423698"/>
                <a:gd name="connsiteY2" fmla="*/ 0 h 423698"/>
                <a:gd name="connsiteX3" fmla="*/ 423698 w 423698"/>
                <a:gd name="connsiteY3" fmla="*/ 423698 h 423698"/>
                <a:gd name="connsiteX4" fmla="*/ 0 w 423698"/>
                <a:gd name="connsiteY4" fmla="*/ 423698 h 423698"/>
                <a:gd name="connsiteX5" fmla="*/ 0 w 423698"/>
                <a:gd name="connsiteY5" fmla="*/ 173255 h 423698"/>
                <a:gd name="connsiteX6" fmla="*/ 62819 w 423698"/>
                <a:gd name="connsiteY6" fmla="*/ 173255 h 423698"/>
                <a:gd name="connsiteX7" fmla="*/ 62819 w 423698"/>
                <a:gd name="connsiteY7" fmla="*/ 360879 h 423698"/>
                <a:gd name="connsiteX0" fmla="*/ 300015 w 423698"/>
                <a:gd name="connsiteY0" fmla="*/ 0 h 423698"/>
                <a:gd name="connsiteX1" fmla="*/ 423698 w 423698"/>
                <a:gd name="connsiteY1" fmla="*/ 0 h 423698"/>
                <a:gd name="connsiteX2" fmla="*/ 423698 w 423698"/>
                <a:gd name="connsiteY2" fmla="*/ 423698 h 423698"/>
                <a:gd name="connsiteX3" fmla="*/ 0 w 423698"/>
                <a:gd name="connsiteY3" fmla="*/ 423698 h 423698"/>
                <a:gd name="connsiteX4" fmla="*/ 0 w 423698"/>
                <a:gd name="connsiteY4" fmla="*/ 173255 h 423698"/>
                <a:gd name="connsiteX5" fmla="*/ 62819 w 423698"/>
                <a:gd name="connsiteY5" fmla="*/ 173255 h 423698"/>
                <a:gd name="connsiteX6" fmla="*/ 62819 w 423698"/>
                <a:gd name="connsiteY6" fmla="*/ 360879 h 423698"/>
                <a:gd name="connsiteX0" fmla="*/ 300015 w 423698"/>
                <a:gd name="connsiteY0" fmla="*/ 0 h 423698"/>
                <a:gd name="connsiteX1" fmla="*/ 423698 w 423698"/>
                <a:gd name="connsiteY1" fmla="*/ 0 h 423698"/>
                <a:gd name="connsiteX2" fmla="*/ 423698 w 423698"/>
                <a:gd name="connsiteY2" fmla="*/ 423698 h 423698"/>
                <a:gd name="connsiteX3" fmla="*/ 0 w 423698"/>
                <a:gd name="connsiteY3" fmla="*/ 423698 h 423698"/>
                <a:gd name="connsiteX4" fmla="*/ 0 w 423698"/>
                <a:gd name="connsiteY4" fmla="*/ 173255 h 423698"/>
                <a:gd name="connsiteX5" fmla="*/ 62819 w 423698"/>
                <a:gd name="connsiteY5" fmla="*/ 173255 h 423698"/>
                <a:gd name="connsiteX0" fmla="*/ 300015 w 423698"/>
                <a:gd name="connsiteY0" fmla="*/ 0 h 423698"/>
                <a:gd name="connsiteX1" fmla="*/ 423698 w 423698"/>
                <a:gd name="connsiteY1" fmla="*/ 0 h 423698"/>
                <a:gd name="connsiteX2" fmla="*/ 423698 w 423698"/>
                <a:gd name="connsiteY2" fmla="*/ 423698 h 423698"/>
                <a:gd name="connsiteX3" fmla="*/ 0 w 423698"/>
                <a:gd name="connsiteY3" fmla="*/ 423698 h 423698"/>
                <a:gd name="connsiteX4" fmla="*/ 0 w 423698"/>
                <a:gd name="connsiteY4" fmla="*/ 173255 h 42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698" h="423698">
                  <a:moveTo>
                    <a:pt x="300015" y="0"/>
                  </a:moveTo>
                  <a:lnTo>
                    <a:pt x="423698" y="0"/>
                  </a:lnTo>
                  <a:lnTo>
                    <a:pt x="423698" y="423698"/>
                  </a:lnTo>
                  <a:lnTo>
                    <a:pt x="0" y="423698"/>
                  </a:lnTo>
                  <a:lnTo>
                    <a:pt x="0" y="173255"/>
                  </a:lnTo>
                </a:path>
              </a:pathLst>
            </a:custGeom>
            <a:no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61" name="Group 60">
            <a:extLst>
              <a:ext uri="{FF2B5EF4-FFF2-40B4-BE49-F238E27FC236}">
                <a16:creationId xmlns:a16="http://schemas.microsoft.com/office/drawing/2014/main" id="{4D44A19C-CC7C-CD45-A1A5-E5CE6AE3B73B}"/>
              </a:ext>
            </a:extLst>
          </p:cNvPr>
          <p:cNvGrpSpPr/>
          <p:nvPr/>
        </p:nvGrpSpPr>
        <p:grpSpPr>
          <a:xfrm>
            <a:off x="510539" y="2494844"/>
            <a:ext cx="259920" cy="261053"/>
            <a:chOff x="5279190" y="5401430"/>
            <a:chExt cx="1101836" cy="1106637"/>
          </a:xfrm>
          <a:noFill/>
        </p:grpSpPr>
        <p:sp>
          <p:nvSpPr>
            <p:cNvPr id="62" name="Freeform: Shape 815">
              <a:extLst>
                <a:ext uri="{FF2B5EF4-FFF2-40B4-BE49-F238E27FC236}">
                  <a16:creationId xmlns:a16="http://schemas.microsoft.com/office/drawing/2014/main" id="{46660744-2BC1-CC43-8398-AC65FEE8E059}"/>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63" name="Freeform: Shape 816">
              <a:extLst>
                <a:ext uri="{FF2B5EF4-FFF2-40B4-BE49-F238E27FC236}">
                  <a16:creationId xmlns:a16="http://schemas.microsoft.com/office/drawing/2014/main" id="{70E0CDD1-F8FA-1840-8A93-DC5B74EE3DC6}"/>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64" name="Freeform: Shape 817">
              <a:extLst>
                <a:ext uri="{FF2B5EF4-FFF2-40B4-BE49-F238E27FC236}">
                  <a16:creationId xmlns:a16="http://schemas.microsoft.com/office/drawing/2014/main" id="{80029A4D-3B37-134C-A4D5-F943BBE1D276}"/>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grp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65" name="Freeform: Shape 818">
              <a:extLst>
                <a:ext uri="{FF2B5EF4-FFF2-40B4-BE49-F238E27FC236}">
                  <a16:creationId xmlns:a16="http://schemas.microsoft.com/office/drawing/2014/main" id="{FFB8EC0D-5324-904C-AA88-524B636970AA}"/>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grp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useBgFill="1">
          <p:nvSpPr>
            <p:cNvPr id="67" name="Freeform: Shape 819">
              <a:extLst>
                <a:ext uri="{FF2B5EF4-FFF2-40B4-BE49-F238E27FC236}">
                  <a16:creationId xmlns:a16="http://schemas.microsoft.com/office/drawing/2014/main" id="{2DAFBEEA-C922-1543-A9CC-6AD1AA53D747}"/>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grp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grpSp>
      <p:grpSp>
        <p:nvGrpSpPr>
          <p:cNvPr id="68" name="Group 67">
            <a:extLst>
              <a:ext uri="{FF2B5EF4-FFF2-40B4-BE49-F238E27FC236}">
                <a16:creationId xmlns:a16="http://schemas.microsoft.com/office/drawing/2014/main" id="{8C685BF8-A4B2-D846-8A31-882155DC4A4B}"/>
              </a:ext>
            </a:extLst>
          </p:cNvPr>
          <p:cNvGrpSpPr/>
          <p:nvPr/>
        </p:nvGrpSpPr>
        <p:grpSpPr>
          <a:xfrm>
            <a:off x="457336" y="3118118"/>
            <a:ext cx="366327" cy="285212"/>
            <a:chOff x="2062250" y="1828801"/>
            <a:chExt cx="438091" cy="341085"/>
          </a:xfrm>
        </p:grpSpPr>
        <p:grpSp>
          <p:nvGrpSpPr>
            <p:cNvPr id="72" name="Group 71">
              <a:extLst>
                <a:ext uri="{FF2B5EF4-FFF2-40B4-BE49-F238E27FC236}">
                  <a16:creationId xmlns:a16="http://schemas.microsoft.com/office/drawing/2014/main" id="{4D9BC49D-4CE7-E146-8B99-C26FE9FA9174}"/>
                </a:ext>
              </a:extLst>
            </p:cNvPr>
            <p:cNvGrpSpPr/>
            <p:nvPr/>
          </p:nvGrpSpPr>
          <p:grpSpPr>
            <a:xfrm>
              <a:off x="2062250" y="1828801"/>
              <a:ext cx="180067" cy="140947"/>
              <a:chOff x="2438399" y="1828800"/>
              <a:chExt cx="1923143" cy="1799771"/>
            </a:xfrm>
            <a:noFill/>
          </p:grpSpPr>
          <p:sp>
            <p:nvSpPr>
              <p:cNvPr id="86" name="Rectangle 85">
                <a:extLst>
                  <a:ext uri="{FF2B5EF4-FFF2-40B4-BE49-F238E27FC236}">
                    <a16:creationId xmlns:a16="http://schemas.microsoft.com/office/drawing/2014/main" id="{7EEA0A01-9BBA-434F-BED1-CEFB1CD817C6}"/>
                  </a:ext>
                </a:extLst>
              </p:cNvPr>
              <p:cNvSpPr/>
              <p:nvPr/>
            </p:nvSpPr>
            <p:spPr bwMode="auto">
              <a:xfrm>
                <a:off x="2438399" y="1828800"/>
                <a:ext cx="1923143" cy="1799771"/>
              </a:xfrm>
              <a:prstGeom prst="rect">
                <a:avLst/>
              </a:prstGeom>
              <a:grp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7" name="Straight Connector 86">
                <a:extLst>
                  <a:ext uri="{FF2B5EF4-FFF2-40B4-BE49-F238E27FC236}">
                    <a16:creationId xmlns:a16="http://schemas.microsoft.com/office/drawing/2014/main" id="{7DB740D7-071C-714B-8F3F-D0BA3C12848A}"/>
                  </a:ext>
                </a:extLst>
              </p:cNvPr>
              <p:cNvCxnSpPr>
                <a:cxnSpLocks/>
              </p:cNvCxnSpPr>
              <p:nvPr/>
            </p:nvCxnSpPr>
            <p:spPr>
              <a:xfrm>
                <a:off x="2438399" y="2258786"/>
                <a:ext cx="1923143" cy="0"/>
              </a:xfrm>
              <a:prstGeom prst="line">
                <a:avLst/>
              </a:prstGeom>
              <a:grpFill/>
              <a:ln w="1270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F47F6226-59AD-6F4A-A6F0-0300CB0F0C34}"/>
                </a:ext>
              </a:extLst>
            </p:cNvPr>
            <p:cNvGrpSpPr/>
            <p:nvPr/>
          </p:nvGrpSpPr>
          <p:grpSpPr>
            <a:xfrm>
              <a:off x="2093480" y="2028939"/>
              <a:ext cx="180067" cy="140947"/>
              <a:chOff x="2438399" y="1828800"/>
              <a:chExt cx="1923143" cy="1799771"/>
            </a:xfrm>
            <a:noFill/>
          </p:grpSpPr>
          <p:sp>
            <p:nvSpPr>
              <p:cNvPr id="84" name="Rectangle 83">
                <a:extLst>
                  <a:ext uri="{FF2B5EF4-FFF2-40B4-BE49-F238E27FC236}">
                    <a16:creationId xmlns:a16="http://schemas.microsoft.com/office/drawing/2014/main" id="{00E9C226-2DC5-414D-9F98-785A64D9FC0C}"/>
                  </a:ext>
                </a:extLst>
              </p:cNvPr>
              <p:cNvSpPr/>
              <p:nvPr/>
            </p:nvSpPr>
            <p:spPr bwMode="auto">
              <a:xfrm>
                <a:off x="2438399" y="1828800"/>
                <a:ext cx="1923143" cy="1799771"/>
              </a:xfrm>
              <a:prstGeom prst="rect">
                <a:avLst/>
              </a:prstGeom>
              <a:grp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5" name="Straight Connector 84">
                <a:extLst>
                  <a:ext uri="{FF2B5EF4-FFF2-40B4-BE49-F238E27FC236}">
                    <a16:creationId xmlns:a16="http://schemas.microsoft.com/office/drawing/2014/main" id="{0C83A40D-0654-4644-A62A-D6CB50BB3DA5}"/>
                  </a:ext>
                </a:extLst>
              </p:cNvPr>
              <p:cNvCxnSpPr>
                <a:cxnSpLocks/>
              </p:cNvCxnSpPr>
              <p:nvPr/>
            </p:nvCxnSpPr>
            <p:spPr>
              <a:xfrm>
                <a:off x="2438399" y="2258786"/>
                <a:ext cx="1923143" cy="0"/>
              </a:xfrm>
              <a:prstGeom prst="line">
                <a:avLst/>
              </a:prstGeom>
              <a:grpFill/>
              <a:ln w="1270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E4F70BA5-288D-8846-8485-17DCFE1A445B}"/>
                </a:ext>
              </a:extLst>
            </p:cNvPr>
            <p:cNvGrpSpPr/>
            <p:nvPr/>
          </p:nvGrpSpPr>
          <p:grpSpPr>
            <a:xfrm>
              <a:off x="2320274" y="1907031"/>
              <a:ext cx="180067" cy="140947"/>
              <a:chOff x="2438399" y="1828800"/>
              <a:chExt cx="1923143" cy="1799771"/>
            </a:xfrm>
            <a:noFill/>
          </p:grpSpPr>
          <p:sp>
            <p:nvSpPr>
              <p:cNvPr id="82" name="Rectangle 81">
                <a:extLst>
                  <a:ext uri="{FF2B5EF4-FFF2-40B4-BE49-F238E27FC236}">
                    <a16:creationId xmlns:a16="http://schemas.microsoft.com/office/drawing/2014/main" id="{8527700D-E749-FC4C-AA14-07441162B554}"/>
                  </a:ext>
                </a:extLst>
              </p:cNvPr>
              <p:cNvSpPr/>
              <p:nvPr/>
            </p:nvSpPr>
            <p:spPr bwMode="auto">
              <a:xfrm>
                <a:off x="2438399" y="1828800"/>
                <a:ext cx="1923143" cy="1799771"/>
              </a:xfrm>
              <a:prstGeom prst="rect">
                <a:avLst/>
              </a:prstGeom>
              <a:grp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FC940945-832E-744D-8D18-B89F4667888A}"/>
                  </a:ext>
                </a:extLst>
              </p:cNvPr>
              <p:cNvCxnSpPr>
                <a:cxnSpLocks/>
              </p:cNvCxnSpPr>
              <p:nvPr/>
            </p:nvCxnSpPr>
            <p:spPr>
              <a:xfrm>
                <a:off x="2438399" y="2258786"/>
                <a:ext cx="1923143" cy="0"/>
              </a:xfrm>
              <a:prstGeom prst="line">
                <a:avLst/>
              </a:prstGeom>
              <a:grpFill/>
              <a:ln w="1270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5" name="Group 74">
              <a:extLst>
                <a:ext uri="{FF2B5EF4-FFF2-40B4-BE49-F238E27FC236}">
                  <a16:creationId xmlns:a16="http://schemas.microsoft.com/office/drawing/2014/main" id="{BF3A78B4-28C9-A448-A4F3-2A99CA068C59}"/>
                </a:ext>
              </a:extLst>
            </p:cNvPr>
            <p:cNvGrpSpPr/>
            <p:nvPr/>
          </p:nvGrpSpPr>
          <p:grpSpPr>
            <a:xfrm>
              <a:off x="2129218" y="1891046"/>
              <a:ext cx="303775" cy="247510"/>
              <a:chOff x="2129218" y="1898304"/>
              <a:chExt cx="303775" cy="247510"/>
            </a:xfrm>
          </p:grpSpPr>
          <p:sp>
            <p:nvSpPr>
              <p:cNvPr id="76" name="Oval 75">
                <a:extLst>
                  <a:ext uri="{FF2B5EF4-FFF2-40B4-BE49-F238E27FC236}">
                    <a16:creationId xmlns:a16="http://schemas.microsoft.com/office/drawing/2014/main" id="{968B787F-7F93-6148-AD39-714813643714}"/>
                  </a:ext>
                </a:extLst>
              </p:cNvPr>
              <p:cNvSpPr/>
              <p:nvPr/>
            </p:nvSpPr>
            <p:spPr bwMode="auto">
              <a:xfrm rot="20526251">
                <a:off x="2129218" y="1898304"/>
                <a:ext cx="45467" cy="45467"/>
              </a:xfrm>
              <a:prstGeom prst="ellipse">
                <a:avLst/>
              </a:prstGeom>
              <a:no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C47BF6AC-F752-3249-BC4F-6CF7DE3A2368}"/>
                  </a:ext>
                </a:extLst>
              </p:cNvPr>
              <p:cNvSpPr/>
              <p:nvPr/>
            </p:nvSpPr>
            <p:spPr bwMode="auto">
              <a:xfrm>
                <a:off x="2160192" y="2100347"/>
                <a:ext cx="45467" cy="45467"/>
              </a:xfrm>
              <a:prstGeom prst="ellipse">
                <a:avLst/>
              </a:prstGeom>
              <a:no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DD725C28-297B-4642-9AD3-9444DDD662A5}"/>
                  </a:ext>
                </a:extLst>
              </p:cNvPr>
              <p:cNvSpPr/>
              <p:nvPr/>
            </p:nvSpPr>
            <p:spPr bwMode="auto">
              <a:xfrm rot="19893199">
                <a:off x="2387526" y="1977587"/>
                <a:ext cx="45467" cy="45467"/>
              </a:xfrm>
              <a:prstGeom prst="ellipse">
                <a:avLst/>
              </a:prstGeom>
              <a:noFill/>
              <a:ln w="12700">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9" name="Straight Connector 78">
                <a:extLst>
                  <a:ext uri="{FF2B5EF4-FFF2-40B4-BE49-F238E27FC236}">
                    <a16:creationId xmlns:a16="http://schemas.microsoft.com/office/drawing/2014/main" id="{82E36A52-F3E1-F149-AFB2-50CAB5AF2DD5}"/>
                  </a:ext>
                </a:extLst>
              </p:cNvPr>
              <p:cNvCxnSpPr>
                <a:cxnSpLocks/>
              </p:cNvCxnSpPr>
              <p:nvPr/>
            </p:nvCxnSpPr>
            <p:spPr>
              <a:xfrm>
                <a:off x="2172188" y="1931395"/>
                <a:ext cx="216280" cy="62448"/>
              </a:xfrm>
              <a:prstGeom prst="line">
                <a:avLst/>
              </a:prstGeom>
              <a:ln w="1270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E4F3DD65-0953-1B48-B918-4551995637B8}"/>
                  </a:ext>
                </a:extLst>
              </p:cNvPr>
              <p:cNvCxnSpPr>
                <a:cxnSpLocks/>
              </p:cNvCxnSpPr>
              <p:nvPr/>
            </p:nvCxnSpPr>
            <p:spPr>
              <a:xfrm>
                <a:off x="2158937" y="1942671"/>
                <a:ext cx="23989" cy="157676"/>
              </a:xfrm>
              <a:prstGeom prst="line">
                <a:avLst/>
              </a:prstGeom>
              <a:ln w="1270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683778B9-745E-D54F-97D9-8E67D5E806E2}"/>
                  </a:ext>
                </a:extLst>
              </p:cNvPr>
              <p:cNvCxnSpPr>
                <a:cxnSpLocks/>
              </p:cNvCxnSpPr>
              <p:nvPr/>
            </p:nvCxnSpPr>
            <p:spPr>
              <a:xfrm flipH="1">
                <a:off x="2199001" y="2011149"/>
                <a:ext cx="191271" cy="95857"/>
              </a:xfrm>
              <a:prstGeom prst="line">
                <a:avLst/>
              </a:prstGeom>
              <a:ln w="12700">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88" name="Freeform 87">
            <a:extLst>
              <a:ext uri="{FF2B5EF4-FFF2-40B4-BE49-F238E27FC236}">
                <a16:creationId xmlns:a16="http://schemas.microsoft.com/office/drawing/2014/main" id="{C5A7969D-6335-FA41-99F7-856AA635FEFA}"/>
              </a:ext>
            </a:extLst>
          </p:cNvPr>
          <p:cNvSpPr/>
          <p:nvPr/>
        </p:nvSpPr>
        <p:spPr bwMode="auto">
          <a:xfrm>
            <a:off x="519394" y="3739444"/>
            <a:ext cx="242211" cy="254928"/>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no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grpSp>
        <p:nvGrpSpPr>
          <p:cNvPr id="89" name="Group 88">
            <a:extLst>
              <a:ext uri="{FF2B5EF4-FFF2-40B4-BE49-F238E27FC236}">
                <a16:creationId xmlns:a16="http://schemas.microsoft.com/office/drawing/2014/main" id="{FE49AA68-9AE0-D540-995F-36B7689716E9}"/>
              </a:ext>
            </a:extLst>
          </p:cNvPr>
          <p:cNvGrpSpPr/>
          <p:nvPr/>
        </p:nvGrpSpPr>
        <p:grpSpPr>
          <a:xfrm>
            <a:off x="465416" y="4285544"/>
            <a:ext cx="350167" cy="204672"/>
            <a:chOff x="4660062" y="959354"/>
            <a:chExt cx="3869807" cy="2261894"/>
          </a:xfrm>
          <a:noFill/>
        </p:grpSpPr>
        <p:sp>
          <p:nvSpPr>
            <p:cNvPr id="90" name="Freeform: Shape 164">
              <a:extLst>
                <a:ext uri="{FF2B5EF4-FFF2-40B4-BE49-F238E27FC236}">
                  <a16:creationId xmlns:a16="http://schemas.microsoft.com/office/drawing/2014/main" id="{5148D81C-3188-D140-A9E3-58452EE8F4BA}"/>
                </a:ext>
              </a:extLst>
            </p:cNvPr>
            <p:cNvSpPr/>
            <p:nvPr/>
          </p:nvSpPr>
          <p:spPr bwMode="auto">
            <a:xfrm>
              <a:off x="4660062" y="959354"/>
              <a:ext cx="3869807" cy="2261894"/>
            </a:xfrm>
            <a:custGeom>
              <a:avLst/>
              <a:gdLst>
                <a:gd name="connsiteX0" fmla="*/ 1718020 w 3869807"/>
                <a:gd name="connsiteY0" fmla="*/ 0 h 2261894"/>
                <a:gd name="connsiteX1" fmla="*/ 1940931 w 3869807"/>
                <a:gd name="connsiteY1" fmla="*/ 49419 h 2261894"/>
                <a:gd name="connsiteX2" fmla="*/ 2005754 w 3869807"/>
                <a:gd name="connsiteY2" fmla="*/ 88056 h 2261894"/>
                <a:gd name="connsiteX3" fmla="*/ 2071212 w 3869807"/>
                <a:gd name="connsiteY3" fmla="*/ 49419 h 2261894"/>
                <a:gd name="connsiteX4" fmla="*/ 2296308 w 3869807"/>
                <a:gd name="connsiteY4" fmla="*/ 0 h 2261894"/>
                <a:gd name="connsiteX5" fmla="*/ 2705220 w 3869807"/>
                <a:gd name="connsiteY5" fmla="*/ 184188 h 2261894"/>
                <a:gd name="connsiteX6" fmla="*/ 2707126 w 3869807"/>
                <a:gd name="connsiteY6" fmla="*/ 186700 h 2261894"/>
                <a:gd name="connsiteX7" fmla="*/ 2770078 w 3869807"/>
                <a:gd name="connsiteY7" fmla="*/ 179799 h 2261894"/>
                <a:gd name="connsiteX8" fmla="*/ 3336618 w 3869807"/>
                <a:gd name="connsiteY8" fmla="*/ 681919 h 2261894"/>
                <a:gd name="connsiteX9" fmla="*/ 3339441 w 3869807"/>
                <a:gd name="connsiteY9" fmla="*/ 712375 h 2261894"/>
                <a:gd name="connsiteX10" fmla="*/ 3412548 w 3869807"/>
                <a:gd name="connsiteY10" fmla="*/ 720468 h 2261894"/>
                <a:gd name="connsiteX11" fmla="*/ 3869807 w 3869807"/>
                <a:gd name="connsiteY11" fmla="*/ 1336549 h 2261894"/>
                <a:gd name="connsiteX12" fmla="*/ 3297134 w 3869807"/>
                <a:gd name="connsiteY12" fmla="*/ 1965406 h 2261894"/>
                <a:gd name="connsiteX13" fmla="*/ 3181721 w 3869807"/>
                <a:gd name="connsiteY13" fmla="*/ 1952630 h 2261894"/>
                <a:gd name="connsiteX14" fmla="*/ 3131470 w 3869807"/>
                <a:gd name="connsiteY14" fmla="*/ 1935501 h 2261894"/>
                <a:gd name="connsiteX15" fmla="*/ 3074367 w 3869807"/>
                <a:gd name="connsiteY15" fmla="*/ 2006225 h 2261894"/>
                <a:gd name="connsiteX16" fmla="*/ 2639217 w 3869807"/>
                <a:gd name="connsiteY16" fmla="*/ 2190413 h 2261894"/>
                <a:gd name="connsiteX17" fmla="*/ 2399678 w 3869807"/>
                <a:gd name="connsiteY17" fmla="*/ 2140994 h 2261894"/>
                <a:gd name="connsiteX18" fmla="*/ 2387414 w 3869807"/>
                <a:gd name="connsiteY18" fmla="*/ 2134192 h 2261894"/>
                <a:gd name="connsiteX19" fmla="*/ 2376353 w 3869807"/>
                <a:gd name="connsiteY19" fmla="*/ 2142287 h 2261894"/>
                <a:gd name="connsiteX20" fmla="*/ 1934904 w 3869807"/>
                <a:gd name="connsiteY20" fmla="*/ 2261894 h 2261894"/>
                <a:gd name="connsiteX21" fmla="*/ 1493456 w 3869807"/>
                <a:gd name="connsiteY21" fmla="*/ 2142287 h 2261894"/>
                <a:gd name="connsiteX22" fmla="*/ 1462383 w 3869807"/>
                <a:gd name="connsiteY22" fmla="*/ 2119547 h 2261894"/>
                <a:gd name="connsiteX23" fmla="*/ 1394617 w 3869807"/>
                <a:gd name="connsiteY23" fmla="*/ 2141043 h 2261894"/>
                <a:gd name="connsiteX24" fmla="*/ 1270593 w 3869807"/>
                <a:gd name="connsiteY24" fmla="*/ 2153819 h 2261894"/>
                <a:gd name="connsiteX25" fmla="*/ 926521 w 3869807"/>
                <a:gd name="connsiteY25" fmla="*/ 2046420 h 2261894"/>
                <a:gd name="connsiteX26" fmla="*/ 858726 w 3869807"/>
                <a:gd name="connsiteY26" fmla="*/ 1989261 h 2261894"/>
                <a:gd name="connsiteX27" fmla="*/ 803831 w 3869807"/>
                <a:gd name="connsiteY27" fmla="*/ 2005965 h 2261894"/>
                <a:gd name="connsiteX28" fmla="*/ 669003 w 3869807"/>
                <a:gd name="connsiteY28" fmla="*/ 2019288 h 2261894"/>
                <a:gd name="connsiteX29" fmla="*/ 0 w 3869807"/>
                <a:gd name="connsiteY29" fmla="*/ 1363490 h 2261894"/>
                <a:gd name="connsiteX30" fmla="*/ 534175 w 3869807"/>
                <a:gd name="connsiteY30" fmla="*/ 721015 h 2261894"/>
                <a:gd name="connsiteX31" fmla="*/ 572825 w 3869807"/>
                <a:gd name="connsiteY31" fmla="*/ 717196 h 2261894"/>
                <a:gd name="connsiteX32" fmla="*/ 574899 w 3869807"/>
                <a:gd name="connsiteY32" fmla="*/ 696829 h 2261894"/>
                <a:gd name="connsiteX33" fmla="*/ 1223715 w 3869807"/>
                <a:gd name="connsiteY33" fmla="*/ 173197 h 2261894"/>
                <a:gd name="connsiteX34" fmla="*/ 1315138 w 3869807"/>
                <a:gd name="connsiteY34" fmla="*/ 182323 h 2261894"/>
                <a:gd name="connsiteX35" fmla="*/ 1397833 w 3869807"/>
                <a:gd name="connsiteY35" fmla="*/ 107399 h 2261894"/>
                <a:gd name="connsiteX36" fmla="*/ 1718020 w 3869807"/>
                <a:gd name="connsiteY36" fmla="*/ 0 h 2261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869807" h="2261894">
                  <a:moveTo>
                    <a:pt x="1718020" y="0"/>
                  </a:moveTo>
                  <a:cubicBezTo>
                    <a:pt x="1797090" y="0"/>
                    <a:pt x="1872417" y="17597"/>
                    <a:pt x="1940931" y="49419"/>
                  </a:cubicBezTo>
                  <a:lnTo>
                    <a:pt x="2005754" y="88056"/>
                  </a:lnTo>
                  <a:lnTo>
                    <a:pt x="2071212" y="49419"/>
                  </a:lnTo>
                  <a:cubicBezTo>
                    <a:pt x="2140398" y="17597"/>
                    <a:pt x="2216463" y="0"/>
                    <a:pt x="2296308" y="0"/>
                  </a:cubicBezTo>
                  <a:cubicBezTo>
                    <a:pt x="2455998" y="0"/>
                    <a:pt x="2600570" y="70387"/>
                    <a:pt x="2705220" y="184188"/>
                  </a:cubicBezTo>
                  <a:lnTo>
                    <a:pt x="2707126" y="186700"/>
                  </a:lnTo>
                  <a:lnTo>
                    <a:pt x="2770078" y="179799"/>
                  </a:lnTo>
                  <a:cubicBezTo>
                    <a:pt x="3049536" y="179799"/>
                    <a:pt x="3282694" y="395360"/>
                    <a:pt x="3336618" y="681919"/>
                  </a:cubicBezTo>
                  <a:lnTo>
                    <a:pt x="3339441" y="712375"/>
                  </a:lnTo>
                  <a:lnTo>
                    <a:pt x="3412548" y="720468"/>
                  </a:lnTo>
                  <a:cubicBezTo>
                    <a:pt x="3673506" y="779107"/>
                    <a:pt x="3869807" y="1032655"/>
                    <a:pt x="3869807" y="1336549"/>
                  </a:cubicBezTo>
                  <a:cubicBezTo>
                    <a:pt x="3869807" y="1683857"/>
                    <a:pt x="3613413" y="1965406"/>
                    <a:pt x="3297134" y="1965406"/>
                  </a:cubicBezTo>
                  <a:cubicBezTo>
                    <a:pt x="3257599" y="1965406"/>
                    <a:pt x="3219000" y="1961007"/>
                    <a:pt x="3181721" y="1952630"/>
                  </a:cubicBezTo>
                  <a:lnTo>
                    <a:pt x="3131470" y="1935501"/>
                  </a:lnTo>
                  <a:lnTo>
                    <a:pt x="3074367" y="2006225"/>
                  </a:lnTo>
                  <a:cubicBezTo>
                    <a:pt x="2963002" y="2120026"/>
                    <a:pt x="2809154" y="2190413"/>
                    <a:pt x="2639217" y="2190413"/>
                  </a:cubicBezTo>
                  <a:cubicBezTo>
                    <a:pt x="2554249" y="2190413"/>
                    <a:pt x="2473303" y="2172816"/>
                    <a:pt x="2399678" y="2140994"/>
                  </a:cubicBezTo>
                  <a:lnTo>
                    <a:pt x="2387414" y="2134192"/>
                  </a:lnTo>
                  <a:lnTo>
                    <a:pt x="2376353" y="2142287"/>
                  </a:lnTo>
                  <a:cubicBezTo>
                    <a:pt x="2250339" y="2217801"/>
                    <a:pt x="2098427" y="2261894"/>
                    <a:pt x="1934904" y="2261894"/>
                  </a:cubicBezTo>
                  <a:cubicBezTo>
                    <a:pt x="1771382" y="2261894"/>
                    <a:pt x="1619470" y="2217801"/>
                    <a:pt x="1493456" y="2142287"/>
                  </a:cubicBezTo>
                  <a:lnTo>
                    <a:pt x="1462383" y="2119547"/>
                  </a:lnTo>
                  <a:lnTo>
                    <a:pt x="1394617" y="2141043"/>
                  </a:lnTo>
                  <a:cubicBezTo>
                    <a:pt x="1354556" y="2149420"/>
                    <a:pt x="1313077" y="2153819"/>
                    <a:pt x="1270593" y="2153819"/>
                  </a:cubicBezTo>
                  <a:cubicBezTo>
                    <a:pt x="1143141" y="2153819"/>
                    <a:pt x="1024738" y="2114226"/>
                    <a:pt x="926521" y="2046420"/>
                  </a:cubicBezTo>
                  <a:lnTo>
                    <a:pt x="858726" y="1989261"/>
                  </a:lnTo>
                  <a:lnTo>
                    <a:pt x="803831" y="2005965"/>
                  </a:lnTo>
                  <a:cubicBezTo>
                    <a:pt x="760280" y="2014700"/>
                    <a:pt x="715188" y="2019288"/>
                    <a:pt x="669003" y="2019288"/>
                  </a:cubicBezTo>
                  <a:cubicBezTo>
                    <a:pt x="299523" y="2019288"/>
                    <a:pt x="0" y="1725677"/>
                    <a:pt x="0" y="1363490"/>
                  </a:cubicBezTo>
                  <a:cubicBezTo>
                    <a:pt x="0" y="1046576"/>
                    <a:pt x="229322" y="782166"/>
                    <a:pt x="534175" y="721015"/>
                  </a:cubicBezTo>
                  <a:lnTo>
                    <a:pt x="572825" y="717196"/>
                  </a:lnTo>
                  <a:lnTo>
                    <a:pt x="574899" y="696829"/>
                  </a:lnTo>
                  <a:cubicBezTo>
                    <a:pt x="636653" y="397993"/>
                    <a:pt x="903674" y="173197"/>
                    <a:pt x="1223715" y="173197"/>
                  </a:cubicBezTo>
                  <a:lnTo>
                    <a:pt x="1315138" y="182323"/>
                  </a:lnTo>
                  <a:lnTo>
                    <a:pt x="1397833" y="107399"/>
                  </a:lnTo>
                  <a:cubicBezTo>
                    <a:pt x="1489232" y="39593"/>
                    <a:pt x="1599416" y="0"/>
                    <a:pt x="1718020" y="0"/>
                  </a:cubicBezTo>
                  <a:close/>
                </a:path>
              </a:pathLst>
            </a:custGeom>
            <a:grp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Oval 90">
              <a:extLst>
                <a:ext uri="{FF2B5EF4-FFF2-40B4-BE49-F238E27FC236}">
                  <a16:creationId xmlns:a16="http://schemas.microsoft.com/office/drawing/2014/main" id="{220898F7-B76F-3341-A686-321C80EC0E8C}"/>
                </a:ext>
              </a:extLst>
            </p:cNvPr>
            <p:cNvSpPr/>
            <p:nvPr/>
          </p:nvSpPr>
          <p:spPr bwMode="auto">
            <a:xfrm>
              <a:off x="6396421" y="1389756"/>
              <a:ext cx="397226" cy="397042"/>
            </a:xfrm>
            <a:prstGeom prst="ellipse">
              <a:avLst/>
            </a:prstGeom>
            <a:grp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Oval 91">
              <a:extLst>
                <a:ext uri="{FF2B5EF4-FFF2-40B4-BE49-F238E27FC236}">
                  <a16:creationId xmlns:a16="http://schemas.microsoft.com/office/drawing/2014/main" id="{63DEBB54-53FC-4646-AD66-A0D17FE284B8}"/>
                </a:ext>
              </a:extLst>
            </p:cNvPr>
            <p:cNvSpPr/>
            <p:nvPr/>
          </p:nvSpPr>
          <p:spPr bwMode="auto">
            <a:xfrm>
              <a:off x="7539697" y="1939914"/>
              <a:ext cx="397226" cy="397042"/>
            </a:xfrm>
            <a:prstGeom prst="ellipse">
              <a:avLst/>
            </a:prstGeom>
            <a:grp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Oval 92">
              <a:extLst>
                <a:ext uri="{FF2B5EF4-FFF2-40B4-BE49-F238E27FC236}">
                  <a16:creationId xmlns:a16="http://schemas.microsoft.com/office/drawing/2014/main" id="{A16208B2-26D4-4C47-B974-D206778756AB}"/>
                </a:ext>
              </a:extLst>
            </p:cNvPr>
            <p:cNvSpPr/>
            <p:nvPr/>
          </p:nvSpPr>
          <p:spPr bwMode="auto">
            <a:xfrm>
              <a:off x="5107942" y="2175810"/>
              <a:ext cx="397226" cy="397042"/>
            </a:xfrm>
            <a:prstGeom prst="ellipse">
              <a:avLst/>
            </a:prstGeom>
            <a:grp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A342EBB3-E6B9-6D4E-A7BF-03019DDACB1A}"/>
                </a:ext>
              </a:extLst>
            </p:cNvPr>
            <p:cNvSpPr/>
            <p:nvPr/>
          </p:nvSpPr>
          <p:spPr bwMode="auto">
            <a:xfrm>
              <a:off x="6259972" y="2398580"/>
              <a:ext cx="397226" cy="397042"/>
            </a:xfrm>
            <a:prstGeom prst="ellipse">
              <a:avLst/>
            </a:prstGeom>
            <a:grp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5" name="Connector: Elbow 169">
              <a:extLst>
                <a:ext uri="{FF2B5EF4-FFF2-40B4-BE49-F238E27FC236}">
                  <a16:creationId xmlns:a16="http://schemas.microsoft.com/office/drawing/2014/main" id="{B4872349-BD3E-DE44-B804-441F639EA35F}"/>
                </a:ext>
              </a:extLst>
            </p:cNvPr>
            <p:cNvCxnSpPr>
              <a:stCxn id="93" idx="6"/>
            </p:cNvCxnSpPr>
            <p:nvPr/>
          </p:nvCxnSpPr>
          <p:spPr>
            <a:xfrm>
              <a:off x="5505168" y="2374331"/>
              <a:ext cx="311340" cy="718784"/>
            </a:xfrm>
            <a:prstGeom prst="bentConnector2">
              <a:avLst/>
            </a:prstGeom>
            <a:grpFill/>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Connector: Elbow 170">
              <a:extLst>
                <a:ext uri="{FF2B5EF4-FFF2-40B4-BE49-F238E27FC236}">
                  <a16:creationId xmlns:a16="http://schemas.microsoft.com/office/drawing/2014/main" id="{A75AF931-8E79-5841-8755-234902946139}"/>
                </a:ext>
              </a:extLst>
            </p:cNvPr>
            <p:cNvCxnSpPr>
              <a:cxnSpLocks/>
              <a:stCxn id="94" idx="0"/>
            </p:cNvCxnSpPr>
            <p:nvPr/>
          </p:nvCxnSpPr>
          <p:spPr>
            <a:xfrm rot="16200000" flipV="1">
              <a:off x="5541469" y="1481464"/>
              <a:ext cx="1259426" cy="574806"/>
            </a:xfrm>
            <a:prstGeom prst="bentConnector3">
              <a:avLst>
                <a:gd name="adj1" fmla="val 21955"/>
              </a:avLst>
            </a:prstGeom>
            <a:grpFill/>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Connector: Elbow 171">
              <a:extLst>
                <a:ext uri="{FF2B5EF4-FFF2-40B4-BE49-F238E27FC236}">
                  <a16:creationId xmlns:a16="http://schemas.microsoft.com/office/drawing/2014/main" id="{38E40AEB-4964-3E47-9A99-05E67FBB4586}"/>
                </a:ext>
              </a:extLst>
            </p:cNvPr>
            <p:cNvCxnSpPr>
              <a:cxnSpLocks/>
              <a:stCxn id="91" idx="6"/>
            </p:cNvCxnSpPr>
            <p:nvPr/>
          </p:nvCxnSpPr>
          <p:spPr>
            <a:xfrm>
              <a:off x="6793647" y="1588277"/>
              <a:ext cx="376193" cy="1553213"/>
            </a:xfrm>
            <a:prstGeom prst="bentConnector2">
              <a:avLst/>
            </a:prstGeom>
            <a:grpFill/>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Connector: Elbow 172">
              <a:extLst>
                <a:ext uri="{FF2B5EF4-FFF2-40B4-BE49-F238E27FC236}">
                  <a16:creationId xmlns:a16="http://schemas.microsoft.com/office/drawing/2014/main" id="{CDBF4972-73E0-B44D-A21A-66D7439BE31D}"/>
                </a:ext>
              </a:extLst>
            </p:cNvPr>
            <p:cNvCxnSpPr>
              <a:stCxn id="92" idx="4"/>
            </p:cNvCxnSpPr>
            <p:nvPr/>
          </p:nvCxnSpPr>
          <p:spPr>
            <a:xfrm rot="5400000">
              <a:off x="7356644" y="2150264"/>
              <a:ext cx="194975" cy="568358"/>
            </a:xfrm>
            <a:prstGeom prst="bentConnector2">
              <a:avLst/>
            </a:prstGeom>
            <a:grpFill/>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D49EFC0C-647B-7046-88FA-9BE890188E43}"/>
              </a:ext>
            </a:extLst>
          </p:cNvPr>
          <p:cNvGrpSpPr/>
          <p:nvPr/>
        </p:nvGrpSpPr>
        <p:grpSpPr>
          <a:xfrm>
            <a:off x="474437" y="4882443"/>
            <a:ext cx="332125" cy="239575"/>
            <a:chOff x="5103699" y="5244811"/>
            <a:chExt cx="402950" cy="290664"/>
          </a:xfrm>
        </p:grpSpPr>
        <p:grpSp>
          <p:nvGrpSpPr>
            <p:cNvPr id="100" name="Group 99">
              <a:extLst>
                <a:ext uri="{FF2B5EF4-FFF2-40B4-BE49-F238E27FC236}">
                  <a16:creationId xmlns:a16="http://schemas.microsoft.com/office/drawing/2014/main" id="{ACF592C7-EFC6-4848-8507-343BACE26223}"/>
                </a:ext>
              </a:extLst>
            </p:cNvPr>
            <p:cNvGrpSpPr/>
            <p:nvPr/>
          </p:nvGrpSpPr>
          <p:grpSpPr>
            <a:xfrm rot="18900000">
              <a:off x="5103699" y="5244811"/>
              <a:ext cx="402950" cy="290664"/>
              <a:chOff x="5103699" y="5244811"/>
              <a:chExt cx="402950" cy="290664"/>
            </a:xfrm>
          </p:grpSpPr>
          <p:sp>
            <p:nvSpPr>
              <p:cNvPr id="103" name="Freeform: Shape 91">
                <a:extLst>
                  <a:ext uri="{FF2B5EF4-FFF2-40B4-BE49-F238E27FC236}">
                    <a16:creationId xmlns:a16="http://schemas.microsoft.com/office/drawing/2014/main" id="{B96A050D-9C48-E248-A253-82CE242AB294}"/>
                  </a:ext>
                </a:extLst>
              </p:cNvPr>
              <p:cNvSpPr/>
              <p:nvPr/>
            </p:nvSpPr>
            <p:spPr bwMode="auto">
              <a:xfrm>
                <a:off x="5103699" y="5244811"/>
                <a:ext cx="138009" cy="290664"/>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Freeform: Shape 92">
                <a:extLst>
                  <a:ext uri="{FF2B5EF4-FFF2-40B4-BE49-F238E27FC236}">
                    <a16:creationId xmlns:a16="http://schemas.microsoft.com/office/drawing/2014/main" id="{DF55E4CB-4D92-DB47-B301-0A6D1B697DCE}"/>
                  </a:ext>
                </a:extLst>
              </p:cNvPr>
              <p:cNvSpPr/>
              <p:nvPr/>
            </p:nvSpPr>
            <p:spPr bwMode="auto">
              <a:xfrm>
                <a:off x="5368640" y="5244811"/>
                <a:ext cx="138009" cy="290664"/>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1" name="Freeform: Shape 93">
              <a:extLst>
                <a:ext uri="{FF2B5EF4-FFF2-40B4-BE49-F238E27FC236}">
                  <a16:creationId xmlns:a16="http://schemas.microsoft.com/office/drawing/2014/main" id="{CC3A934F-3C5D-8842-BEC6-8FBF52A5AD63}"/>
                </a:ext>
              </a:extLst>
            </p:cNvPr>
            <p:cNvSpPr/>
            <p:nvPr/>
          </p:nvSpPr>
          <p:spPr bwMode="auto">
            <a:xfrm>
              <a:off x="5224243" y="5363166"/>
              <a:ext cx="53954" cy="53954"/>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2" name="Freeform: Shape 94">
              <a:extLst>
                <a:ext uri="{FF2B5EF4-FFF2-40B4-BE49-F238E27FC236}">
                  <a16:creationId xmlns:a16="http://schemas.microsoft.com/office/drawing/2014/main" id="{96BCA544-BFB5-964F-9178-FC7601A0F0EE}"/>
                </a:ext>
              </a:extLst>
            </p:cNvPr>
            <p:cNvSpPr/>
            <p:nvPr/>
          </p:nvSpPr>
          <p:spPr bwMode="auto">
            <a:xfrm>
              <a:off x="5332151" y="5363166"/>
              <a:ext cx="53954" cy="53954"/>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9" name="Freeform 108">
            <a:extLst>
              <a:ext uri="{FF2B5EF4-FFF2-40B4-BE49-F238E27FC236}">
                <a16:creationId xmlns:a16="http://schemas.microsoft.com/office/drawing/2014/main" id="{5078ACC8-4BD0-FB4D-A140-54B8808360DD}"/>
              </a:ext>
            </a:extLst>
          </p:cNvPr>
          <p:cNvSpPr/>
          <p:nvPr/>
        </p:nvSpPr>
        <p:spPr bwMode="auto">
          <a:xfrm>
            <a:off x="3487407" y="6034253"/>
            <a:ext cx="8049837" cy="0"/>
          </a:xfrm>
          <a:custGeom>
            <a:avLst/>
            <a:gdLst>
              <a:gd name="connsiteX0" fmla="*/ 0 w 2096430"/>
              <a:gd name="connsiteY0" fmla="*/ 0 h 278780"/>
              <a:gd name="connsiteX1" fmla="*/ 0 w 2096430"/>
              <a:gd name="connsiteY1" fmla="*/ 278780 h 278780"/>
              <a:gd name="connsiteX2" fmla="*/ 2096430 w 2096430"/>
              <a:gd name="connsiteY2" fmla="*/ 278780 h 278780"/>
              <a:gd name="connsiteX3" fmla="*/ 2096430 w 2096430"/>
              <a:gd name="connsiteY3" fmla="*/ 11151 h 278780"/>
              <a:gd name="connsiteX0" fmla="*/ 0 w 2096430"/>
              <a:gd name="connsiteY0" fmla="*/ 267629 h 267629"/>
              <a:gd name="connsiteX1" fmla="*/ 2096430 w 2096430"/>
              <a:gd name="connsiteY1" fmla="*/ 267629 h 267629"/>
              <a:gd name="connsiteX2" fmla="*/ 2096430 w 2096430"/>
              <a:gd name="connsiteY2" fmla="*/ 0 h 267629"/>
              <a:gd name="connsiteX0" fmla="*/ 0 w 2096430"/>
              <a:gd name="connsiteY0" fmla="*/ 0 h 0"/>
              <a:gd name="connsiteX1" fmla="*/ 2096430 w 2096430"/>
              <a:gd name="connsiteY1" fmla="*/ 0 h 0"/>
            </a:gdLst>
            <a:ahLst/>
            <a:cxnLst>
              <a:cxn ang="0">
                <a:pos x="connsiteX0" y="connsiteY0"/>
              </a:cxn>
              <a:cxn ang="0">
                <a:pos x="connsiteX1" y="connsiteY1"/>
              </a:cxn>
            </a:cxnLst>
            <a:rect l="l" t="t" r="r" b="b"/>
            <a:pathLst>
              <a:path w="2096430">
                <a:moveTo>
                  <a:pt x="0" y="0"/>
                </a:moveTo>
                <a:lnTo>
                  <a:pt x="2096430" y="0"/>
                </a:lnTo>
              </a:path>
            </a:pathLst>
          </a:custGeom>
          <a:noFill/>
          <a:ln w="12700">
            <a:solidFill>
              <a:srgbClr val="0078D7"/>
            </a:solidFill>
            <a:prstDash val="sysDash"/>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C08ADB2D-E1E2-4DF5-BB07-EA68494E5BE5}"/>
              </a:ext>
            </a:extLst>
          </p:cNvPr>
          <p:cNvSpPr/>
          <p:nvPr/>
        </p:nvSpPr>
        <p:spPr>
          <a:xfrm>
            <a:off x="6393785" y="5788432"/>
            <a:ext cx="2253504" cy="480131"/>
          </a:xfrm>
          <a:prstGeom prst="rect">
            <a:avLst/>
          </a:prstGeom>
          <a:solidFill>
            <a:schemeClr val="bg1"/>
          </a:solidFill>
        </p:spPr>
        <p:txBody>
          <a:bodyPr wrap="square" lIns="182880" tIns="146304" rIns="182880" bIns="146304" rtlCol="0" anchor="ctr">
            <a:spAutoFit/>
          </a:bodyPr>
          <a:lstStyle/>
          <a:p>
            <a:pPr marL="0" marR="0" lvl="0" indent="0" algn="ctr" defTabSz="914400" rtl="0" eaLnBrk="1" fontAlgn="auto" latinLnBrk="0" hangingPunct="1">
              <a:lnSpc>
                <a:spcPct val="100000"/>
              </a:lnSpc>
              <a:spcBef>
                <a:spcPts val="1200"/>
              </a:spcBef>
              <a:spcAft>
                <a:spcPts val="60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 Global Azure in 43 regions</a:t>
            </a:r>
          </a:p>
        </p:txBody>
      </p:sp>
      <p:grpSp>
        <p:nvGrpSpPr>
          <p:cNvPr id="108" name="Group 107">
            <a:extLst>
              <a:ext uri="{FF2B5EF4-FFF2-40B4-BE49-F238E27FC236}">
                <a16:creationId xmlns:a16="http://schemas.microsoft.com/office/drawing/2014/main" id="{85C06F3F-124E-FB46-8AD0-7055AFE33AF5}"/>
              </a:ext>
            </a:extLst>
          </p:cNvPr>
          <p:cNvGrpSpPr/>
          <p:nvPr/>
        </p:nvGrpSpPr>
        <p:grpSpPr>
          <a:xfrm>
            <a:off x="7374911" y="5532667"/>
            <a:ext cx="267668" cy="267666"/>
            <a:chOff x="10134599" y="2924174"/>
            <a:chExt cx="809625" cy="809625"/>
          </a:xfrm>
        </p:grpSpPr>
        <p:sp>
          <p:nvSpPr>
            <p:cNvPr id="110" name="Freeform 109">
              <a:extLst>
                <a:ext uri="{FF2B5EF4-FFF2-40B4-BE49-F238E27FC236}">
                  <a16:creationId xmlns:a16="http://schemas.microsoft.com/office/drawing/2014/main" id="{E7D20A7B-D1FA-9047-8DEC-73907118414F}"/>
                </a:ext>
              </a:extLst>
            </p:cNvPr>
            <p:cNvSpPr/>
            <p:nvPr/>
          </p:nvSpPr>
          <p:spPr bwMode="auto">
            <a:xfrm>
              <a:off x="10188575" y="3044825"/>
              <a:ext cx="298450" cy="638175"/>
            </a:xfrm>
            <a:custGeom>
              <a:avLst/>
              <a:gdLst>
                <a:gd name="connsiteX0" fmla="*/ 25400 w 298450"/>
                <a:gd name="connsiteY0" fmla="*/ 47625 h 638175"/>
                <a:gd name="connsiteX1" fmla="*/ 193675 w 298450"/>
                <a:gd name="connsiteY1" fmla="*/ 47625 h 638175"/>
                <a:gd name="connsiteX2" fmla="*/ 231775 w 298450"/>
                <a:gd name="connsiteY2" fmla="*/ 0 h 638175"/>
                <a:gd name="connsiteX3" fmla="*/ 298450 w 298450"/>
                <a:gd name="connsiteY3" fmla="*/ 79375 h 638175"/>
                <a:gd name="connsiteX4" fmla="*/ 193675 w 298450"/>
                <a:gd name="connsiteY4" fmla="*/ 171450 h 638175"/>
                <a:gd name="connsiteX5" fmla="*/ 174625 w 298450"/>
                <a:gd name="connsiteY5" fmla="*/ 250825 h 638175"/>
                <a:gd name="connsiteX6" fmla="*/ 190500 w 298450"/>
                <a:gd name="connsiteY6" fmla="*/ 323850 h 638175"/>
                <a:gd name="connsiteX7" fmla="*/ 139700 w 298450"/>
                <a:gd name="connsiteY7" fmla="*/ 346075 h 638175"/>
                <a:gd name="connsiteX8" fmla="*/ 82550 w 298450"/>
                <a:gd name="connsiteY8" fmla="*/ 285750 h 638175"/>
                <a:gd name="connsiteX9" fmla="*/ 47625 w 298450"/>
                <a:gd name="connsiteY9" fmla="*/ 285750 h 638175"/>
                <a:gd name="connsiteX10" fmla="*/ 0 w 298450"/>
                <a:gd name="connsiteY10" fmla="*/ 396875 h 638175"/>
                <a:gd name="connsiteX11" fmla="*/ 38100 w 298450"/>
                <a:gd name="connsiteY11" fmla="*/ 492125 h 638175"/>
                <a:gd name="connsiteX12" fmla="*/ 120650 w 298450"/>
                <a:gd name="connsiteY12" fmla="*/ 495300 h 638175"/>
                <a:gd name="connsiteX13" fmla="*/ 180975 w 298450"/>
                <a:gd name="connsiteY13" fmla="*/ 533400 h 638175"/>
                <a:gd name="connsiteX14" fmla="*/ 193675 w 298450"/>
                <a:gd name="connsiteY14" fmla="*/ 600075 h 638175"/>
                <a:gd name="connsiteX15" fmla="*/ 165100 w 298450"/>
                <a:gd name="connsiteY15" fmla="*/ 638175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8450" h="638175">
                  <a:moveTo>
                    <a:pt x="25400" y="47625"/>
                  </a:moveTo>
                  <a:lnTo>
                    <a:pt x="193675" y="47625"/>
                  </a:lnTo>
                  <a:lnTo>
                    <a:pt x="231775" y="0"/>
                  </a:lnTo>
                  <a:lnTo>
                    <a:pt x="298450" y="79375"/>
                  </a:lnTo>
                  <a:lnTo>
                    <a:pt x="193675" y="171450"/>
                  </a:lnTo>
                  <a:lnTo>
                    <a:pt x="174625" y="250825"/>
                  </a:lnTo>
                  <a:lnTo>
                    <a:pt x="190500" y="323850"/>
                  </a:lnTo>
                  <a:lnTo>
                    <a:pt x="139700" y="346075"/>
                  </a:lnTo>
                  <a:lnTo>
                    <a:pt x="82550" y="285750"/>
                  </a:lnTo>
                  <a:lnTo>
                    <a:pt x="47625" y="285750"/>
                  </a:lnTo>
                  <a:lnTo>
                    <a:pt x="0" y="396875"/>
                  </a:lnTo>
                  <a:lnTo>
                    <a:pt x="38100" y="492125"/>
                  </a:lnTo>
                  <a:lnTo>
                    <a:pt x="120650" y="495300"/>
                  </a:lnTo>
                  <a:lnTo>
                    <a:pt x="180975" y="533400"/>
                  </a:lnTo>
                  <a:lnTo>
                    <a:pt x="193675" y="600075"/>
                  </a:lnTo>
                  <a:lnTo>
                    <a:pt x="165100" y="638175"/>
                  </a:lnTo>
                </a:path>
              </a:pathLst>
            </a:custGeom>
            <a:noFill/>
            <a:ln w="12700" cap="rnd" cmpd="sng" algn="ctr">
              <a:solidFill>
                <a:srgbClr val="0078D7"/>
              </a:solidFill>
              <a:prstDash val="soli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
                <a:cs typeface=""/>
              </a:endParaRPr>
            </a:p>
          </p:txBody>
        </p:sp>
        <p:sp>
          <p:nvSpPr>
            <p:cNvPr id="111" name="Freeform 110">
              <a:extLst>
                <a:ext uri="{FF2B5EF4-FFF2-40B4-BE49-F238E27FC236}">
                  <a16:creationId xmlns:a16="http://schemas.microsoft.com/office/drawing/2014/main" id="{5B0D6808-8992-B440-A0B7-7D270F12FE5F}"/>
                </a:ext>
              </a:extLst>
            </p:cNvPr>
            <p:cNvSpPr/>
            <p:nvPr/>
          </p:nvSpPr>
          <p:spPr bwMode="auto">
            <a:xfrm>
              <a:off x="10534650" y="2984500"/>
              <a:ext cx="403225" cy="631825"/>
            </a:xfrm>
            <a:custGeom>
              <a:avLst/>
              <a:gdLst>
                <a:gd name="connsiteX0" fmla="*/ 212725 w 403225"/>
                <a:gd name="connsiteY0" fmla="*/ 0 h 631825"/>
                <a:gd name="connsiteX1" fmla="*/ 60325 w 403225"/>
                <a:gd name="connsiteY1" fmla="*/ 76200 h 631825"/>
                <a:gd name="connsiteX2" fmla="*/ 92075 w 403225"/>
                <a:gd name="connsiteY2" fmla="*/ 168275 h 631825"/>
                <a:gd name="connsiteX3" fmla="*/ 171450 w 403225"/>
                <a:gd name="connsiteY3" fmla="*/ 168275 h 631825"/>
                <a:gd name="connsiteX4" fmla="*/ 139700 w 403225"/>
                <a:gd name="connsiteY4" fmla="*/ 215900 h 631825"/>
                <a:gd name="connsiteX5" fmla="*/ 60325 w 403225"/>
                <a:gd name="connsiteY5" fmla="*/ 254000 h 631825"/>
                <a:gd name="connsiteX6" fmla="*/ 0 w 403225"/>
                <a:gd name="connsiteY6" fmla="*/ 346075 h 631825"/>
                <a:gd name="connsiteX7" fmla="*/ 19050 w 403225"/>
                <a:gd name="connsiteY7" fmla="*/ 438150 h 631825"/>
                <a:gd name="connsiteX8" fmla="*/ 104775 w 403225"/>
                <a:gd name="connsiteY8" fmla="*/ 482600 h 631825"/>
                <a:gd name="connsiteX9" fmla="*/ 133350 w 403225"/>
                <a:gd name="connsiteY9" fmla="*/ 457200 h 631825"/>
                <a:gd name="connsiteX10" fmla="*/ 155575 w 403225"/>
                <a:gd name="connsiteY10" fmla="*/ 527050 h 631825"/>
                <a:gd name="connsiteX11" fmla="*/ 133350 w 403225"/>
                <a:gd name="connsiteY11" fmla="*/ 631825 h 631825"/>
                <a:gd name="connsiteX12" fmla="*/ 203200 w 403225"/>
                <a:gd name="connsiteY12" fmla="*/ 603250 h 631825"/>
                <a:gd name="connsiteX13" fmla="*/ 231775 w 403225"/>
                <a:gd name="connsiteY13" fmla="*/ 561975 h 631825"/>
                <a:gd name="connsiteX14" fmla="*/ 234950 w 403225"/>
                <a:gd name="connsiteY14" fmla="*/ 346075 h 631825"/>
                <a:gd name="connsiteX15" fmla="*/ 184150 w 403225"/>
                <a:gd name="connsiteY15" fmla="*/ 276225 h 631825"/>
                <a:gd name="connsiteX16" fmla="*/ 228600 w 403225"/>
                <a:gd name="connsiteY16" fmla="*/ 241300 h 631825"/>
                <a:gd name="connsiteX17" fmla="*/ 288925 w 403225"/>
                <a:gd name="connsiteY17" fmla="*/ 273050 h 631825"/>
                <a:gd name="connsiteX18" fmla="*/ 342900 w 403225"/>
                <a:gd name="connsiteY18" fmla="*/ 346075 h 631825"/>
                <a:gd name="connsiteX19" fmla="*/ 336550 w 403225"/>
                <a:gd name="connsiteY19" fmla="*/ 393700 h 631825"/>
                <a:gd name="connsiteX20" fmla="*/ 403225 w 403225"/>
                <a:gd name="connsiteY20" fmla="*/ 381000 h 631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3225" h="631825">
                  <a:moveTo>
                    <a:pt x="212725" y="0"/>
                  </a:moveTo>
                  <a:lnTo>
                    <a:pt x="60325" y="76200"/>
                  </a:lnTo>
                  <a:lnTo>
                    <a:pt x="92075" y="168275"/>
                  </a:lnTo>
                  <a:lnTo>
                    <a:pt x="171450" y="168275"/>
                  </a:lnTo>
                  <a:lnTo>
                    <a:pt x="139700" y="215900"/>
                  </a:lnTo>
                  <a:lnTo>
                    <a:pt x="60325" y="254000"/>
                  </a:lnTo>
                  <a:lnTo>
                    <a:pt x="0" y="346075"/>
                  </a:lnTo>
                  <a:lnTo>
                    <a:pt x="19050" y="438150"/>
                  </a:lnTo>
                  <a:lnTo>
                    <a:pt x="104775" y="482600"/>
                  </a:lnTo>
                  <a:lnTo>
                    <a:pt x="133350" y="457200"/>
                  </a:lnTo>
                  <a:lnTo>
                    <a:pt x="155575" y="527050"/>
                  </a:lnTo>
                  <a:lnTo>
                    <a:pt x="133350" y="631825"/>
                  </a:lnTo>
                  <a:lnTo>
                    <a:pt x="203200" y="603250"/>
                  </a:lnTo>
                  <a:lnTo>
                    <a:pt x="231775" y="561975"/>
                  </a:lnTo>
                  <a:cubicBezTo>
                    <a:pt x="232833" y="490008"/>
                    <a:pt x="233892" y="418042"/>
                    <a:pt x="234950" y="346075"/>
                  </a:cubicBezTo>
                  <a:lnTo>
                    <a:pt x="184150" y="276225"/>
                  </a:lnTo>
                  <a:lnTo>
                    <a:pt x="228600" y="241300"/>
                  </a:lnTo>
                  <a:lnTo>
                    <a:pt x="288925" y="273050"/>
                  </a:lnTo>
                  <a:lnTo>
                    <a:pt x="342900" y="346075"/>
                  </a:lnTo>
                  <a:lnTo>
                    <a:pt x="336550" y="393700"/>
                  </a:lnTo>
                  <a:lnTo>
                    <a:pt x="403225" y="381000"/>
                  </a:lnTo>
                </a:path>
              </a:pathLst>
            </a:custGeom>
            <a:noFill/>
            <a:ln w="12700" cap="rnd" cmpd="sng" algn="ctr">
              <a:solidFill>
                <a:srgbClr val="0078D7"/>
              </a:solidFill>
              <a:prstDash val="soli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
                <a:cs typeface=""/>
              </a:endParaRPr>
            </a:p>
          </p:txBody>
        </p:sp>
        <p:sp>
          <p:nvSpPr>
            <p:cNvPr id="112" name="Oval 111">
              <a:extLst>
                <a:ext uri="{FF2B5EF4-FFF2-40B4-BE49-F238E27FC236}">
                  <a16:creationId xmlns:a16="http://schemas.microsoft.com/office/drawing/2014/main" id="{AF38DEB3-A6C5-DB48-84A8-F1DF933100F1}"/>
                </a:ext>
              </a:extLst>
            </p:cNvPr>
            <p:cNvSpPr/>
            <p:nvPr/>
          </p:nvSpPr>
          <p:spPr bwMode="auto">
            <a:xfrm>
              <a:off x="10134599" y="2924174"/>
              <a:ext cx="809625" cy="809625"/>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402693506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Rectangle 94"/>
          <p:cNvSpPr/>
          <p:nvPr/>
        </p:nvSpPr>
        <p:spPr>
          <a:xfrm flipH="1">
            <a:off x="0" y="2130094"/>
            <a:ext cx="4170992" cy="4727905"/>
          </a:xfrm>
          <a:prstGeom prst="rect">
            <a:avLst/>
          </a:prstGeom>
          <a:solidFill>
            <a:schemeClr val="accent6">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2" name="Rectangle 121"/>
          <p:cNvSpPr/>
          <p:nvPr/>
        </p:nvSpPr>
        <p:spPr>
          <a:xfrm>
            <a:off x="4170993" y="2130095"/>
            <a:ext cx="8021008" cy="4727905"/>
          </a:xfrm>
          <a:prstGeom prst="rect">
            <a:avLst/>
          </a:prstGeom>
          <a:solidFill>
            <a:schemeClr val="tx2">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 name="Rectangle 22"/>
          <p:cNvSpPr/>
          <p:nvPr/>
        </p:nvSpPr>
        <p:spPr>
          <a:xfrm>
            <a:off x="561047" y="2468037"/>
            <a:ext cx="3931927" cy="39927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 name="Right Arrow 21"/>
          <p:cNvSpPr/>
          <p:nvPr/>
        </p:nvSpPr>
        <p:spPr>
          <a:xfrm>
            <a:off x="4523035" y="2287281"/>
            <a:ext cx="1046571" cy="760037"/>
          </a:xfrm>
          <a:prstGeom prst="rightArrow">
            <a:avLst/>
          </a:prstGeom>
          <a:solidFill>
            <a:srgbClr val="00B29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3" name="Rectangle 152"/>
          <p:cNvSpPr/>
          <p:nvPr/>
        </p:nvSpPr>
        <p:spPr>
          <a:xfrm>
            <a:off x="561047" y="3382510"/>
            <a:ext cx="3931927" cy="39927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9" name="Right Arrow 158"/>
          <p:cNvSpPr/>
          <p:nvPr/>
        </p:nvSpPr>
        <p:spPr>
          <a:xfrm>
            <a:off x="4523035" y="3202127"/>
            <a:ext cx="1046571" cy="760037"/>
          </a:xfrm>
          <a:prstGeom prst="rightArrow">
            <a:avLst/>
          </a:prstGeom>
          <a:solidFill>
            <a:srgbClr val="00B29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0" name="Rectangle 159"/>
          <p:cNvSpPr/>
          <p:nvPr/>
        </p:nvSpPr>
        <p:spPr>
          <a:xfrm>
            <a:off x="561047" y="4304252"/>
            <a:ext cx="3931927" cy="39927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1" name="Right Arrow 160"/>
          <p:cNvSpPr/>
          <p:nvPr/>
        </p:nvSpPr>
        <p:spPr>
          <a:xfrm>
            <a:off x="4523035" y="4116973"/>
            <a:ext cx="1046571" cy="760037"/>
          </a:xfrm>
          <a:prstGeom prst="rightArrow">
            <a:avLst/>
          </a:prstGeom>
          <a:solidFill>
            <a:srgbClr val="00B29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2" name="Rectangle 161"/>
          <p:cNvSpPr/>
          <p:nvPr/>
        </p:nvSpPr>
        <p:spPr>
          <a:xfrm>
            <a:off x="561047" y="5221917"/>
            <a:ext cx="3931927" cy="39927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3" name="Right Arrow 162"/>
          <p:cNvSpPr/>
          <p:nvPr/>
        </p:nvSpPr>
        <p:spPr>
          <a:xfrm>
            <a:off x="4523035" y="5041534"/>
            <a:ext cx="1046571" cy="760037"/>
          </a:xfrm>
          <a:prstGeom prst="rightArrow">
            <a:avLst/>
          </a:prstGeom>
          <a:solidFill>
            <a:srgbClr val="00B29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8" name="Rectangle 167"/>
          <p:cNvSpPr/>
          <p:nvPr/>
        </p:nvSpPr>
        <p:spPr>
          <a:xfrm>
            <a:off x="561047" y="6127047"/>
            <a:ext cx="3931927" cy="39927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9" name="Right Arrow 168"/>
          <p:cNvSpPr/>
          <p:nvPr/>
        </p:nvSpPr>
        <p:spPr>
          <a:xfrm>
            <a:off x="4523035" y="5946664"/>
            <a:ext cx="1046571" cy="760037"/>
          </a:xfrm>
          <a:prstGeom prst="rightArrow">
            <a:avLst/>
          </a:prstGeom>
          <a:solidFill>
            <a:srgbClr val="00B29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 name="Content Placeholder 1"/>
          <p:cNvSpPr>
            <a:spLocks noGrp="1"/>
          </p:cNvSpPr>
          <p:nvPr>
            <p:ph idx="1"/>
          </p:nvPr>
        </p:nvSpPr>
        <p:spPr>
          <a:xfrm>
            <a:off x="561047" y="1819518"/>
            <a:ext cx="3220687" cy="341632"/>
          </a:xfrm>
        </p:spPr>
        <p:txBody>
          <a:bodyPr>
            <a:spAutoFit/>
          </a:bodyPr>
          <a:lstStyle/>
          <a:p>
            <a:pPr marL="0" indent="0">
              <a:buNone/>
            </a:pPr>
            <a:r>
              <a:rPr lang="en-US" sz="1800" b="1" kern="0">
                <a:solidFill>
                  <a:schemeClr val="accent6"/>
                </a:solidFill>
              </a:rPr>
              <a:t>Key benefits</a:t>
            </a:r>
          </a:p>
        </p:txBody>
      </p:sp>
      <p:sp>
        <p:nvSpPr>
          <p:cNvPr id="11" name="Content Placeholder 1"/>
          <p:cNvSpPr txBox="1">
            <a:spLocks/>
          </p:cNvSpPr>
          <p:nvPr/>
        </p:nvSpPr>
        <p:spPr>
          <a:xfrm>
            <a:off x="5838043" y="1819518"/>
            <a:ext cx="5576925" cy="341632"/>
          </a:xfrm>
          <a:prstGeom prst="rect">
            <a:avLst/>
          </a:prstGeom>
        </p:spPr>
        <p:txBody>
          <a:bodyPr vert="horz"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52525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52525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52525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52525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52525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0" cap="none" spc="0" normalizeH="0" baseline="0" noProof="0">
                <a:ln>
                  <a:noFill/>
                </a:ln>
                <a:solidFill>
                  <a:srgbClr val="008272"/>
                </a:solidFill>
                <a:effectLst/>
                <a:uLnTx/>
                <a:uFillTx/>
                <a:latin typeface="Segoe UI" panose="020B0502040204020203" pitchFamily="34" charset="0"/>
                <a:ea typeface="+mn-ea"/>
                <a:cs typeface="Segoe UI" panose="020B0502040204020203" pitchFamily="34" charset="0"/>
              </a:rPr>
              <a:t>Differentiating proof</a:t>
            </a:r>
          </a:p>
        </p:txBody>
      </p:sp>
      <p:grpSp>
        <p:nvGrpSpPr>
          <p:cNvPr id="96" name="Group 95"/>
          <p:cNvGrpSpPr/>
          <p:nvPr/>
        </p:nvGrpSpPr>
        <p:grpSpPr>
          <a:xfrm>
            <a:off x="3770827" y="2257678"/>
            <a:ext cx="819242" cy="819242"/>
            <a:chOff x="1344887" y="2306806"/>
            <a:chExt cx="507753" cy="507753"/>
          </a:xfrm>
        </p:grpSpPr>
        <p:sp>
          <p:nvSpPr>
            <p:cNvPr id="97" name="Oval 96"/>
            <p:cNvSpPr/>
            <p:nvPr/>
          </p:nvSpPr>
          <p:spPr>
            <a:xfrm>
              <a:off x="1344887" y="2306806"/>
              <a:ext cx="507753" cy="507753"/>
            </a:xfrm>
            <a:prstGeom prst="ellipse">
              <a:avLst/>
            </a:prstGeom>
            <a:solidFill>
              <a:schemeClr val="accent3"/>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9" name="Freeform 98"/>
            <p:cNvSpPr/>
            <p:nvPr/>
          </p:nvSpPr>
          <p:spPr>
            <a:xfrm flipH="1">
              <a:off x="1594382" y="2314225"/>
              <a:ext cx="252923" cy="494653"/>
            </a:xfrm>
            <a:custGeom>
              <a:avLst/>
              <a:gdLst>
                <a:gd name="connsiteX0" fmla="*/ 253877 w 259622"/>
                <a:gd name="connsiteY0" fmla="*/ 0 h 507754"/>
                <a:gd name="connsiteX1" fmla="*/ 259622 w 259622"/>
                <a:gd name="connsiteY1" fmla="*/ 579 h 507754"/>
                <a:gd name="connsiteX2" fmla="*/ 259622 w 259622"/>
                <a:gd name="connsiteY2" fmla="*/ 507175 h 507754"/>
                <a:gd name="connsiteX3" fmla="*/ 253877 w 259622"/>
                <a:gd name="connsiteY3" fmla="*/ 507754 h 507754"/>
                <a:gd name="connsiteX4" fmla="*/ 0 w 259622"/>
                <a:gd name="connsiteY4" fmla="*/ 253877 h 507754"/>
                <a:gd name="connsiteX5" fmla="*/ 253877 w 259622"/>
                <a:gd name="connsiteY5" fmla="*/ 0 h 507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622" h="507754">
                  <a:moveTo>
                    <a:pt x="253877" y="0"/>
                  </a:moveTo>
                  <a:lnTo>
                    <a:pt x="259622" y="579"/>
                  </a:lnTo>
                  <a:lnTo>
                    <a:pt x="259622" y="507175"/>
                  </a:lnTo>
                  <a:lnTo>
                    <a:pt x="253877" y="507754"/>
                  </a:lnTo>
                  <a:cubicBezTo>
                    <a:pt x="113665" y="507754"/>
                    <a:pt x="0" y="394089"/>
                    <a:pt x="0" y="253877"/>
                  </a:cubicBezTo>
                  <a:cubicBezTo>
                    <a:pt x="0" y="113665"/>
                    <a:pt x="113665" y="0"/>
                    <a:pt x="253877" y="0"/>
                  </a:cubicBez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8" name="Freeform 18"/>
            <p:cNvSpPr>
              <a:spLocks noEditPoints="1"/>
            </p:cNvSpPr>
            <p:nvPr/>
          </p:nvSpPr>
          <p:spPr bwMode="black">
            <a:xfrm rot="17995606">
              <a:off x="1412284" y="2412499"/>
              <a:ext cx="352270" cy="276615"/>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chemeClr val="bg1"/>
            </a:solidFill>
            <a:ln>
              <a:noFill/>
            </a:ln>
            <a:extLst/>
          </p:spPr>
          <p:txBody>
            <a:bodyPr vert="horz" wrap="square" lIns="89069" tIns="44534" rIns="89069" bIns="44534" numCol="1" anchor="t" anchorCtr="0" compatLnSpc="1">
              <a:prstTxWarp prst="textNoShape">
                <a:avLst/>
              </a:prstTxWarp>
            </a:bodyPr>
            <a:lstStyle/>
            <a:p>
              <a:pPr marL="0" marR="0" lvl="0" indent="0" algn="l" defTabSz="890580" rtl="0" eaLnBrk="1" fontAlgn="auto" latinLnBrk="0" hangingPunct="1">
                <a:lnSpc>
                  <a:spcPct val="100000"/>
                </a:lnSpc>
                <a:spcBef>
                  <a:spcPts val="0"/>
                </a:spcBef>
                <a:spcAft>
                  <a:spcPts val="0"/>
                </a:spcAft>
                <a:buClrTx/>
                <a:buSzTx/>
                <a:buFontTx/>
                <a:buNone/>
                <a:tabLst/>
                <a:defRPr/>
              </a:pPr>
              <a:endParaRPr kumimoji="0" lang="en-US" sz="1559" b="0" i="0" u="none" strike="noStrike" kern="1200" cap="none" spc="0" normalizeH="0" baseline="0" noProof="0">
                <a:ln>
                  <a:solidFill>
                    <a:srgbClr val="FFFFFF">
                      <a:alpha val="0"/>
                    </a:srgbClr>
                  </a:solidFill>
                </a:ln>
                <a:solidFill>
                  <a:srgbClr val="FFFFFF"/>
                </a:solidFill>
                <a:effectLst/>
                <a:uLnTx/>
                <a:uFillTx/>
                <a:latin typeface="Segoe UI"/>
                <a:ea typeface="+mn-ea"/>
                <a:cs typeface="+mn-cs"/>
              </a:endParaRPr>
            </a:p>
          </p:txBody>
        </p:sp>
      </p:grpSp>
      <p:sp>
        <p:nvSpPr>
          <p:cNvPr id="147" name="Content Placeholder 1"/>
          <p:cNvSpPr txBox="1">
            <a:spLocks/>
          </p:cNvSpPr>
          <p:nvPr/>
        </p:nvSpPr>
        <p:spPr>
          <a:xfrm>
            <a:off x="561048" y="2496856"/>
            <a:ext cx="3220687" cy="341632"/>
          </a:xfrm>
          <a:prstGeom prst="rect">
            <a:avLst/>
          </a:prstGeom>
        </p:spPr>
        <p:txBody>
          <a:bodyPr vert="horz"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52525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52525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52525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52525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52525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Learns and adapts</a:t>
            </a:r>
            <a:endParaRPr kumimoji="0" lang="en-US" sz="24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148" name="Content Placeholder 1"/>
          <p:cNvSpPr txBox="1">
            <a:spLocks/>
          </p:cNvSpPr>
          <p:nvPr/>
        </p:nvSpPr>
        <p:spPr>
          <a:xfrm>
            <a:off x="561048" y="3411329"/>
            <a:ext cx="3220687" cy="341632"/>
          </a:xfrm>
          <a:prstGeom prst="rect">
            <a:avLst/>
          </a:prstGeom>
        </p:spPr>
        <p:txBody>
          <a:bodyPr vert="horz"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52525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52525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52525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52525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52525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Scales on the fly</a:t>
            </a:r>
          </a:p>
        </p:txBody>
      </p:sp>
      <p:sp>
        <p:nvSpPr>
          <p:cNvPr id="149" name="Content Placeholder 1"/>
          <p:cNvSpPr txBox="1">
            <a:spLocks/>
          </p:cNvSpPr>
          <p:nvPr/>
        </p:nvSpPr>
        <p:spPr>
          <a:xfrm>
            <a:off x="561048" y="4333071"/>
            <a:ext cx="3220687" cy="341632"/>
          </a:xfrm>
          <a:prstGeom prst="rect">
            <a:avLst/>
          </a:prstGeom>
        </p:spPr>
        <p:txBody>
          <a:bodyPr vert="horz"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52525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52525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52525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52525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52525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Manages 1000s, like one</a:t>
            </a:r>
          </a:p>
        </p:txBody>
      </p:sp>
      <p:sp>
        <p:nvSpPr>
          <p:cNvPr id="150" name="Content Placeholder 1"/>
          <p:cNvSpPr txBox="1">
            <a:spLocks/>
          </p:cNvSpPr>
          <p:nvPr/>
        </p:nvSpPr>
        <p:spPr>
          <a:xfrm>
            <a:off x="561048" y="5250736"/>
            <a:ext cx="3220687" cy="341632"/>
          </a:xfrm>
          <a:prstGeom prst="rect">
            <a:avLst/>
          </a:prstGeom>
        </p:spPr>
        <p:txBody>
          <a:bodyPr vert="horz"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52525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52525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52525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52525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52525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Works in your environment</a:t>
            </a:r>
          </a:p>
        </p:txBody>
      </p:sp>
      <p:sp>
        <p:nvSpPr>
          <p:cNvPr id="151" name="Content Placeholder 1"/>
          <p:cNvSpPr txBox="1">
            <a:spLocks/>
          </p:cNvSpPr>
          <p:nvPr/>
        </p:nvSpPr>
        <p:spPr>
          <a:xfrm>
            <a:off x="561048" y="6155866"/>
            <a:ext cx="3220687" cy="341632"/>
          </a:xfrm>
          <a:prstGeom prst="rect">
            <a:avLst/>
          </a:prstGeom>
        </p:spPr>
        <p:txBody>
          <a:bodyPr vert="horz"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52525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52525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52525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52525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52525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Secures &amp; protects</a:t>
            </a:r>
            <a:endParaRPr kumimoji="0" lang="en-US" sz="24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154" name="Content Placeholder 1"/>
          <p:cNvSpPr txBox="1">
            <a:spLocks/>
          </p:cNvSpPr>
          <p:nvPr/>
        </p:nvSpPr>
        <p:spPr>
          <a:xfrm>
            <a:off x="5838043" y="2380810"/>
            <a:ext cx="5619738" cy="590931"/>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52525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52525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52525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52525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52525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rPr>
              <a:t>Self-tuning performance with </a:t>
            </a:r>
            <a:r>
              <a:rPr kumimoji="0" lang="en-US" sz="1800" b="1" i="0" u="none" strike="noStrike" kern="0" cap="none" spc="0" normalizeH="0" baseline="0" noProof="0">
                <a:ln>
                  <a:noFill/>
                </a:ln>
                <a:solidFill>
                  <a:srgbClr val="008272"/>
                </a:solidFill>
                <a:effectLst/>
                <a:uLnTx/>
                <a:uFillTx/>
                <a:latin typeface="Segoe UI" panose="020B0502040204020203" pitchFamily="34" charset="0"/>
                <a:ea typeface="+mn-ea"/>
                <a:cs typeface="Segoe UI" panose="020B0502040204020203" pitchFamily="34" charset="0"/>
              </a:rPr>
              <a:t>Index Advisor</a:t>
            </a:r>
            <a:r>
              <a:rPr kumimoji="0" lang="en-US" sz="1800" b="0" i="0" u="none" strike="noStrike" kern="0" cap="none" spc="0" normalizeH="0" baseline="0" noProof="0">
                <a:ln>
                  <a:noFill/>
                </a:ln>
                <a:solidFill>
                  <a:srgbClr val="008272"/>
                </a:solidFill>
                <a:effectLst/>
                <a:uLnTx/>
                <a:uFillTx/>
                <a:latin typeface="Segoe UI" panose="020B0502040204020203" pitchFamily="34" charset="0"/>
                <a:ea typeface="+mn-ea"/>
                <a:cs typeface="Segoe UI" panose="020B0502040204020203" pitchFamily="34" charset="0"/>
              </a:rPr>
              <a:t> </a:t>
            </a:r>
            <a:br>
              <a:rPr kumimoji="0" lang="en-US" sz="1800" b="0" i="0" u="none" strike="noStrike" kern="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rPr>
            </a:br>
            <a:r>
              <a:rPr kumimoji="0" lang="en-US" sz="1800" b="0" i="0" u="none" strike="noStrike" kern="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rPr>
              <a:t>and real-time </a:t>
            </a:r>
            <a:r>
              <a:rPr kumimoji="0" lang="en-US" sz="1800" b="1" i="0" u="none" strike="noStrike" kern="0" cap="none" spc="0" normalizeH="0" baseline="0" noProof="0">
                <a:ln>
                  <a:noFill/>
                </a:ln>
                <a:solidFill>
                  <a:srgbClr val="008272"/>
                </a:solidFill>
                <a:effectLst/>
                <a:uLnTx/>
                <a:uFillTx/>
                <a:latin typeface="Segoe UI" panose="020B0502040204020203" pitchFamily="34" charset="0"/>
                <a:ea typeface="+mn-ea"/>
                <a:cs typeface="Segoe UI" panose="020B0502040204020203" pitchFamily="34" charset="0"/>
              </a:rPr>
              <a:t>Threat Detection</a:t>
            </a:r>
          </a:p>
        </p:txBody>
      </p:sp>
      <p:sp>
        <p:nvSpPr>
          <p:cNvPr id="155" name="Content Placeholder 1"/>
          <p:cNvSpPr txBox="1">
            <a:spLocks/>
          </p:cNvSpPr>
          <p:nvPr/>
        </p:nvSpPr>
        <p:spPr>
          <a:xfrm>
            <a:off x="5838043" y="3295656"/>
            <a:ext cx="5619738" cy="590931"/>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52525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52525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52525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52525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52525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rPr>
              <a:t>One click scaling, over </a:t>
            </a:r>
            <a:r>
              <a:rPr kumimoji="0" lang="en-US" sz="1800" b="1" i="0" u="none" strike="noStrike" kern="0" cap="none" spc="0" normalizeH="0" baseline="0" noProof="0">
                <a:ln>
                  <a:noFill/>
                </a:ln>
                <a:solidFill>
                  <a:srgbClr val="008272"/>
                </a:solidFill>
                <a:effectLst/>
                <a:uLnTx/>
                <a:uFillTx/>
                <a:latin typeface="Segoe UI" panose="020B0502040204020203" pitchFamily="34" charset="0"/>
                <a:ea typeface="+mn-ea"/>
                <a:cs typeface="Segoe UI" panose="020B0502040204020203" pitchFamily="34" charset="0"/>
              </a:rPr>
              <a:t>11 performance tiers </a:t>
            </a:r>
            <a:br>
              <a:rPr kumimoji="0" lang="en-US" sz="1800" b="1" i="0" u="none" strike="noStrike" kern="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rPr>
            </a:br>
            <a:r>
              <a:rPr kumimoji="0" lang="en-US" sz="1800" b="0" i="0" u="none" strike="noStrike" kern="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rPr>
              <a:t>with zero downtime</a:t>
            </a:r>
          </a:p>
        </p:txBody>
      </p:sp>
      <p:sp>
        <p:nvSpPr>
          <p:cNvPr id="156" name="Content Placeholder 1"/>
          <p:cNvSpPr txBox="1">
            <a:spLocks/>
          </p:cNvSpPr>
          <p:nvPr/>
        </p:nvSpPr>
        <p:spPr>
          <a:xfrm>
            <a:off x="5838043" y="4210502"/>
            <a:ext cx="5619738" cy="590931"/>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52525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52525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52525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52525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52525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rPr>
              <a:t>Tenant isolation and automatic management of </a:t>
            </a:r>
            <a:br>
              <a:rPr kumimoji="0" lang="en-US" sz="1800" b="0" i="0" u="none" strike="noStrike" kern="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rPr>
            </a:br>
            <a:r>
              <a:rPr kumimoji="0" lang="en-US" sz="1800" b="0" i="0" u="none" strike="noStrike" kern="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rPr>
              <a:t>compute and storage with </a:t>
            </a:r>
            <a:r>
              <a:rPr kumimoji="0" lang="en-US" sz="1800" b="1" i="0" u="none" strike="noStrike" kern="0" cap="none" spc="0" normalizeH="0" baseline="0" noProof="0">
                <a:ln>
                  <a:noFill/>
                </a:ln>
                <a:solidFill>
                  <a:srgbClr val="008272"/>
                </a:solidFill>
                <a:effectLst/>
                <a:uLnTx/>
                <a:uFillTx/>
                <a:latin typeface="Segoe UI" panose="020B0502040204020203" pitchFamily="34" charset="0"/>
                <a:ea typeface="+mn-ea"/>
                <a:cs typeface="Segoe UI" panose="020B0502040204020203" pitchFamily="34" charset="0"/>
              </a:rPr>
              <a:t>Elastic Pools </a:t>
            </a:r>
          </a:p>
        </p:txBody>
      </p:sp>
      <p:sp>
        <p:nvSpPr>
          <p:cNvPr id="157" name="Content Placeholder 1"/>
          <p:cNvSpPr txBox="1">
            <a:spLocks/>
          </p:cNvSpPr>
          <p:nvPr/>
        </p:nvSpPr>
        <p:spPr>
          <a:xfrm>
            <a:off x="5838043" y="5125348"/>
            <a:ext cx="5619738" cy="590931"/>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52525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52525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52525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52525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52525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rPr>
              <a:t>Popular platforms &amp; languages, from </a:t>
            </a:r>
            <a:r>
              <a:rPr kumimoji="0" lang="en-US" sz="1800" b="1" i="0" u="none" strike="noStrike" kern="0" cap="none" spc="0" normalizeH="0" baseline="0" noProof="0">
                <a:ln>
                  <a:noFill/>
                </a:ln>
                <a:solidFill>
                  <a:srgbClr val="008272"/>
                </a:solidFill>
                <a:effectLst/>
                <a:uLnTx/>
                <a:uFillTx/>
                <a:latin typeface="Segoe UI" panose="020B0502040204020203" pitchFamily="34" charset="0"/>
                <a:ea typeface="+mn-ea"/>
                <a:cs typeface="Segoe UI" panose="020B0502040204020203" pitchFamily="34" charset="0"/>
              </a:rPr>
              <a:t>Python</a:t>
            </a:r>
            <a:r>
              <a:rPr kumimoji="0" lang="en-US" sz="1800" b="1" i="0" u="none" strike="noStrike" kern="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rPr>
              <a:t> </a:t>
            </a:r>
            <a:br>
              <a:rPr kumimoji="0" lang="en-US" sz="1800" b="1" i="0" u="none" strike="noStrike" kern="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rPr>
            </a:br>
            <a:r>
              <a:rPr kumimoji="0" lang="en-US" sz="1800" b="0" i="0" u="none" strike="noStrike" kern="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rPr>
              <a:t>to</a:t>
            </a:r>
            <a:r>
              <a:rPr kumimoji="0" lang="en-US" sz="1800" b="1" i="0" u="none" strike="noStrike" kern="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rPr>
              <a:t> </a:t>
            </a:r>
            <a:r>
              <a:rPr kumimoji="0" lang="en-US" sz="1800" b="1" i="0" u="none" strike="noStrike" kern="0" cap="none" spc="0" normalizeH="0" baseline="0" noProof="0">
                <a:ln>
                  <a:noFill/>
                </a:ln>
                <a:solidFill>
                  <a:srgbClr val="008272"/>
                </a:solidFill>
                <a:effectLst/>
                <a:uLnTx/>
                <a:uFillTx/>
                <a:latin typeface="Segoe UI" panose="020B0502040204020203" pitchFamily="34" charset="0"/>
                <a:ea typeface="+mn-ea"/>
                <a:cs typeface="Segoe UI" panose="020B0502040204020203" pitchFamily="34" charset="0"/>
              </a:rPr>
              <a:t>Ruby</a:t>
            </a:r>
            <a:r>
              <a:rPr kumimoji="0" lang="en-US" sz="1800" b="1" i="0" u="none" strike="noStrike" kern="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rPr>
              <a:t> </a:t>
            </a:r>
            <a:r>
              <a:rPr kumimoji="0" lang="en-US" sz="1800" b="0" i="0" u="none" strike="noStrike" kern="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rPr>
              <a:t>to</a:t>
            </a:r>
            <a:r>
              <a:rPr kumimoji="0" lang="en-US" sz="1800" b="1" i="0" u="none" strike="noStrike" kern="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rPr>
              <a:t> </a:t>
            </a:r>
            <a:r>
              <a:rPr kumimoji="0" lang="en-US" sz="1800" b="1" i="0" u="none" strike="noStrike" kern="0" cap="none" spc="0" normalizeH="0" baseline="0" noProof="0">
                <a:ln>
                  <a:noFill/>
                </a:ln>
                <a:solidFill>
                  <a:srgbClr val="008272"/>
                </a:solidFill>
                <a:effectLst/>
                <a:uLnTx/>
                <a:uFillTx/>
                <a:latin typeface="Segoe UI" panose="020B0502040204020203" pitchFamily="34" charset="0"/>
                <a:ea typeface="+mn-ea"/>
                <a:cs typeface="Segoe UI" panose="020B0502040204020203" pitchFamily="34" charset="0"/>
              </a:rPr>
              <a:t>Java</a:t>
            </a:r>
            <a:r>
              <a:rPr kumimoji="0" lang="en-US" sz="1800" b="1" i="0" u="none" strike="noStrike" kern="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rPr>
              <a:t> </a:t>
            </a:r>
            <a:r>
              <a:rPr kumimoji="0" lang="en-US" sz="1800" b="0" i="0" u="none" strike="noStrike" kern="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rPr>
              <a:t>to</a:t>
            </a:r>
            <a:r>
              <a:rPr kumimoji="0" lang="en-US" sz="1800" b="1" i="0" u="none" strike="noStrike" kern="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rPr>
              <a:t> </a:t>
            </a:r>
            <a:r>
              <a:rPr kumimoji="0" lang="en-US" sz="1800" b="1" i="0" u="none" strike="noStrike" kern="0" cap="none" spc="0" normalizeH="0" baseline="0" noProof="0">
                <a:ln>
                  <a:noFill/>
                </a:ln>
                <a:solidFill>
                  <a:srgbClr val="008272"/>
                </a:solidFill>
                <a:effectLst/>
                <a:uLnTx/>
                <a:uFillTx/>
                <a:latin typeface="Segoe UI" panose="020B0502040204020203" pitchFamily="34" charset="0"/>
                <a:ea typeface="+mn-ea"/>
                <a:cs typeface="Segoe UI" panose="020B0502040204020203" pitchFamily="34" charset="0"/>
              </a:rPr>
              <a:t>C#</a:t>
            </a:r>
            <a:r>
              <a:rPr kumimoji="0" lang="en-US" sz="1800" b="1" i="0" u="none" strike="noStrike" kern="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rPr>
              <a:t> </a:t>
            </a:r>
            <a:r>
              <a:rPr kumimoji="0" lang="en-US" sz="1800" b="0" i="0" u="none" strike="noStrike" kern="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rPr>
              <a:t>to</a:t>
            </a:r>
            <a:r>
              <a:rPr kumimoji="0" lang="en-US" sz="1800" b="1" i="0" u="none" strike="noStrike" kern="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rPr>
              <a:t> </a:t>
            </a:r>
            <a:r>
              <a:rPr kumimoji="0" lang="en-US" sz="1800" b="1" i="0" u="none" strike="noStrike" kern="0" cap="none" spc="0" normalizeH="0" baseline="0" noProof="0">
                <a:ln>
                  <a:noFill/>
                </a:ln>
                <a:solidFill>
                  <a:srgbClr val="008272"/>
                </a:solidFill>
                <a:effectLst/>
                <a:uLnTx/>
                <a:uFillTx/>
                <a:latin typeface="Segoe UI" panose="020B0502040204020203" pitchFamily="34" charset="0"/>
                <a:ea typeface="+mn-ea"/>
                <a:cs typeface="Segoe UI" panose="020B0502040204020203" pitchFamily="34" charset="0"/>
              </a:rPr>
              <a:t>.NET </a:t>
            </a:r>
          </a:p>
        </p:txBody>
      </p:sp>
      <p:sp>
        <p:nvSpPr>
          <p:cNvPr id="158" name="Content Placeholder 1"/>
          <p:cNvSpPr txBox="1">
            <a:spLocks/>
          </p:cNvSpPr>
          <p:nvPr/>
        </p:nvSpPr>
        <p:spPr>
          <a:xfrm>
            <a:off x="5838043" y="6040193"/>
            <a:ext cx="5619738" cy="590931"/>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52525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52525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52525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52525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52525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rPr>
              <a:t>Built-in HA and data protection with </a:t>
            </a:r>
            <a:r>
              <a:rPr kumimoji="0" lang="en-US" sz="1800" b="1" i="0" u="none" strike="noStrike" kern="0" cap="none" spc="0" normalizeH="0" baseline="0" noProof="0">
                <a:ln>
                  <a:noFill/>
                </a:ln>
                <a:solidFill>
                  <a:srgbClr val="008272"/>
                </a:solidFill>
                <a:effectLst/>
                <a:uLnTx/>
                <a:uFillTx/>
                <a:latin typeface="Segoe UI" panose="020B0502040204020203" pitchFamily="34" charset="0"/>
                <a:ea typeface="+mn-ea"/>
                <a:cs typeface="Segoe UI" panose="020B0502040204020203" pitchFamily="34" charset="0"/>
              </a:rPr>
              <a:t>99.99% SLA</a:t>
            </a:r>
            <a:r>
              <a:rPr kumimoji="0" lang="en-US" sz="1800" b="0" i="0" u="none" strike="noStrike" kern="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rPr>
              <a:t>, </a:t>
            </a:r>
            <a:br>
              <a:rPr kumimoji="0" lang="en-US" sz="1800" b="0" i="0" u="none" strike="noStrike" kern="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rPr>
            </a:br>
            <a:r>
              <a:rPr kumimoji="0" lang="en-US" sz="1800" b="1" i="0" u="none" strike="noStrike" kern="0" cap="none" spc="0" normalizeH="0" baseline="0" noProof="0">
                <a:ln>
                  <a:noFill/>
                </a:ln>
                <a:solidFill>
                  <a:srgbClr val="008272"/>
                </a:solidFill>
                <a:effectLst/>
                <a:uLnTx/>
                <a:uFillTx/>
                <a:latin typeface="Segoe UI" panose="020B0502040204020203" pitchFamily="34" charset="0"/>
                <a:ea typeface="+mn-ea"/>
                <a:cs typeface="Segoe UI" panose="020B0502040204020203" pitchFamily="34" charset="0"/>
              </a:rPr>
              <a:t>Geo-Replication</a:t>
            </a:r>
            <a:r>
              <a:rPr kumimoji="0" lang="en-US" sz="1800" b="0" i="0" u="none" strike="noStrike" kern="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rPr>
              <a:t>, &amp; </a:t>
            </a:r>
            <a:r>
              <a:rPr kumimoji="0" lang="en-US" sz="1800" b="1" i="0" u="none" strike="noStrike" kern="0" cap="none" spc="0" normalizeH="0" baseline="0" noProof="0">
                <a:ln>
                  <a:noFill/>
                </a:ln>
                <a:solidFill>
                  <a:srgbClr val="008272"/>
                </a:solidFill>
                <a:effectLst/>
                <a:uLnTx/>
                <a:uFillTx/>
                <a:latin typeface="Segoe UI" panose="020B0502040204020203" pitchFamily="34" charset="0"/>
                <a:ea typeface="+mn-ea"/>
                <a:cs typeface="Segoe UI" panose="020B0502040204020203" pitchFamily="34" charset="0"/>
              </a:rPr>
              <a:t>Point-in-time-Restore</a:t>
            </a:r>
          </a:p>
        </p:txBody>
      </p:sp>
      <p:grpSp>
        <p:nvGrpSpPr>
          <p:cNvPr id="18" name="Group 17"/>
          <p:cNvGrpSpPr/>
          <p:nvPr/>
        </p:nvGrpSpPr>
        <p:grpSpPr>
          <a:xfrm>
            <a:off x="3770827" y="3172524"/>
            <a:ext cx="819242" cy="819242"/>
            <a:chOff x="4819095" y="3140182"/>
            <a:chExt cx="911716" cy="911716"/>
          </a:xfrm>
        </p:grpSpPr>
        <p:sp>
          <p:nvSpPr>
            <p:cNvPr id="110" name="Oval 109"/>
            <p:cNvSpPr/>
            <p:nvPr/>
          </p:nvSpPr>
          <p:spPr>
            <a:xfrm>
              <a:off x="4819095" y="3140182"/>
              <a:ext cx="911716" cy="911716"/>
            </a:xfrm>
            <a:prstGeom prst="ellipse">
              <a:avLst/>
            </a:prstGeom>
            <a:solidFill>
              <a:schemeClr val="accent3"/>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3" name="Freeform 122"/>
            <p:cNvSpPr/>
            <p:nvPr/>
          </p:nvSpPr>
          <p:spPr>
            <a:xfrm flipH="1">
              <a:off x="5267771" y="3151943"/>
              <a:ext cx="454146" cy="888194"/>
            </a:xfrm>
            <a:custGeom>
              <a:avLst/>
              <a:gdLst>
                <a:gd name="connsiteX0" fmla="*/ 253877 w 259622"/>
                <a:gd name="connsiteY0" fmla="*/ 0 h 507754"/>
                <a:gd name="connsiteX1" fmla="*/ 259622 w 259622"/>
                <a:gd name="connsiteY1" fmla="*/ 579 h 507754"/>
                <a:gd name="connsiteX2" fmla="*/ 259622 w 259622"/>
                <a:gd name="connsiteY2" fmla="*/ 507175 h 507754"/>
                <a:gd name="connsiteX3" fmla="*/ 253877 w 259622"/>
                <a:gd name="connsiteY3" fmla="*/ 507754 h 507754"/>
                <a:gd name="connsiteX4" fmla="*/ 0 w 259622"/>
                <a:gd name="connsiteY4" fmla="*/ 253877 h 507754"/>
                <a:gd name="connsiteX5" fmla="*/ 253877 w 259622"/>
                <a:gd name="connsiteY5" fmla="*/ 0 h 507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622" h="507754">
                  <a:moveTo>
                    <a:pt x="253877" y="0"/>
                  </a:moveTo>
                  <a:lnTo>
                    <a:pt x="259622" y="579"/>
                  </a:lnTo>
                  <a:lnTo>
                    <a:pt x="259622" y="507175"/>
                  </a:lnTo>
                  <a:lnTo>
                    <a:pt x="253877" y="507754"/>
                  </a:lnTo>
                  <a:cubicBezTo>
                    <a:pt x="113665" y="507754"/>
                    <a:pt x="0" y="394089"/>
                    <a:pt x="0" y="253877"/>
                  </a:cubicBezTo>
                  <a:cubicBezTo>
                    <a:pt x="0" y="113665"/>
                    <a:pt x="113665" y="0"/>
                    <a:pt x="253877" y="0"/>
                  </a:cubicBez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4" name="Group 3"/>
            <p:cNvGrpSpPr/>
            <p:nvPr/>
          </p:nvGrpSpPr>
          <p:grpSpPr>
            <a:xfrm>
              <a:off x="4894997" y="3323698"/>
              <a:ext cx="727760" cy="460894"/>
              <a:chOff x="4948337" y="3354074"/>
              <a:chExt cx="653232" cy="413697"/>
            </a:xfrm>
          </p:grpSpPr>
          <p:sp>
            <p:nvSpPr>
              <p:cNvPr id="101" name="Freeform 100"/>
              <p:cNvSpPr>
                <a:spLocks noChangeAspect="1"/>
              </p:cNvSpPr>
              <p:nvPr/>
            </p:nvSpPr>
            <p:spPr bwMode="auto">
              <a:xfrm>
                <a:off x="4948337" y="3354074"/>
                <a:ext cx="653232" cy="413697"/>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02" name="Shape 101"/>
              <p:cNvSpPr/>
              <p:nvPr/>
            </p:nvSpPr>
            <p:spPr>
              <a:xfrm rot="17252513" flipV="1">
                <a:off x="5131503" y="3441734"/>
                <a:ext cx="229726" cy="263960"/>
              </a:xfrm>
              <a:custGeom>
                <a:avLst/>
                <a:gdLst>
                  <a:gd name="connsiteX0" fmla="*/ 0 w 464709"/>
                  <a:gd name="connsiteY0" fmla="*/ 465727 h 465727"/>
                  <a:gd name="connsiteX1" fmla="*/ 348532 w 464709"/>
                  <a:gd name="connsiteY1" fmla="*/ 58089 h 465727"/>
                  <a:gd name="connsiteX2" fmla="*/ 341987 w 464709"/>
                  <a:gd name="connsiteY2" fmla="*/ 0 h 465727"/>
                  <a:gd name="connsiteX3" fmla="*/ 464709 w 464709"/>
                  <a:gd name="connsiteY3" fmla="*/ 93018 h 465727"/>
                  <a:gd name="connsiteX4" fmla="*/ 368195 w 464709"/>
                  <a:gd name="connsiteY4" fmla="*/ 232609 h 465727"/>
                  <a:gd name="connsiteX5" fmla="*/ 361650 w 464709"/>
                  <a:gd name="connsiteY5" fmla="*/ 174520 h 465727"/>
                  <a:gd name="connsiteX6" fmla="*/ 0 w 464709"/>
                  <a:gd name="connsiteY6" fmla="*/ 465727 h 465727"/>
                  <a:gd name="connsiteX0" fmla="*/ 0 w 479695"/>
                  <a:gd name="connsiteY0" fmla="*/ 551178 h 551178"/>
                  <a:gd name="connsiteX1" fmla="*/ 363518 w 479695"/>
                  <a:gd name="connsiteY1" fmla="*/ 58089 h 551178"/>
                  <a:gd name="connsiteX2" fmla="*/ 356973 w 479695"/>
                  <a:gd name="connsiteY2" fmla="*/ 0 h 551178"/>
                  <a:gd name="connsiteX3" fmla="*/ 479695 w 479695"/>
                  <a:gd name="connsiteY3" fmla="*/ 93018 h 551178"/>
                  <a:gd name="connsiteX4" fmla="*/ 383181 w 479695"/>
                  <a:gd name="connsiteY4" fmla="*/ 232609 h 551178"/>
                  <a:gd name="connsiteX5" fmla="*/ 376636 w 479695"/>
                  <a:gd name="connsiteY5" fmla="*/ 174520 h 551178"/>
                  <a:gd name="connsiteX6" fmla="*/ 0 w 479695"/>
                  <a:gd name="connsiteY6" fmla="*/ 551178 h 5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9695" h="551178">
                    <a:moveTo>
                      <a:pt x="0" y="551178"/>
                    </a:moveTo>
                    <a:cubicBezTo>
                      <a:pt x="51635" y="344188"/>
                      <a:pt x="182798" y="122858"/>
                      <a:pt x="363518" y="58089"/>
                    </a:cubicBezTo>
                    <a:lnTo>
                      <a:pt x="356973" y="0"/>
                    </a:lnTo>
                    <a:lnTo>
                      <a:pt x="479695" y="93018"/>
                    </a:lnTo>
                    <a:lnTo>
                      <a:pt x="383181" y="232609"/>
                    </a:lnTo>
                    <a:lnTo>
                      <a:pt x="376636" y="174520"/>
                    </a:lnTo>
                    <a:cubicBezTo>
                      <a:pt x="212987" y="200394"/>
                      <a:pt x="77451" y="382914"/>
                      <a:pt x="0" y="551178"/>
                    </a:cubicBezTo>
                    <a:close/>
                  </a:path>
                </a:pathLst>
              </a:custGeom>
              <a:solidFill>
                <a:schemeClr val="accent3"/>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grpSp>
            <p:nvGrpSpPr>
              <p:cNvPr id="20" name="Group 19"/>
              <p:cNvGrpSpPr/>
              <p:nvPr/>
            </p:nvGrpSpPr>
            <p:grpSpPr>
              <a:xfrm>
                <a:off x="5061831" y="3666306"/>
                <a:ext cx="426244" cy="34279"/>
                <a:chOff x="10989999" y="2098511"/>
                <a:chExt cx="819806" cy="65929"/>
              </a:xfrm>
            </p:grpSpPr>
            <p:cxnSp>
              <p:nvCxnSpPr>
                <p:cNvPr id="10" name="Straight Connector 9"/>
                <p:cNvCxnSpPr/>
                <p:nvPr/>
              </p:nvCxnSpPr>
              <p:spPr>
                <a:xfrm>
                  <a:off x="10989999" y="2103741"/>
                  <a:ext cx="81980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10989999" y="2098511"/>
                  <a:ext cx="0" cy="65929"/>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flipV="1">
                  <a:off x="11153961" y="2098511"/>
                  <a:ext cx="0" cy="65929"/>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V="1">
                  <a:off x="11317920" y="2098511"/>
                  <a:ext cx="0" cy="65929"/>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V="1">
                  <a:off x="11481882" y="2098511"/>
                  <a:ext cx="0" cy="65929"/>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V="1">
                  <a:off x="11645843" y="2098511"/>
                  <a:ext cx="0" cy="65929"/>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flipV="1">
                  <a:off x="11809805" y="2098511"/>
                  <a:ext cx="0" cy="65929"/>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grpSp>
        </p:grpSp>
      </p:grpSp>
      <p:grpSp>
        <p:nvGrpSpPr>
          <p:cNvPr id="14" name="Group 13"/>
          <p:cNvGrpSpPr/>
          <p:nvPr/>
        </p:nvGrpSpPr>
        <p:grpSpPr>
          <a:xfrm>
            <a:off x="3770827" y="5917061"/>
            <a:ext cx="819242" cy="819242"/>
            <a:chOff x="3943832" y="5824587"/>
            <a:chExt cx="911716" cy="911716"/>
          </a:xfrm>
        </p:grpSpPr>
        <p:sp>
          <p:nvSpPr>
            <p:cNvPr id="135" name="Oval 134"/>
            <p:cNvSpPr/>
            <p:nvPr/>
          </p:nvSpPr>
          <p:spPr>
            <a:xfrm>
              <a:off x="3943832" y="5824587"/>
              <a:ext cx="911716" cy="911716"/>
            </a:xfrm>
            <a:prstGeom prst="ellipse">
              <a:avLst/>
            </a:prstGeom>
            <a:solidFill>
              <a:schemeClr val="accent3"/>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5" name="Freeform 124"/>
            <p:cNvSpPr/>
            <p:nvPr/>
          </p:nvSpPr>
          <p:spPr>
            <a:xfrm flipH="1">
              <a:off x="4391823" y="5836348"/>
              <a:ext cx="454146" cy="888194"/>
            </a:xfrm>
            <a:custGeom>
              <a:avLst/>
              <a:gdLst>
                <a:gd name="connsiteX0" fmla="*/ 253877 w 259622"/>
                <a:gd name="connsiteY0" fmla="*/ 0 h 507754"/>
                <a:gd name="connsiteX1" fmla="*/ 259622 w 259622"/>
                <a:gd name="connsiteY1" fmla="*/ 579 h 507754"/>
                <a:gd name="connsiteX2" fmla="*/ 259622 w 259622"/>
                <a:gd name="connsiteY2" fmla="*/ 507175 h 507754"/>
                <a:gd name="connsiteX3" fmla="*/ 253877 w 259622"/>
                <a:gd name="connsiteY3" fmla="*/ 507754 h 507754"/>
                <a:gd name="connsiteX4" fmla="*/ 0 w 259622"/>
                <a:gd name="connsiteY4" fmla="*/ 253877 h 507754"/>
                <a:gd name="connsiteX5" fmla="*/ 253877 w 259622"/>
                <a:gd name="connsiteY5" fmla="*/ 0 h 507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622" h="507754">
                  <a:moveTo>
                    <a:pt x="253877" y="0"/>
                  </a:moveTo>
                  <a:lnTo>
                    <a:pt x="259622" y="579"/>
                  </a:lnTo>
                  <a:lnTo>
                    <a:pt x="259622" y="507175"/>
                  </a:lnTo>
                  <a:lnTo>
                    <a:pt x="253877" y="507754"/>
                  </a:lnTo>
                  <a:cubicBezTo>
                    <a:pt x="113665" y="507754"/>
                    <a:pt x="0" y="394089"/>
                    <a:pt x="0" y="253877"/>
                  </a:cubicBezTo>
                  <a:cubicBezTo>
                    <a:pt x="0" y="113665"/>
                    <a:pt x="113665" y="0"/>
                    <a:pt x="253877" y="0"/>
                  </a:cubicBez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025" name="Group 1024"/>
            <p:cNvGrpSpPr/>
            <p:nvPr/>
          </p:nvGrpSpPr>
          <p:grpSpPr>
            <a:xfrm>
              <a:off x="4167677" y="6052238"/>
              <a:ext cx="477619" cy="567012"/>
              <a:chOff x="10467703" y="-2406750"/>
              <a:chExt cx="798347" cy="947769"/>
            </a:xfrm>
          </p:grpSpPr>
          <p:sp>
            <p:nvSpPr>
              <p:cNvPr id="131" name="Freeform 130"/>
              <p:cNvSpPr/>
              <p:nvPr/>
            </p:nvSpPr>
            <p:spPr>
              <a:xfrm rot="10800000" flipH="1">
                <a:off x="10467703" y="-2406750"/>
                <a:ext cx="798347" cy="947769"/>
              </a:xfrm>
              <a:custGeom>
                <a:avLst/>
                <a:gdLst>
                  <a:gd name="connsiteX0" fmla="*/ 0 w 797833"/>
                  <a:gd name="connsiteY0" fmla="*/ 947773 h 947773"/>
                  <a:gd name="connsiteX1" fmla="*/ 797832 w 797833"/>
                  <a:gd name="connsiteY1" fmla="*/ 947773 h 947773"/>
                  <a:gd name="connsiteX2" fmla="*/ 797832 w 797833"/>
                  <a:gd name="connsiteY2" fmla="*/ 947771 h 947773"/>
                  <a:gd name="connsiteX3" fmla="*/ 797833 w 797833"/>
                  <a:gd name="connsiteY3" fmla="*/ 947771 h 947773"/>
                  <a:gd name="connsiteX4" fmla="*/ 797833 w 797833"/>
                  <a:gd name="connsiteY4" fmla="*/ 422989 h 947773"/>
                  <a:gd name="connsiteX5" fmla="*/ 797831 w 797833"/>
                  <a:gd name="connsiteY5" fmla="*/ 422987 h 947773"/>
                  <a:gd name="connsiteX6" fmla="*/ 789773 w 797833"/>
                  <a:gd name="connsiteY6" fmla="*/ 389753 h 947773"/>
                  <a:gd name="connsiteX7" fmla="*/ 479628 w 797833"/>
                  <a:gd name="connsiteY7" fmla="*/ 29420 h 947773"/>
                  <a:gd name="connsiteX8" fmla="*/ 398920 w 797833"/>
                  <a:gd name="connsiteY8" fmla="*/ 4 h 947773"/>
                  <a:gd name="connsiteX9" fmla="*/ 398917 w 797833"/>
                  <a:gd name="connsiteY9" fmla="*/ 0 h 947773"/>
                  <a:gd name="connsiteX10" fmla="*/ 1 w 797833"/>
                  <a:gd name="connsiteY10" fmla="*/ 422989 h 947773"/>
                  <a:gd name="connsiteX11" fmla="*/ 1 w 797833"/>
                  <a:gd name="connsiteY11" fmla="*/ 422990 h 947773"/>
                  <a:gd name="connsiteX12" fmla="*/ 0 w 797833"/>
                  <a:gd name="connsiteY12" fmla="*/ 422991 h 947773"/>
                  <a:gd name="connsiteX0" fmla="*/ 0 w 797833"/>
                  <a:gd name="connsiteY0" fmla="*/ 947773 h 947773"/>
                  <a:gd name="connsiteX1" fmla="*/ 797832 w 797833"/>
                  <a:gd name="connsiteY1" fmla="*/ 947773 h 947773"/>
                  <a:gd name="connsiteX2" fmla="*/ 797832 w 797833"/>
                  <a:gd name="connsiteY2" fmla="*/ 947771 h 947773"/>
                  <a:gd name="connsiteX3" fmla="*/ 797833 w 797833"/>
                  <a:gd name="connsiteY3" fmla="*/ 947771 h 947773"/>
                  <a:gd name="connsiteX4" fmla="*/ 797833 w 797833"/>
                  <a:gd name="connsiteY4" fmla="*/ 422989 h 947773"/>
                  <a:gd name="connsiteX5" fmla="*/ 797831 w 797833"/>
                  <a:gd name="connsiteY5" fmla="*/ 422987 h 947773"/>
                  <a:gd name="connsiteX6" fmla="*/ 789773 w 797833"/>
                  <a:gd name="connsiteY6" fmla="*/ 389753 h 947773"/>
                  <a:gd name="connsiteX7" fmla="*/ 398920 w 797833"/>
                  <a:gd name="connsiteY7" fmla="*/ 4 h 947773"/>
                  <a:gd name="connsiteX8" fmla="*/ 398917 w 797833"/>
                  <a:gd name="connsiteY8" fmla="*/ 0 h 947773"/>
                  <a:gd name="connsiteX9" fmla="*/ 1 w 797833"/>
                  <a:gd name="connsiteY9" fmla="*/ 422989 h 947773"/>
                  <a:gd name="connsiteX10" fmla="*/ 1 w 797833"/>
                  <a:gd name="connsiteY10" fmla="*/ 422990 h 947773"/>
                  <a:gd name="connsiteX11" fmla="*/ 0 w 797833"/>
                  <a:gd name="connsiteY11" fmla="*/ 422991 h 947773"/>
                  <a:gd name="connsiteX12" fmla="*/ 0 w 797833"/>
                  <a:gd name="connsiteY12" fmla="*/ 947773 h 947773"/>
                  <a:gd name="connsiteX0" fmla="*/ 0 w 797833"/>
                  <a:gd name="connsiteY0" fmla="*/ 947773 h 947773"/>
                  <a:gd name="connsiteX1" fmla="*/ 797832 w 797833"/>
                  <a:gd name="connsiteY1" fmla="*/ 947773 h 947773"/>
                  <a:gd name="connsiteX2" fmla="*/ 797832 w 797833"/>
                  <a:gd name="connsiteY2" fmla="*/ 947771 h 947773"/>
                  <a:gd name="connsiteX3" fmla="*/ 797833 w 797833"/>
                  <a:gd name="connsiteY3" fmla="*/ 947771 h 947773"/>
                  <a:gd name="connsiteX4" fmla="*/ 797833 w 797833"/>
                  <a:gd name="connsiteY4" fmla="*/ 422989 h 947773"/>
                  <a:gd name="connsiteX5" fmla="*/ 797831 w 797833"/>
                  <a:gd name="connsiteY5" fmla="*/ 422987 h 947773"/>
                  <a:gd name="connsiteX6" fmla="*/ 398920 w 797833"/>
                  <a:gd name="connsiteY6" fmla="*/ 4 h 947773"/>
                  <a:gd name="connsiteX7" fmla="*/ 398917 w 797833"/>
                  <a:gd name="connsiteY7" fmla="*/ 0 h 947773"/>
                  <a:gd name="connsiteX8" fmla="*/ 1 w 797833"/>
                  <a:gd name="connsiteY8" fmla="*/ 422989 h 947773"/>
                  <a:gd name="connsiteX9" fmla="*/ 1 w 797833"/>
                  <a:gd name="connsiteY9" fmla="*/ 422990 h 947773"/>
                  <a:gd name="connsiteX10" fmla="*/ 0 w 797833"/>
                  <a:gd name="connsiteY10" fmla="*/ 422991 h 947773"/>
                  <a:gd name="connsiteX11" fmla="*/ 0 w 797833"/>
                  <a:gd name="connsiteY11" fmla="*/ 947773 h 947773"/>
                  <a:gd name="connsiteX0" fmla="*/ 0 w 797833"/>
                  <a:gd name="connsiteY0" fmla="*/ 947773 h 947773"/>
                  <a:gd name="connsiteX1" fmla="*/ 797832 w 797833"/>
                  <a:gd name="connsiteY1" fmla="*/ 947773 h 947773"/>
                  <a:gd name="connsiteX2" fmla="*/ 797832 w 797833"/>
                  <a:gd name="connsiteY2" fmla="*/ 947771 h 947773"/>
                  <a:gd name="connsiteX3" fmla="*/ 797833 w 797833"/>
                  <a:gd name="connsiteY3" fmla="*/ 947771 h 947773"/>
                  <a:gd name="connsiteX4" fmla="*/ 797833 w 797833"/>
                  <a:gd name="connsiteY4" fmla="*/ 422989 h 947773"/>
                  <a:gd name="connsiteX5" fmla="*/ 797831 w 797833"/>
                  <a:gd name="connsiteY5" fmla="*/ 422987 h 947773"/>
                  <a:gd name="connsiteX6" fmla="*/ 398920 w 797833"/>
                  <a:gd name="connsiteY6" fmla="*/ 4 h 947773"/>
                  <a:gd name="connsiteX7" fmla="*/ 398917 w 797833"/>
                  <a:gd name="connsiteY7" fmla="*/ 0 h 947773"/>
                  <a:gd name="connsiteX8" fmla="*/ 1 w 797833"/>
                  <a:gd name="connsiteY8" fmla="*/ 422989 h 947773"/>
                  <a:gd name="connsiteX9" fmla="*/ 1 w 797833"/>
                  <a:gd name="connsiteY9" fmla="*/ 422990 h 947773"/>
                  <a:gd name="connsiteX10" fmla="*/ 0 w 797833"/>
                  <a:gd name="connsiteY10" fmla="*/ 422991 h 947773"/>
                  <a:gd name="connsiteX11" fmla="*/ 0 w 797833"/>
                  <a:gd name="connsiteY11" fmla="*/ 947773 h 947773"/>
                  <a:gd name="connsiteX0" fmla="*/ 0 w 797839"/>
                  <a:gd name="connsiteY0" fmla="*/ 947773 h 947773"/>
                  <a:gd name="connsiteX1" fmla="*/ 797832 w 797839"/>
                  <a:gd name="connsiteY1" fmla="*/ 947773 h 947773"/>
                  <a:gd name="connsiteX2" fmla="*/ 797832 w 797839"/>
                  <a:gd name="connsiteY2" fmla="*/ 947771 h 947773"/>
                  <a:gd name="connsiteX3" fmla="*/ 797833 w 797839"/>
                  <a:gd name="connsiteY3" fmla="*/ 947771 h 947773"/>
                  <a:gd name="connsiteX4" fmla="*/ 797833 w 797839"/>
                  <a:gd name="connsiteY4" fmla="*/ 422989 h 947773"/>
                  <a:gd name="connsiteX5" fmla="*/ 797831 w 797839"/>
                  <a:gd name="connsiteY5" fmla="*/ 422987 h 947773"/>
                  <a:gd name="connsiteX6" fmla="*/ 398920 w 797839"/>
                  <a:gd name="connsiteY6" fmla="*/ 4 h 947773"/>
                  <a:gd name="connsiteX7" fmla="*/ 398917 w 797839"/>
                  <a:gd name="connsiteY7" fmla="*/ 0 h 947773"/>
                  <a:gd name="connsiteX8" fmla="*/ 1 w 797839"/>
                  <a:gd name="connsiteY8" fmla="*/ 422989 h 947773"/>
                  <a:gd name="connsiteX9" fmla="*/ 1 w 797839"/>
                  <a:gd name="connsiteY9" fmla="*/ 422990 h 947773"/>
                  <a:gd name="connsiteX10" fmla="*/ 0 w 797839"/>
                  <a:gd name="connsiteY10" fmla="*/ 422991 h 947773"/>
                  <a:gd name="connsiteX11" fmla="*/ 0 w 797839"/>
                  <a:gd name="connsiteY11" fmla="*/ 947773 h 947773"/>
                  <a:gd name="connsiteX0" fmla="*/ 0 w 797839"/>
                  <a:gd name="connsiteY0" fmla="*/ 947773 h 947773"/>
                  <a:gd name="connsiteX1" fmla="*/ 797832 w 797839"/>
                  <a:gd name="connsiteY1" fmla="*/ 947773 h 947773"/>
                  <a:gd name="connsiteX2" fmla="*/ 797832 w 797839"/>
                  <a:gd name="connsiteY2" fmla="*/ 947771 h 947773"/>
                  <a:gd name="connsiteX3" fmla="*/ 797833 w 797839"/>
                  <a:gd name="connsiteY3" fmla="*/ 947771 h 947773"/>
                  <a:gd name="connsiteX4" fmla="*/ 797833 w 797839"/>
                  <a:gd name="connsiteY4" fmla="*/ 422989 h 947773"/>
                  <a:gd name="connsiteX5" fmla="*/ 797831 w 797839"/>
                  <a:gd name="connsiteY5" fmla="*/ 422987 h 947773"/>
                  <a:gd name="connsiteX6" fmla="*/ 398920 w 797839"/>
                  <a:gd name="connsiteY6" fmla="*/ 4 h 947773"/>
                  <a:gd name="connsiteX7" fmla="*/ 398917 w 797839"/>
                  <a:gd name="connsiteY7" fmla="*/ 0 h 947773"/>
                  <a:gd name="connsiteX8" fmla="*/ 1 w 797839"/>
                  <a:gd name="connsiteY8" fmla="*/ 422989 h 947773"/>
                  <a:gd name="connsiteX9" fmla="*/ 1 w 797839"/>
                  <a:gd name="connsiteY9" fmla="*/ 422990 h 947773"/>
                  <a:gd name="connsiteX10" fmla="*/ 0 w 797839"/>
                  <a:gd name="connsiteY10" fmla="*/ 422991 h 947773"/>
                  <a:gd name="connsiteX11" fmla="*/ 0 w 797839"/>
                  <a:gd name="connsiteY11" fmla="*/ 947773 h 947773"/>
                  <a:gd name="connsiteX0" fmla="*/ 0 w 797839"/>
                  <a:gd name="connsiteY0" fmla="*/ 968938 h 968938"/>
                  <a:gd name="connsiteX1" fmla="*/ 797832 w 797839"/>
                  <a:gd name="connsiteY1" fmla="*/ 968938 h 968938"/>
                  <a:gd name="connsiteX2" fmla="*/ 797832 w 797839"/>
                  <a:gd name="connsiteY2" fmla="*/ 968936 h 968938"/>
                  <a:gd name="connsiteX3" fmla="*/ 797833 w 797839"/>
                  <a:gd name="connsiteY3" fmla="*/ 968936 h 968938"/>
                  <a:gd name="connsiteX4" fmla="*/ 797833 w 797839"/>
                  <a:gd name="connsiteY4" fmla="*/ 444154 h 968938"/>
                  <a:gd name="connsiteX5" fmla="*/ 797831 w 797839"/>
                  <a:gd name="connsiteY5" fmla="*/ 444152 h 968938"/>
                  <a:gd name="connsiteX6" fmla="*/ 398920 w 797839"/>
                  <a:gd name="connsiteY6" fmla="*/ 21169 h 968938"/>
                  <a:gd name="connsiteX7" fmla="*/ 398917 w 797839"/>
                  <a:gd name="connsiteY7" fmla="*/ 21165 h 968938"/>
                  <a:gd name="connsiteX8" fmla="*/ 1 w 797839"/>
                  <a:gd name="connsiteY8" fmla="*/ 444154 h 968938"/>
                  <a:gd name="connsiteX9" fmla="*/ 1 w 797839"/>
                  <a:gd name="connsiteY9" fmla="*/ 444155 h 968938"/>
                  <a:gd name="connsiteX10" fmla="*/ 0 w 797839"/>
                  <a:gd name="connsiteY10" fmla="*/ 444156 h 968938"/>
                  <a:gd name="connsiteX11" fmla="*/ 0 w 797839"/>
                  <a:gd name="connsiteY11" fmla="*/ 968938 h 968938"/>
                  <a:gd name="connsiteX0" fmla="*/ 0 w 797839"/>
                  <a:gd name="connsiteY0" fmla="*/ 968938 h 968938"/>
                  <a:gd name="connsiteX1" fmla="*/ 797832 w 797839"/>
                  <a:gd name="connsiteY1" fmla="*/ 968938 h 968938"/>
                  <a:gd name="connsiteX2" fmla="*/ 797832 w 797839"/>
                  <a:gd name="connsiteY2" fmla="*/ 968936 h 968938"/>
                  <a:gd name="connsiteX3" fmla="*/ 797833 w 797839"/>
                  <a:gd name="connsiteY3" fmla="*/ 968936 h 968938"/>
                  <a:gd name="connsiteX4" fmla="*/ 797833 w 797839"/>
                  <a:gd name="connsiteY4" fmla="*/ 444154 h 968938"/>
                  <a:gd name="connsiteX5" fmla="*/ 797831 w 797839"/>
                  <a:gd name="connsiteY5" fmla="*/ 444152 h 968938"/>
                  <a:gd name="connsiteX6" fmla="*/ 398920 w 797839"/>
                  <a:gd name="connsiteY6" fmla="*/ 21169 h 968938"/>
                  <a:gd name="connsiteX7" fmla="*/ 398917 w 797839"/>
                  <a:gd name="connsiteY7" fmla="*/ 21165 h 968938"/>
                  <a:gd name="connsiteX8" fmla="*/ 1 w 797839"/>
                  <a:gd name="connsiteY8" fmla="*/ 444154 h 968938"/>
                  <a:gd name="connsiteX9" fmla="*/ 1 w 797839"/>
                  <a:gd name="connsiteY9" fmla="*/ 444155 h 968938"/>
                  <a:gd name="connsiteX10" fmla="*/ 0 w 797839"/>
                  <a:gd name="connsiteY10" fmla="*/ 444156 h 968938"/>
                  <a:gd name="connsiteX11" fmla="*/ 0 w 797839"/>
                  <a:gd name="connsiteY11" fmla="*/ 968938 h 968938"/>
                  <a:gd name="connsiteX0" fmla="*/ 0 w 797839"/>
                  <a:gd name="connsiteY0" fmla="*/ 947773 h 947773"/>
                  <a:gd name="connsiteX1" fmla="*/ 797832 w 797839"/>
                  <a:gd name="connsiteY1" fmla="*/ 947773 h 947773"/>
                  <a:gd name="connsiteX2" fmla="*/ 797832 w 797839"/>
                  <a:gd name="connsiteY2" fmla="*/ 947771 h 947773"/>
                  <a:gd name="connsiteX3" fmla="*/ 797833 w 797839"/>
                  <a:gd name="connsiteY3" fmla="*/ 947771 h 947773"/>
                  <a:gd name="connsiteX4" fmla="*/ 797833 w 797839"/>
                  <a:gd name="connsiteY4" fmla="*/ 422989 h 947773"/>
                  <a:gd name="connsiteX5" fmla="*/ 797831 w 797839"/>
                  <a:gd name="connsiteY5" fmla="*/ 422987 h 947773"/>
                  <a:gd name="connsiteX6" fmla="*/ 398920 w 797839"/>
                  <a:gd name="connsiteY6" fmla="*/ 4 h 947773"/>
                  <a:gd name="connsiteX7" fmla="*/ 398917 w 797839"/>
                  <a:gd name="connsiteY7" fmla="*/ 0 h 947773"/>
                  <a:gd name="connsiteX8" fmla="*/ 1 w 797839"/>
                  <a:gd name="connsiteY8" fmla="*/ 422989 h 947773"/>
                  <a:gd name="connsiteX9" fmla="*/ 1 w 797839"/>
                  <a:gd name="connsiteY9" fmla="*/ 422990 h 947773"/>
                  <a:gd name="connsiteX10" fmla="*/ 0 w 797839"/>
                  <a:gd name="connsiteY10" fmla="*/ 422991 h 947773"/>
                  <a:gd name="connsiteX11" fmla="*/ 0 w 797839"/>
                  <a:gd name="connsiteY11" fmla="*/ 947773 h 947773"/>
                  <a:gd name="connsiteX0" fmla="*/ 0 w 797839"/>
                  <a:gd name="connsiteY0" fmla="*/ 947769 h 947769"/>
                  <a:gd name="connsiteX1" fmla="*/ 797832 w 797839"/>
                  <a:gd name="connsiteY1" fmla="*/ 947769 h 947769"/>
                  <a:gd name="connsiteX2" fmla="*/ 797832 w 797839"/>
                  <a:gd name="connsiteY2" fmla="*/ 947767 h 947769"/>
                  <a:gd name="connsiteX3" fmla="*/ 797833 w 797839"/>
                  <a:gd name="connsiteY3" fmla="*/ 947767 h 947769"/>
                  <a:gd name="connsiteX4" fmla="*/ 797833 w 797839"/>
                  <a:gd name="connsiteY4" fmla="*/ 422985 h 947769"/>
                  <a:gd name="connsiteX5" fmla="*/ 797831 w 797839"/>
                  <a:gd name="connsiteY5" fmla="*/ 422983 h 947769"/>
                  <a:gd name="connsiteX6" fmla="*/ 398920 w 797839"/>
                  <a:gd name="connsiteY6" fmla="*/ 0 h 947769"/>
                  <a:gd name="connsiteX7" fmla="*/ 1 w 797839"/>
                  <a:gd name="connsiteY7" fmla="*/ 422985 h 947769"/>
                  <a:gd name="connsiteX8" fmla="*/ 1 w 797839"/>
                  <a:gd name="connsiteY8" fmla="*/ 422986 h 947769"/>
                  <a:gd name="connsiteX9" fmla="*/ 0 w 797839"/>
                  <a:gd name="connsiteY9" fmla="*/ 422987 h 947769"/>
                  <a:gd name="connsiteX10" fmla="*/ 0 w 797839"/>
                  <a:gd name="connsiteY10" fmla="*/ 947769 h 947769"/>
                  <a:gd name="connsiteX0" fmla="*/ 0 w 797839"/>
                  <a:gd name="connsiteY0" fmla="*/ 947769 h 947769"/>
                  <a:gd name="connsiteX1" fmla="*/ 797832 w 797839"/>
                  <a:gd name="connsiteY1" fmla="*/ 947769 h 947769"/>
                  <a:gd name="connsiteX2" fmla="*/ 797832 w 797839"/>
                  <a:gd name="connsiteY2" fmla="*/ 947767 h 947769"/>
                  <a:gd name="connsiteX3" fmla="*/ 797833 w 797839"/>
                  <a:gd name="connsiteY3" fmla="*/ 947767 h 947769"/>
                  <a:gd name="connsiteX4" fmla="*/ 797833 w 797839"/>
                  <a:gd name="connsiteY4" fmla="*/ 422985 h 947769"/>
                  <a:gd name="connsiteX5" fmla="*/ 797831 w 797839"/>
                  <a:gd name="connsiteY5" fmla="*/ 422983 h 947769"/>
                  <a:gd name="connsiteX6" fmla="*/ 398920 w 797839"/>
                  <a:gd name="connsiteY6" fmla="*/ 0 h 947769"/>
                  <a:gd name="connsiteX7" fmla="*/ 1 w 797839"/>
                  <a:gd name="connsiteY7" fmla="*/ 422985 h 947769"/>
                  <a:gd name="connsiteX8" fmla="*/ 1 w 797839"/>
                  <a:gd name="connsiteY8" fmla="*/ 422986 h 947769"/>
                  <a:gd name="connsiteX9" fmla="*/ 0 w 797839"/>
                  <a:gd name="connsiteY9" fmla="*/ 422987 h 947769"/>
                  <a:gd name="connsiteX10" fmla="*/ 0 w 797839"/>
                  <a:gd name="connsiteY10" fmla="*/ 947769 h 947769"/>
                  <a:gd name="connsiteX0" fmla="*/ 0 w 797843"/>
                  <a:gd name="connsiteY0" fmla="*/ 947769 h 947769"/>
                  <a:gd name="connsiteX1" fmla="*/ 797832 w 797843"/>
                  <a:gd name="connsiteY1" fmla="*/ 947769 h 947769"/>
                  <a:gd name="connsiteX2" fmla="*/ 797832 w 797843"/>
                  <a:gd name="connsiteY2" fmla="*/ 947767 h 947769"/>
                  <a:gd name="connsiteX3" fmla="*/ 797833 w 797843"/>
                  <a:gd name="connsiteY3" fmla="*/ 947767 h 947769"/>
                  <a:gd name="connsiteX4" fmla="*/ 797833 w 797843"/>
                  <a:gd name="connsiteY4" fmla="*/ 422985 h 947769"/>
                  <a:gd name="connsiteX5" fmla="*/ 797831 w 797843"/>
                  <a:gd name="connsiteY5" fmla="*/ 422983 h 947769"/>
                  <a:gd name="connsiteX6" fmla="*/ 398920 w 797843"/>
                  <a:gd name="connsiteY6" fmla="*/ 0 h 947769"/>
                  <a:gd name="connsiteX7" fmla="*/ 1 w 797843"/>
                  <a:gd name="connsiteY7" fmla="*/ 422985 h 947769"/>
                  <a:gd name="connsiteX8" fmla="*/ 1 w 797843"/>
                  <a:gd name="connsiteY8" fmla="*/ 422986 h 947769"/>
                  <a:gd name="connsiteX9" fmla="*/ 0 w 797843"/>
                  <a:gd name="connsiteY9" fmla="*/ 422987 h 947769"/>
                  <a:gd name="connsiteX10" fmla="*/ 0 w 797843"/>
                  <a:gd name="connsiteY10" fmla="*/ 947769 h 947769"/>
                  <a:gd name="connsiteX0" fmla="*/ 604 w 798447"/>
                  <a:gd name="connsiteY0" fmla="*/ 947769 h 947769"/>
                  <a:gd name="connsiteX1" fmla="*/ 798436 w 798447"/>
                  <a:gd name="connsiteY1" fmla="*/ 947769 h 947769"/>
                  <a:gd name="connsiteX2" fmla="*/ 798436 w 798447"/>
                  <a:gd name="connsiteY2" fmla="*/ 947767 h 947769"/>
                  <a:gd name="connsiteX3" fmla="*/ 798437 w 798447"/>
                  <a:gd name="connsiteY3" fmla="*/ 947767 h 947769"/>
                  <a:gd name="connsiteX4" fmla="*/ 798437 w 798447"/>
                  <a:gd name="connsiteY4" fmla="*/ 422985 h 947769"/>
                  <a:gd name="connsiteX5" fmla="*/ 798435 w 798447"/>
                  <a:gd name="connsiteY5" fmla="*/ 422983 h 947769"/>
                  <a:gd name="connsiteX6" fmla="*/ 399524 w 798447"/>
                  <a:gd name="connsiteY6" fmla="*/ 0 h 947769"/>
                  <a:gd name="connsiteX7" fmla="*/ 605 w 798447"/>
                  <a:gd name="connsiteY7" fmla="*/ 422985 h 947769"/>
                  <a:gd name="connsiteX8" fmla="*/ 605 w 798447"/>
                  <a:gd name="connsiteY8" fmla="*/ 422986 h 947769"/>
                  <a:gd name="connsiteX9" fmla="*/ 604 w 798447"/>
                  <a:gd name="connsiteY9" fmla="*/ 422987 h 947769"/>
                  <a:gd name="connsiteX10" fmla="*/ 604 w 798447"/>
                  <a:gd name="connsiteY10" fmla="*/ 947769 h 947769"/>
                  <a:gd name="connsiteX0" fmla="*/ 59098 w 856941"/>
                  <a:gd name="connsiteY0" fmla="*/ 947769 h 947769"/>
                  <a:gd name="connsiteX1" fmla="*/ 856930 w 856941"/>
                  <a:gd name="connsiteY1" fmla="*/ 947769 h 947769"/>
                  <a:gd name="connsiteX2" fmla="*/ 856930 w 856941"/>
                  <a:gd name="connsiteY2" fmla="*/ 947767 h 947769"/>
                  <a:gd name="connsiteX3" fmla="*/ 856931 w 856941"/>
                  <a:gd name="connsiteY3" fmla="*/ 947767 h 947769"/>
                  <a:gd name="connsiteX4" fmla="*/ 856931 w 856941"/>
                  <a:gd name="connsiteY4" fmla="*/ 422985 h 947769"/>
                  <a:gd name="connsiteX5" fmla="*/ 856929 w 856941"/>
                  <a:gd name="connsiteY5" fmla="*/ 422983 h 947769"/>
                  <a:gd name="connsiteX6" fmla="*/ 458018 w 856941"/>
                  <a:gd name="connsiteY6" fmla="*/ 0 h 947769"/>
                  <a:gd name="connsiteX7" fmla="*/ 59099 w 856941"/>
                  <a:gd name="connsiteY7" fmla="*/ 422985 h 947769"/>
                  <a:gd name="connsiteX8" fmla="*/ 59099 w 856941"/>
                  <a:gd name="connsiteY8" fmla="*/ 422986 h 947769"/>
                  <a:gd name="connsiteX9" fmla="*/ 59098 w 856941"/>
                  <a:gd name="connsiteY9" fmla="*/ 947769 h 947769"/>
                  <a:gd name="connsiteX0" fmla="*/ 59098 w 856931"/>
                  <a:gd name="connsiteY0" fmla="*/ 947769 h 947769"/>
                  <a:gd name="connsiteX1" fmla="*/ 856930 w 856931"/>
                  <a:gd name="connsiteY1" fmla="*/ 947769 h 947769"/>
                  <a:gd name="connsiteX2" fmla="*/ 856930 w 856931"/>
                  <a:gd name="connsiteY2" fmla="*/ 947767 h 947769"/>
                  <a:gd name="connsiteX3" fmla="*/ 856931 w 856931"/>
                  <a:gd name="connsiteY3" fmla="*/ 947767 h 947769"/>
                  <a:gd name="connsiteX4" fmla="*/ 856931 w 856931"/>
                  <a:gd name="connsiteY4" fmla="*/ 422985 h 947769"/>
                  <a:gd name="connsiteX5" fmla="*/ 458018 w 856931"/>
                  <a:gd name="connsiteY5" fmla="*/ 0 h 947769"/>
                  <a:gd name="connsiteX6" fmla="*/ 59099 w 856931"/>
                  <a:gd name="connsiteY6" fmla="*/ 422985 h 947769"/>
                  <a:gd name="connsiteX7" fmla="*/ 59099 w 856931"/>
                  <a:gd name="connsiteY7" fmla="*/ 422986 h 947769"/>
                  <a:gd name="connsiteX8" fmla="*/ 59098 w 856931"/>
                  <a:gd name="connsiteY8" fmla="*/ 947769 h 947769"/>
                  <a:gd name="connsiteX0" fmla="*/ 0 w 797833"/>
                  <a:gd name="connsiteY0" fmla="*/ 947769 h 947769"/>
                  <a:gd name="connsiteX1" fmla="*/ 797832 w 797833"/>
                  <a:gd name="connsiteY1" fmla="*/ 947769 h 947769"/>
                  <a:gd name="connsiteX2" fmla="*/ 797832 w 797833"/>
                  <a:gd name="connsiteY2" fmla="*/ 947767 h 947769"/>
                  <a:gd name="connsiteX3" fmla="*/ 797833 w 797833"/>
                  <a:gd name="connsiteY3" fmla="*/ 947767 h 947769"/>
                  <a:gd name="connsiteX4" fmla="*/ 797833 w 797833"/>
                  <a:gd name="connsiteY4" fmla="*/ 422985 h 947769"/>
                  <a:gd name="connsiteX5" fmla="*/ 398920 w 797833"/>
                  <a:gd name="connsiteY5" fmla="*/ 0 h 947769"/>
                  <a:gd name="connsiteX6" fmla="*/ 1 w 797833"/>
                  <a:gd name="connsiteY6" fmla="*/ 422985 h 947769"/>
                  <a:gd name="connsiteX7" fmla="*/ 1 w 797833"/>
                  <a:gd name="connsiteY7" fmla="*/ 422986 h 947769"/>
                  <a:gd name="connsiteX8" fmla="*/ 0 w 797833"/>
                  <a:gd name="connsiteY8" fmla="*/ 947769 h 947769"/>
                  <a:gd name="connsiteX0" fmla="*/ 59098 w 856931"/>
                  <a:gd name="connsiteY0" fmla="*/ 947769 h 947769"/>
                  <a:gd name="connsiteX1" fmla="*/ 856930 w 856931"/>
                  <a:gd name="connsiteY1" fmla="*/ 947769 h 947769"/>
                  <a:gd name="connsiteX2" fmla="*/ 856930 w 856931"/>
                  <a:gd name="connsiteY2" fmla="*/ 947767 h 947769"/>
                  <a:gd name="connsiteX3" fmla="*/ 856931 w 856931"/>
                  <a:gd name="connsiteY3" fmla="*/ 947767 h 947769"/>
                  <a:gd name="connsiteX4" fmla="*/ 856931 w 856931"/>
                  <a:gd name="connsiteY4" fmla="*/ 422985 h 947769"/>
                  <a:gd name="connsiteX5" fmla="*/ 458018 w 856931"/>
                  <a:gd name="connsiteY5" fmla="*/ 0 h 947769"/>
                  <a:gd name="connsiteX6" fmla="*/ 59099 w 856931"/>
                  <a:gd name="connsiteY6" fmla="*/ 422985 h 947769"/>
                  <a:gd name="connsiteX7" fmla="*/ 59099 w 856931"/>
                  <a:gd name="connsiteY7" fmla="*/ 422986 h 947769"/>
                  <a:gd name="connsiteX8" fmla="*/ 59098 w 856931"/>
                  <a:gd name="connsiteY8" fmla="*/ 947769 h 947769"/>
                  <a:gd name="connsiteX0" fmla="*/ 58202 w 856035"/>
                  <a:gd name="connsiteY0" fmla="*/ 947769 h 947769"/>
                  <a:gd name="connsiteX1" fmla="*/ 856034 w 856035"/>
                  <a:gd name="connsiteY1" fmla="*/ 947769 h 947769"/>
                  <a:gd name="connsiteX2" fmla="*/ 856034 w 856035"/>
                  <a:gd name="connsiteY2" fmla="*/ 947767 h 947769"/>
                  <a:gd name="connsiteX3" fmla="*/ 856035 w 856035"/>
                  <a:gd name="connsiteY3" fmla="*/ 947767 h 947769"/>
                  <a:gd name="connsiteX4" fmla="*/ 856035 w 856035"/>
                  <a:gd name="connsiteY4" fmla="*/ 422985 h 947769"/>
                  <a:gd name="connsiteX5" fmla="*/ 457122 w 856035"/>
                  <a:gd name="connsiteY5" fmla="*/ 0 h 947769"/>
                  <a:gd name="connsiteX6" fmla="*/ 58203 w 856035"/>
                  <a:gd name="connsiteY6" fmla="*/ 422985 h 947769"/>
                  <a:gd name="connsiteX7" fmla="*/ 58203 w 856035"/>
                  <a:gd name="connsiteY7" fmla="*/ 422986 h 947769"/>
                  <a:gd name="connsiteX8" fmla="*/ 58202 w 856035"/>
                  <a:gd name="connsiteY8" fmla="*/ 947769 h 947769"/>
                  <a:gd name="connsiteX0" fmla="*/ 1814 w 799647"/>
                  <a:gd name="connsiteY0" fmla="*/ 947769 h 947769"/>
                  <a:gd name="connsiteX1" fmla="*/ 799646 w 799647"/>
                  <a:gd name="connsiteY1" fmla="*/ 947769 h 947769"/>
                  <a:gd name="connsiteX2" fmla="*/ 799646 w 799647"/>
                  <a:gd name="connsiteY2" fmla="*/ 947767 h 947769"/>
                  <a:gd name="connsiteX3" fmla="*/ 799647 w 799647"/>
                  <a:gd name="connsiteY3" fmla="*/ 947767 h 947769"/>
                  <a:gd name="connsiteX4" fmla="*/ 799647 w 799647"/>
                  <a:gd name="connsiteY4" fmla="*/ 422985 h 947769"/>
                  <a:gd name="connsiteX5" fmla="*/ 400734 w 799647"/>
                  <a:gd name="connsiteY5" fmla="*/ 0 h 947769"/>
                  <a:gd name="connsiteX6" fmla="*/ 1815 w 799647"/>
                  <a:gd name="connsiteY6" fmla="*/ 422985 h 947769"/>
                  <a:gd name="connsiteX7" fmla="*/ 1815 w 799647"/>
                  <a:gd name="connsiteY7" fmla="*/ 422986 h 947769"/>
                  <a:gd name="connsiteX8" fmla="*/ 1814 w 799647"/>
                  <a:gd name="connsiteY8" fmla="*/ 947769 h 947769"/>
                  <a:gd name="connsiteX0" fmla="*/ 19956 w 817789"/>
                  <a:gd name="connsiteY0" fmla="*/ 947769 h 947769"/>
                  <a:gd name="connsiteX1" fmla="*/ 817788 w 817789"/>
                  <a:gd name="connsiteY1" fmla="*/ 947769 h 947769"/>
                  <a:gd name="connsiteX2" fmla="*/ 817788 w 817789"/>
                  <a:gd name="connsiteY2" fmla="*/ 947767 h 947769"/>
                  <a:gd name="connsiteX3" fmla="*/ 817789 w 817789"/>
                  <a:gd name="connsiteY3" fmla="*/ 947767 h 947769"/>
                  <a:gd name="connsiteX4" fmla="*/ 817789 w 817789"/>
                  <a:gd name="connsiteY4" fmla="*/ 422985 h 947769"/>
                  <a:gd name="connsiteX5" fmla="*/ 418876 w 817789"/>
                  <a:gd name="connsiteY5" fmla="*/ 0 h 947769"/>
                  <a:gd name="connsiteX6" fmla="*/ 19957 w 817789"/>
                  <a:gd name="connsiteY6" fmla="*/ 422985 h 947769"/>
                  <a:gd name="connsiteX7" fmla="*/ 19957 w 817789"/>
                  <a:gd name="connsiteY7" fmla="*/ 422986 h 947769"/>
                  <a:gd name="connsiteX8" fmla="*/ 19956 w 817789"/>
                  <a:gd name="connsiteY8" fmla="*/ 947769 h 947769"/>
                  <a:gd name="connsiteX0" fmla="*/ 76771 w 874604"/>
                  <a:gd name="connsiteY0" fmla="*/ 947769 h 947769"/>
                  <a:gd name="connsiteX1" fmla="*/ 874603 w 874604"/>
                  <a:gd name="connsiteY1" fmla="*/ 947769 h 947769"/>
                  <a:gd name="connsiteX2" fmla="*/ 874603 w 874604"/>
                  <a:gd name="connsiteY2" fmla="*/ 947767 h 947769"/>
                  <a:gd name="connsiteX3" fmla="*/ 874604 w 874604"/>
                  <a:gd name="connsiteY3" fmla="*/ 947767 h 947769"/>
                  <a:gd name="connsiteX4" fmla="*/ 874604 w 874604"/>
                  <a:gd name="connsiteY4" fmla="*/ 422985 h 947769"/>
                  <a:gd name="connsiteX5" fmla="*/ 475691 w 874604"/>
                  <a:gd name="connsiteY5" fmla="*/ 0 h 947769"/>
                  <a:gd name="connsiteX6" fmla="*/ 76772 w 874604"/>
                  <a:gd name="connsiteY6" fmla="*/ 422985 h 947769"/>
                  <a:gd name="connsiteX7" fmla="*/ 76771 w 874604"/>
                  <a:gd name="connsiteY7" fmla="*/ 947769 h 947769"/>
                  <a:gd name="connsiteX0" fmla="*/ 76771 w 874604"/>
                  <a:gd name="connsiteY0" fmla="*/ 947769 h 947769"/>
                  <a:gd name="connsiteX1" fmla="*/ 874603 w 874604"/>
                  <a:gd name="connsiteY1" fmla="*/ 947769 h 947769"/>
                  <a:gd name="connsiteX2" fmla="*/ 874603 w 874604"/>
                  <a:gd name="connsiteY2" fmla="*/ 947767 h 947769"/>
                  <a:gd name="connsiteX3" fmla="*/ 874604 w 874604"/>
                  <a:gd name="connsiteY3" fmla="*/ 947767 h 947769"/>
                  <a:gd name="connsiteX4" fmla="*/ 874604 w 874604"/>
                  <a:gd name="connsiteY4" fmla="*/ 422985 h 947769"/>
                  <a:gd name="connsiteX5" fmla="*/ 475691 w 874604"/>
                  <a:gd name="connsiteY5" fmla="*/ 0 h 947769"/>
                  <a:gd name="connsiteX6" fmla="*/ 76772 w 874604"/>
                  <a:gd name="connsiteY6" fmla="*/ 422985 h 947769"/>
                  <a:gd name="connsiteX7" fmla="*/ 76771 w 874604"/>
                  <a:gd name="connsiteY7" fmla="*/ 947769 h 947769"/>
                  <a:gd name="connsiteX0" fmla="*/ 60597 w 858430"/>
                  <a:gd name="connsiteY0" fmla="*/ 947769 h 947769"/>
                  <a:gd name="connsiteX1" fmla="*/ 858429 w 858430"/>
                  <a:gd name="connsiteY1" fmla="*/ 947769 h 947769"/>
                  <a:gd name="connsiteX2" fmla="*/ 858429 w 858430"/>
                  <a:gd name="connsiteY2" fmla="*/ 947767 h 947769"/>
                  <a:gd name="connsiteX3" fmla="*/ 858430 w 858430"/>
                  <a:gd name="connsiteY3" fmla="*/ 947767 h 947769"/>
                  <a:gd name="connsiteX4" fmla="*/ 858430 w 858430"/>
                  <a:gd name="connsiteY4" fmla="*/ 422985 h 947769"/>
                  <a:gd name="connsiteX5" fmla="*/ 459517 w 858430"/>
                  <a:gd name="connsiteY5" fmla="*/ 0 h 947769"/>
                  <a:gd name="connsiteX6" fmla="*/ 60598 w 858430"/>
                  <a:gd name="connsiteY6" fmla="*/ 422985 h 947769"/>
                  <a:gd name="connsiteX7" fmla="*/ 60597 w 858430"/>
                  <a:gd name="connsiteY7" fmla="*/ 947769 h 947769"/>
                  <a:gd name="connsiteX0" fmla="*/ 0 w 797833"/>
                  <a:gd name="connsiteY0" fmla="*/ 947769 h 947769"/>
                  <a:gd name="connsiteX1" fmla="*/ 797832 w 797833"/>
                  <a:gd name="connsiteY1" fmla="*/ 947769 h 947769"/>
                  <a:gd name="connsiteX2" fmla="*/ 797832 w 797833"/>
                  <a:gd name="connsiteY2" fmla="*/ 947767 h 947769"/>
                  <a:gd name="connsiteX3" fmla="*/ 797833 w 797833"/>
                  <a:gd name="connsiteY3" fmla="*/ 947767 h 947769"/>
                  <a:gd name="connsiteX4" fmla="*/ 797833 w 797833"/>
                  <a:gd name="connsiteY4" fmla="*/ 422985 h 947769"/>
                  <a:gd name="connsiteX5" fmla="*/ 398920 w 797833"/>
                  <a:gd name="connsiteY5" fmla="*/ 0 h 947769"/>
                  <a:gd name="connsiteX6" fmla="*/ 1 w 797833"/>
                  <a:gd name="connsiteY6" fmla="*/ 422985 h 947769"/>
                  <a:gd name="connsiteX7" fmla="*/ 0 w 797833"/>
                  <a:gd name="connsiteY7" fmla="*/ 947769 h 947769"/>
                  <a:gd name="connsiteX0" fmla="*/ 0 w 827382"/>
                  <a:gd name="connsiteY0" fmla="*/ 947769 h 947769"/>
                  <a:gd name="connsiteX1" fmla="*/ 797832 w 827382"/>
                  <a:gd name="connsiteY1" fmla="*/ 947769 h 947769"/>
                  <a:gd name="connsiteX2" fmla="*/ 797832 w 827382"/>
                  <a:gd name="connsiteY2" fmla="*/ 947767 h 947769"/>
                  <a:gd name="connsiteX3" fmla="*/ 797833 w 827382"/>
                  <a:gd name="connsiteY3" fmla="*/ 947767 h 947769"/>
                  <a:gd name="connsiteX4" fmla="*/ 797833 w 827382"/>
                  <a:gd name="connsiteY4" fmla="*/ 422985 h 947769"/>
                  <a:gd name="connsiteX5" fmla="*/ 398920 w 827382"/>
                  <a:gd name="connsiteY5" fmla="*/ 0 h 947769"/>
                  <a:gd name="connsiteX6" fmla="*/ 1 w 827382"/>
                  <a:gd name="connsiteY6" fmla="*/ 422985 h 947769"/>
                  <a:gd name="connsiteX7" fmla="*/ 0 w 827382"/>
                  <a:gd name="connsiteY7" fmla="*/ 947769 h 947769"/>
                  <a:gd name="connsiteX0" fmla="*/ 0 w 797833"/>
                  <a:gd name="connsiteY0" fmla="*/ 947769 h 947769"/>
                  <a:gd name="connsiteX1" fmla="*/ 797832 w 797833"/>
                  <a:gd name="connsiteY1" fmla="*/ 947769 h 947769"/>
                  <a:gd name="connsiteX2" fmla="*/ 797832 w 797833"/>
                  <a:gd name="connsiteY2" fmla="*/ 947767 h 947769"/>
                  <a:gd name="connsiteX3" fmla="*/ 797833 w 797833"/>
                  <a:gd name="connsiteY3" fmla="*/ 947767 h 947769"/>
                  <a:gd name="connsiteX4" fmla="*/ 797833 w 797833"/>
                  <a:gd name="connsiteY4" fmla="*/ 422985 h 947769"/>
                  <a:gd name="connsiteX5" fmla="*/ 398920 w 797833"/>
                  <a:gd name="connsiteY5" fmla="*/ 0 h 947769"/>
                  <a:gd name="connsiteX6" fmla="*/ 1 w 797833"/>
                  <a:gd name="connsiteY6" fmla="*/ 422985 h 947769"/>
                  <a:gd name="connsiteX7" fmla="*/ 0 w 797833"/>
                  <a:gd name="connsiteY7" fmla="*/ 947769 h 947769"/>
                  <a:gd name="connsiteX0" fmla="*/ 0 w 797919"/>
                  <a:gd name="connsiteY0" fmla="*/ 947769 h 947769"/>
                  <a:gd name="connsiteX1" fmla="*/ 797832 w 797919"/>
                  <a:gd name="connsiteY1" fmla="*/ 947769 h 947769"/>
                  <a:gd name="connsiteX2" fmla="*/ 797832 w 797919"/>
                  <a:gd name="connsiteY2" fmla="*/ 947767 h 947769"/>
                  <a:gd name="connsiteX3" fmla="*/ 797833 w 797919"/>
                  <a:gd name="connsiteY3" fmla="*/ 947767 h 947769"/>
                  <a:gd name="connsiteX4" fmla="*/ 797833 w 797919"/>
                  <a:gd name="connsiteY4" fmla="*/ 422985 h 947769"/>
                  <a:gd name="connsiteX5" fmla="*/ 398920 w 797919"/>
                  <a:gd name="connsiteY5" fmla="*/ 0 h 947769"/>
                  <a:gd name="connsiteX6" fmla="*/ 1 w 797919"/>
                  <a:gd name="connsiteY6" fmla="*/ 422985 h 947769"/>
                  <a:gd name="connsiteX7" fmla="*/ 0 w 797919"/>
                  <a:gd name="connsiteY7" fmla="*/ 947769 h 947769"/>
                  <a:gd name="connsiteX0" fmla="*/ 0 w 797919"/>
                  <a:gd name="connsiteY0" fmla="*/ 947769 h 947769"/>
                  <a:gd name="connsiteX1" fmla="*/ 797832 w 797919"/>
                  <a:gd name="connsiteY1" fmla="*/ 947769 h 947769"/>
                  <a:gd name="connsiteX2" fmla="*/ 797832 w 797919"/>
                  <a:gd name="connsiteY2" fmla="*/ 947767 h 947769"/>
                  <a:gd name="connsiteX3" fmla="*/ 797833 w 797919"/>
                  <a:gd name="connsiteY3" fmla="*/ 947767 h 947769"/>
                  <a:gd name="connsiteX4" fmla="*/ 797833 w 797919"/>
                  <a:gd name="connsiteY4" fmla="*/ 422985 h 947769"/>
                  <a:gd name="connsiteX5" fmla="*/ 398920 w 797919"/>
                  <a:gd name="connsiteY5" fmla="*/ 0 h 947769"/>
                  <a:gd name="connsiteX6" fmla="*/ 1 w 797919"/>
                  <a:gd name="connsiteY6" fmla="*/ 422985 h 947769"/>
                  <a:gd name="connsiteX7" fmla="*/ 0 w 797919"/>
                  <a:gd name="connsiteY7" fmla="*/ 947769 h 947769"/>
                  <a:gd name="connsiteX0" fmla="*/ 0 w 797833"/>
                  <a:gd name="connsiteY0" fmla="*/ 947769 h 947769"/>
                  <a:gd name="connsiteX1" fmla="*/ 797832 w 797833"/>
                  <a:gd name="connsiteY1" fmla="*/ 947769 h 947769"/>
                  <a:gd name="connsiteX2" fmla="*/ 797832 w 797833"/>
                  <a:gd name="connsiteY2" fmla="*/ 947767 h 947769"/>
                  <a:gd name="connsiteX3" fmla="*/ 797833 w 797833"/>
                  <a:gd name="connsiteY3" fmla="*/ 947767 h 947769"/>
                  <a:gd name="connsiteX4" fmla="*/ 797833 w 797833"/>
                  <a:gd name="connsiteY4" fmla="*/ 422985 h 947769"/>
                  <a:gd name="connsiteX5" fmla="*/ 398920 w 797833"/>
                  <a:gd name="connsiteY5" fmla="*/ 0 h 947769"/>
                  <a:gd name="connsiteX6" fmla="*/ 1 w 797833"/>
                  <a:gd name="connsiteY6" fmla="*/ 422985 h 947769"/>
                  <a:gd name="connsiteX7" fmla="*/ 0 w 797833"/>
                  <a:gd name="connsiteY7" fmla="*/ 947769 h 947769"/>
                  <a:gd name="connsiteX0" fmla="*/ 0 w 797833"/>
                  <a:gd name="connsiteY0" fmla="*/ 947769 h 947769"/>
                  <a:gd name="connsiteX1" fmla="*/ 797832 w 797833"/>
                  <a:gd name="connsiteY1" fmla="*/ 947769 h 947769"/>
                  <a:gd name="connsiteX2" fmla="*/ 797832 w 797833"/>
                  <a:gd name="connsiteY2" fmla="*/ 947767 h 947769"/>
                  <a:gd name="connsiteX3" fmla="*/ 797833 w 797833"/>
                  <a:gd name="connsiteY3" fmla="*/ 947767 h 947769"/>
                  <a:gd name="connsiteX4" fmla="*/ 797833 w 797833"/>
                  <a:gd name="connsiteY4" fmla="*/ 422985 h 947769"/>
                  <a:gd name="connsiteX5" fmla="*/ 398920 w 797833"/>
                  <a:gd name="connsiteY5" fmla="*/ 0 h 947769"/>
                  <a:gd name="connsiteX6" fmla="*/ 1 w 797833"/>
                  <a:gd name="connsiteY6" fmla="*/ 422985 h 947769"/>
                  <a:gd name="connsiteX7" fmla="*/ 0 w 797833"/>
                  <a:gd name="connsiteY7" fmla="*/ 947769 h 947769"/>
                  <a:gd name="connsiteX0" fmla="*/ 0 w 797833"/>
                  <a:gd name="connsiteY0" fmla="*/ 947817 h 947817"/>
                  <a:gd name="connsiteX1" fmla="*/ 797832 w 797833"/>
                  <a:gd name="connsiteY1" fmla="*/ 947817 h 947817"/>
                  <a:gd name="connsiteX2" fmla="*/ 797832 w 797833"/>
                  <a:gd name="connsiteY2" fmla="*/ 947815 h 947817"/>
                  <a:gd name="connsiteX3" fmla="*/ 797833 w 797833"/>
                  <a:gd name="connsiteY3" fmla="*/ 947815 h 947817"/>
                  <a:gd name="connsiteX4" fmla="*/ 797833 w 797833"/>
                  <a:gd name="connsiteY4" fmla="*/ 423033 h 947817"/>
                  <a:gd name="connsiteX5" fmla="*/ 398920 w 797833"/>
                  <a:gd name="connsiteY5" fmla="*/ 48 h 947817"/>
                  <a:gd name="connsiteX6" fmla="*/ 1 w 797833"/>
                  <a:gd name="connsiteY6" fmla="*/ 423033 h 947817"/>
                  <a:gd name="connsiteX7" fmla="*/ 0 w 797833"/>
                  <a:gd name="connsiteY7" fmla="*/ 947817 h 947817"/>
                  <a:gd name="connsiteX0" fmla="*/ 0 w 798347"/>
                  <a:gd name="connsiteY0" fmla="*/ 947817 h 947817"/>
                  <a:gd name="connsiteX1" fmla="*/ 797832 w 798347"/>
                  <a:gd name="connsiteY1" fmla="*/ 947817 h 947817"/>
                  <a:gd name="connsiteX2" fmla="*/ 797832 w 798347"/>
                  <a:gd name="connsiteY2" fmla="*/ 947815 h 947817"/>
                  <a:gd name="connsiteX3" fmla="*/ 797833 w 798347"/>
                  <a:gd name="connsiteY3" fmla="*/ 947815 h 947817"/>
                  <a:gd name="connsiteX4" fmla="*/ 797833 w 798347"/>
                  <a:gd name="connsiteY4" fmla="*/ 423033 h 947817"/>
                  <a:gd name="connsiteX5" fmla="*/ 398920 w 798347"/>
                  <a:gd name="connsiteY5" fmla="*/ 48 h 947817"/>
                  <a:gd name="connsiteX6" fmla="*/ 1 w 798347"/>
                  <a:gd name="connsiteY6" fmla="*/ 423033 h 947817"/>
                  <a:gd name="connsiteX7" fmla="*/ 0 w 798347"/>
                  <a:gd name="connsiteY7" fmla="*/ 947817 h 947817"/>
                  <a:gd name="connsiteX0" fmla="*/ 0 w 798347"/>
                  <a:gd name="connsiteY0" fmla="*/ 947817 h 947817"/>
                  <a:gd name="connsiteX1" fmla="*/ 797832 w 798347"/>
                  <a:gd name="connsiteY1" fmla="*/ 947817 h 947817"/>
                  <a:gd name="connsiteX2" fmla="*/ 797832 w 798347"/>
                  <a:gd name="connsiteY2" fmla="*/ 947815 h 947817"/>
                  <a:gd name="connsiteX3" fmla="*/ 797833 w 798347"/>
                  <a:gd name="connsiteY3" fmla="*/ 947815 h 947817"/>
                  <a:gd name="connsiteX4" fmla="*/ 797833 w 798347"/>
                  <a:gd name="connsiteY4" fmla="*/ 423033 h 947817"/>
                  <a:gd name="connsiteX5" fmla="*/ 398920 w 798347"/>
                  <a:gd name="connsiteY5" fmla="*/ 48 h 947817"/>
                  <a:gd name="connsiteX6" fmla="*/ 1 w 798347"/>
                  <a:gd name="connsiteY6" fmla="*/ 423033 h 947817"/>
                  <a:gd name="connsiteX7" fmla="*/ 0 w 798347"/>
                  <a:gd name="connsiteY7" fmla="*/ 947817 h 947817"/>
                  <a:gd name="connsiteX0" fmla="*/ 0 w 798347"/>
                  <a:gd name="connsiteY0" fmla="*/ 947817 h 947817"/>
                  <a:gd name="connsiteX1" fmla="*/ 797832 w 798347"/>
                  <a:gd name="connsiteY1" fmla="*/ 947817 h 947817"/>
                  <a:gd name="connsiteX2" fmla="*/ 797832 w 798347"/>
                  <a:gd name="connsiteY2" fmla="*/ 947815 h 947817"/>
                  <a:gd name="connsiteX3" fmla="*/ 797833 w 798347"/>
                  <a:gd name="connsiteY3" fmla="*/ 947815 h 947817"/>
                  <a:gd name="connsiteX4" fmla="*/ 797833 w 798347"/>
                  <a:gd name="connsiteY4" fmla="*/ 423033 h 947817"/>
                  <a:gd name="connsiteX5" fmla="*/ 398920 w 798347"/>
                  <a:gd name="connsiteY5" fmla="*/ 48 h 947817"/>
                  <a:gd name="connsiteX6" fmla="*/ 1 w 798347"/>
                  <a:gd name="connsiteY6" fmla="*/ 423033 h 947817"/>
                  <a:gd name="connsiteX7" fmla="*/ 0 w 798347"/>
                  <a:gd name="connsiteY7" fmla="*/ 947817 h 947817"/>
                  <a:gd name="connsiteX0" fmla="*/ 0 w 798347"/>
                  <a:gd name="connsiteY0" fmla="*/ 947769 h 947769"/>
                  <a:gd name="connsiteX1" fmla="*/ 797832 w 798347"/>
                  <a:gd name="connsiteY1" fmla="*/ 947769 h 947769"/>
                  <a:gd name="connsiteX2" fmla="*/ 797832 w 798347"/>
                  <a:gd name="connsiteY2" fmla="*/ 947767 h 947769"/>
                  <a:gd name="connsiteX3" fmla="*/ 797833 w 798347"/>
                  <a:gd name="connsiteY3" fmla="*/ 947767 h 947769"/>
                  <a:gd name="connsiteX4" fmla="*/ 797833 w 798347"/>
                  <a:gd name="connsiteY4" fmla="*/ 422985 h 947769"/>
                  <a:gd name="connsiteX5" fmla="*/ 398920 w 798347"/>
                  <a:gd name="connsiteY5" fmla="*/ 0 h 947769"/>
                  <a:gd name="connsiteX6" fmla="*/ 1 w 798347"/>
                  <a:gd name="connsiteY6" fmla="*/ 422985 h 947769"/>
                  <a:gd name="connsiteX7" fmla="*/ 0 w 798347"/>
                  <a:gd name="connsiteY7" fmla="*/ 947769 h 947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8347" h="947769">
                    <a:moveTo>
                      <a:pt x="0" y="947769"/>
                    </a:moveTo>
                    <a:lnTo>
                      <a:pt x="797832" y="947769"/>
                    </a:lnTo>
                    <a:lnTo>
                      <a:pt x="797832" y="947767"/>
                    </a:lnTo>
                    <a:lnTo>
                      <a:pt x="797833" y="947767"/>
                    </a:lnTo>
                    <a:cubicBezTo>
                      <a:pt x="797833" y="772840"/>
                      <a:pt x="798991" y="597908"/>
                      <a:pt x="797833" y="422985"/>
                    </a:cubicBezTo>
                    <a:cubicBezTo>
                      <a:pt x="796661" y="245974"/>
                      <a:pt x="503317" y="23132"/>
                      <a:pt x="398920" y="0"/>
                    </a:cubicBezTo>
                    <a:cubicBezTo>
                      <a:pt x="297244" y="19050"/>
                      <a:pt x="6616" y="248695"/>
                      <a:pt x="1" y="422985"/>
                    </a:cubicBezTo>
                    <a:cubicBezTo>
                      <a:pt x="1" y="597913"/>
                      <a:pt x="0" y="772841"/>
                      <a:pt x="0" y="94776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3" name="Freeform 132"/>
              <p:cNvSpPr/>
              <p:nvPr/>
            </p:nvSpPr>
            <p:spPr>
              <a:xfrm>
                <a:off x="10774490" y="-2170559"/>
                <a:ext cx="184772" cy="321502"/>
              </a:xfrm>
              <a:custGeom>
                <a:avLst/>
                <a:gdLst>
                  <a:gd name="connsiteX0" fmla="*/ 57150 w 114300"/>
                  <a:gd name="connsiteY0" fmla="*/ 0 h 198881"/>
                  <a:gd name="connsiteX1" fmla="*/ 114300 w 114300"/>
                  <a:gd name="connsiteY1" fmla="*/ 57150 h 198881"/>
                  <a:gd name="connsiteX2" fmla="*/ 97561 w 114300"/>
                  <a:gd name="connsiteY2" fmla="*/ 97561 h 198881"/>
                  <a:gd name="connsiteX3" fmla="*/ 83608 w 114300"/>
                  <a:gd name="connsiteY3" fmla="*/ 103341 h 198881"/>
                  <a:gd name="connsiteX4" fmla="*/ 103415 w 114300"/>
                  <a:gd name="connsiteY4" fmla="*/ 198881 h 198881"/>
                  <a:gd name="connsiteX5" fmla="*/ 10885 w 114300"/>
                  <a:gd name="connsiteY5" fmla="*/ 198881 h 198881"/>
                  <a:gd name="connsiteX6" fmla="*/ 30693 w 114300"/>
                  <a:gd name="connsiteY6" fmla="*/ 103341 h 198881"/>
                  <a:gd name="connsiteX7" fmla="*/ 16739 w 114300"/>
                  <a:gd name="connsiteY7" fmla="*/ 97561 h 198881"/>
                  <a:gd name="connsiteX8" fmla="*/ 0 w 114300"/>
                  <a:gd name="connsiteY8" fmla="*/ 57150 h 198881"/>
                  <a:gd name="connsiteX9" fmla="*/ 57150 w 114300"/>
                  <a:gd name="connsiteY9" fmla="*/ 0 h 198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198881">
                    <a:moveTo>
                      <a:pt x="57150" y="0"/>
                    </a:moveTo>
                    <a:cubicBezTo>
                      <a:pt x="88713" y="0"/>
                      <a:pt x="114300" y="25587"/>
                      <a:pt x="114300" y="57150"/>
                    </a:cubicBezTo>
                    <a:cubicBezTo>
                      <a:pt x="114300" y="72931"/>
                      <a:pt x="107903" y="87219"/>
                      <a:pt x="97561" y="97561"/>
                    </a:cubicBezTo>
                    <a:lnTo>
                      <a:pt x="83608" y="103341"/>
                    </a:lnTo>
                    <a:lnTo>
                      <a:pt x="103415" y="198881"/>
                    </a:lnTo>
                    <a:lnTo>
                      <a:pt x="10885" y="198881"/>
                    </a:lnTo>
                    <a:lnTo>
                      <a:pt x="30693" y="103341"/>
                    </a:lnTo>
                    <a:lnTo>
                      <a:pt x="16739" y="97561"/>
                    </a:lnTo>
                    <a:cubicBezTo>
                      <a:pt x="6397" y="87219"/>
                      <a:pt x="0" y="72931"/>
                      <a:pt x="0" y="57150"/>
                    </a:cubicBezTo>
                    <a:cubicBezTo>
                      <a:pt x="0" y="25587"/>
                      <a:pt x="25587" y="0"/>
                      <a:pt x="5715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16" name="Group 15"/>
          <p:cNvGrpSpPr/>
          <p:nvPr/>
        </p:nvGrpSpPr>
        <p:grpSpPr>
          <a:xfrm>
            <a:off x="3770827" y="4087370"/>
            <a:ext cx="819242" cy="819242"/>
            <a:chOff x="3943832" y="4083745"/>
            <a:chExt cx="911716" cy="911716"/>
          </a:xfrm>
        </p:grpSpPr>
        <p:sp>
          <p:nvSpPr>
            <p:cNvPr id="116" name="Oval 115"/>
            <p:cNvSpPr/>
            <p:nvPr/>
          </p:nvSpPr>
          <p:spPr>
            <a:xfrm>
              <a:off x="3943832" y="4083745"/>
              <a:ext cx="911716" cy="911716"/>
            </a:xfrm>
            <a:prstGeom prst="ellipse">
              <a:avLst/>
            </a:prstGeom>
            <a:solidFill>
              <a:schemeClr val="accent3"/>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4" name="Freeform 123"/>
            <p:cNvSpPr/>
            <p:nvPr/>
          </p:nvSpPr>
          <p:spPr>
            <a:xfrm flipH="1">
              <a:off x="4391823" y="4093947"/>
              <a:ext cx="454146" cy="888194"/>
            </a:xfrm>
            <a:custGeom>
              <a:avLst/>
              <a:gdLst>
                <a:gd name="connsiteX0" fmla="*/ 253877 w 259622"/>
                <a:gd name="connsiteY0" fmla="*/ 0 h 507754"/>
                <a:gd name="connsiteX1" fmla="*/ 259622 w 259622"/>
                <a:gd name="connsiteY1" fmla="*/ 579 h 507754"/>
                <a:gd name="connsiteX2" fmla="*/ 259622 w 259622"/>
                <a:gd name="connsiteY2" fmla="*/ 507175 h 507754"/>
                <a:gd name="connsiteX3" fmla="*/ 253877 w 259622"/>
                <a:gd name="connsiteY3" fmla="*/ 507754 h 507754"/>
                <a:gd name="connsiteX4" fmla="*/ 0 w 259622"/>
                <a:gd name="connsiteY4" fmla="*/ 253877 h 507754"/>
                <a:gd name="connsiteX5" fmla="*/ 253877 w 259622"/>
                <a:gd name="connsiteY5" fmla="*/ 0 h 507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622" h="507754">
                  <a:moveTo>
                    <a:pt x="253877" y="0"/>
                  </a:moveTo>
                  <a:lnTo>
                    <a:pt x="259622" y="579"/>
                  </a:lnTo>
                  <a:lnTo>
                    <a:pt x="259622" y="507175"/>
                  </a:lnTo>
                  <a:lnTo>
                    <a:pt x="253877" y="507754"/>
                  </a:lnTo>
                  <a:cubicBezTo>
                    <a:pt x="113665" y="507754"/>
                    <a:pt x="0" y="394089"/>
                    <a:pt x="0" y="253877"/>
                  </a:cubicBezTo>
                  <a:cubicBezTo>
                    <a:pt x="0" y="113665"/>
                    <a:pt x="113665" y="0"/>
                    <a:pt x="253877" y="0"/>
                  </a:cubicBez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3" name="Group 12"/>
            <p:cNvGrpSpPr/>
            <p:nvPr/>
          </p:nvGrpSpPr>
          <p:grpSpPr>
            <a:xfrm>
              <a:off x="4198961" y="4218339"/>
              <a:ext cx="416444" cy="636548"/>
              <a:chOff x="4217334" y="4246423"/>
              <a:chExt cx="379697" cy="580379"/>
            </a:xfrm>
          </p:grpSpPr>
          <p:grpSp>
            <p:nvGrpSpPr>
              <p:cNvPr id="42" name="Group 41"/>
              <p:cNvGrpSpPr/>
              <p:nvPr/>
            </p:nvGrpSpPr>
            <p:grpSpPr>
              <a:xfrm>
                <a:off x="4217334" y="4246423"/>
                <a:ext cx="379697" cy="580379"/>
                <a:chOff x="1758300" y="2959461"/>
                <a:chExt cx="1180842" cy="1804957"/>
              </a:xfrm>
            </p:grpSpPr>
            <p:grpSp>
              <p:nvGrpSpPr>
                <p:cNvPr id="62" name="Group 61"/>
                <p:cNvGrpSpPr/>
                <p:nvPr/>
              </p:nvGrpSpPr>
              <p:grpSpPr>
                <a:xfrm>
                  <a:off x="1760435" y="3490271"/>
                  <a:ext cx="1178707" cy="609439"/>
                  <a:chOff x="1329597" y="3742168"/>
                  <a:chExt cx="1129205" cy="609439"/>
                </a:xfrm>
              </p:grpSpPr>
              <p:sp>
                <p:nvSpPr>
                  <p:cNvPr id="69" name="Freeform 6"/>
                  <p:cNvSpPr>
                    <a:spLocks/>
                  </p:cNvSpPr>
                  <p:nvPr/>
                </p:nvSpPr>
                <p:spPr bwMode="auto">
                  <a:xfrm>
                    <a:off x="1360282" y="3915941"/>
                    <a:ext cx="1067836" cy="43566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70" name="Freeform 7"/>
                  <p:cNvSpPr>
                    <a:spLocks/>
                  </p:cNvSpPr>
                  <p:nvPr/>
                </p:nvSpPr>
                <p:spPr bwMode="auto">
                  <a:xfrm>
                    <a:off x="1329597" y="3776468"/>
                    <a:ext cx="1129205" cy="518649"/>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71" name="Freeform 8"/>
                  <p:cNvSpPr>
                    <a:spLocks/>
                  </p:cNvSpPr>
                  <p:nvPr/>
                </p:nvSpPr>
                <p:spPr bwMode="auto">
                  <a:xfrm>
                    <a:off x="1331642" y="3742168"/>
                    <a:ext cx="1125114" cy="398321"/>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63" name="Freeform 62"/>
                <p:cNvSpPr/>
                <p:nvPr/>
              </p:nvSpPr>
              <p:spPr bwMode="auto">
                <a:xfrm>
                  <a:off x="1792032" y="3868290"/>
                  <a:ext cx="1111888" cy="896128"/>
                </a:xfrm>
                <a:custGeom>
                  <a:avLst/>
                  <a:gdLst>
                    <a:gd name="connsiteX0" fmla="*/ 0 w 1111889"/>
                    <a:gd name="connsiteY0" fmla="*/ 0 h 896128"/>
                    <a:gd name="connsiteX1" fmla="*/ 849 w 1111889"/>
                    <a:gd name="connsiteY1" fmla="*/ 0 h 896128"/>
                    <a:gd name="connsiteX2" fmla="*/ 2870 w 1111889"/>
                    <a:gd name="connsiteY2" fmla="*/ 16326 h 896128"/>
                    <a:gd name="connsiteX3" fmla="*/ 555944 w 1111889"/>
                    <a:gd name="connsiteY3" fmla="*/ 219916 h 896128"/>
                    <a:gd name="connsiteX4" fmla="*/ 1109019 w 1111889"/>
                    <a:gd name="connsiteY4" fmla="*/ 16326 h 896128"/>
                    <a:gd name="connsiteX5" fmla="*/ 1111040 w 1111889"/>
                    <a:gd name="connsiteY5" fmla="*/ 0 h 896128"/>
                    <a:gd name="connsiteX6" fmla="*/ 1111888 w 1111889"/>
                    <a:gd name="connsiteY6" fmla="*/ 0 h 896128"/>
                    <a:gd name="connsiteX7" fmla="*/ 1111888 w 1111889"/>
                    <a:gd name="connsiteY7" fmla="*/ 33547 h 896128"/>
                    <a:gd name="connsiteX8" fmla="*/ 1111889 w 1111889"/>
                    <a:gd name="connsiteY8" fmla="*/ 669349 h 896128"/>
                    <a:gd name="connsiteX9" fmla="*/ 1111889 w 1111889"/>
                    <a:gd name="connsiteY9" fmla="*/ 669351 h 896128"/>
                    <a:gd name="connsiteX10" fmla="*/ 1111889 w 1111889"/>
                    <a:gd name="connsiteY10" fmla="*/ 669353 h 896128"/>
                    <a:gd name="connsiteX11" fmla="*/ 1111889 w 1111889"/>
                    <a:gd name="connsiteY11" fmla="*/ 676212 h 896128"/>
                    <a:gd name="connsiteX12" fmla="*/ 1111040 w 1111889"/>
                    <a:gd name="connsiteY12" fmla="*/ 676212 h 896128"/>
                    <a:gd name="connsiteX13" fmla="*/ 1109019 w 1111889"/>
                    <a:gd name="connsiteY13" fmla="*/ 692538 h 896128"/>
                    <a:gd name="connsiteX14" fmla="*/ 555944 w 1111889"/>
                    <a:gd name="connsiteY14" fmla="*/ 896128 h 896128"/>
                    <a:gd name="connsiteX15" fmla="*/ 2870 w 1111889"/>
                    <a:gd name="connsiteY15" fmla="*/ 692538 h 896128"/>
                    <a:gd name="connsiteX16" fmla="*/ 849 w 1111889"/>
                    <a:gd name="connsiteY16" fmla="*/ 676212 h 896128"/>
                    <a:gd name="connsiteX17" fmla="*/ 0 w 1111889"/>
                    <a:gd name="connsiteY17" fmla="*/ 676212 h 896128"/>
                    <a:gd name="connsiteX18" fmla="*/ 0 w 1111889"/>
                    <a:gd name="connsiteY18" fmla="*/ 669351 h 896128"/>
                    <a:gd name="connsiteX19" fmla="*/ 0 w 1111889"/>
                    <a:gd name="connsiteY19" fmla="*/ 0 h 896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1889" h="896128">
                      <a:moveTo>
                        <a:pt x="0" y="0"/>
                      </a:moveTo>
                      <a:lnTo>
                        <a:pt x="849" y="0"/>
                      </a:lnTo>
                      <a:lnTo>
                        <a:pt x="2870" y="16326"/>
                      </a:lnTo>
                      <a:cubicBezTo>
                        <a:pt x="31340" y="130679"/>
                        <a:pt x="268095" y="219916"/>
                        <a:pt x="555944" y="219916"/>
                      </a:cubicBezTo>
                      <a:cubicBezTo>
                        <a:pt x="843794" y="219916"/>
                        <a:pt x="1080549" y="130679"/>
                        <a:pt x="1109019" y="16326"/>
                      </a:cubicBezTo>
                      <a:lnTo>
                        <a:pt x="1111040" y="0"/>
                      </a:lnTo>
                      <a:lnTo>
                        <a:pt x="1111888" y="0"/>
                      </a:lnTo>
                      <a:lnTo>
                        <a:pt x="1111888" y="33547"/>
                      </a:lnTo>
                      <a:cubicBezTo>
                        <a:pt x="1111889" y="277250"/>
                        <a:pt x="1111889" y="568047"/>
                        <a:pt x="1111889" y="669349"/>
                      </a:cubicBezTo>
                      <a:lnTo>
                        <a:pt x="1111889" y="669351"/>
                      </a:lnTo>
                      <a:lnTo>
                        <a:pt x="1111889" y="669353"/>
                      </a:lnTo>
                      <a:lnTo>
                        <a:pt x="1111889" y="676212"/>
                      </a:lnTo>
                      <a:lnTo>
                        <a:pt x="1111040" y="676212"/>
                      </a:lnTo>
                      <a:lnTo>
                        <a:pt x="1109019" y="692538"/>
                      </a:lnTo>
                      <a:cubicBezTo>
                        <a:pt x="1080549" y="806891"/>
                        <a:pt x="843794" y="896128"/>
                        <a:pt x="555944" y="896128"/>
                      </a:cubicBezTo>
                      <a:cubicBezTo>
                        <a:pt x="268095" y="896128"/>
                        <a:pt x="31340" y="806891"/>
                        <a:pt x="2870" y="692538"/>
                      </a:cubicBezTo>
                      <a:lnTo>
                        <a:pt x="849" y="676212"/>
                      </a:lnTo>
                      <a:lnTo>
                        <a:pt x="0" y="676212"/>
                      </a:lnTo>
                      <a:lnTo>
                        <a:pt x="0" y="669351"/>
                      </a:lnTo>
                      <a:lnTo>
                        <a:pt x="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Black" panose="020B0A02040204020203" pitchFamily="34" charset="0"/>
                    <a:cs typeface="Segoe UI" panose="020B0502040204020203" pitchFamily="34" charset="0"/>
                  </a:endParaRPr>
                </a:p>
              </p:txBody>
            </p:sp>
            <p:grpSp>
              <p:nvGrpSpPr>
                <p:cNvPr id="64" name="Group 63"/>
                <p:cNvGrpSpPr/>
                <p:nvPr/>
              </p:nvGrpSpPr>
              <p:grpSpPr>
                <a:xfrm>
                  <a:off x="1758300" y="3272438"/>
                  <a:ext cx="1178707" cy="609439"/>
                  <a:chOff x="1329597" y="3742168"/>
                  <a:chExt cx="1129205" cy="609439"/>
                </a:xfrm>
              </p:grpSpPr>
              <p:sp>
                <p:nvSpPr>
                  <p:cNvPr id="66" name="Freeform 6"/>
                  <p:cNvSpPr>
                    <a:spLocks/>
                  </p:cNvSpPr>
                  <p:nvPr/>
                </p:nvSpPr>
                <p:spPr bwMode="auto">
                  <a:xfrm>
                    <a:off x="1360282" y="3915941"/>
                    <a:ext cx="1067836" cy="43566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67" name="Freeform 7"/>
                  <p:cNvSpPr>
                    <a:spLocks/>
                  </p:cNvSpPr>
                  <p:nvPr/>
                </p:nvSpPr>
                <p:spPr bwMode="auto">
                  <a:xfrm>
                    <a:off x="1329597" y="3776468"/>
                    <a:ext cx="1129205" cy="518649"/>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Freeform 8"/>
                  <p:cNvSpPr>
                    <a:spLocks/>
                  </p:cNvSpPr>
                  <p:nvPr/>
                </p:nvSpPr>
                <p:spPr bwMode="auto">
                  <a:xfrm>
                    <a:off x="1331642" y="3742168"/>
                    <a:ext cx="1125114" cy="398321"/>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65" name="Freeform 64"/>
                <p:cNvSpPr/>
                <p:nvPr/>
              </p:nvSpPr>
              <p:spPr bwMode="auto">
                <a:xfrm>
                  <a:off x="1792032" y="2959461"/>
                  <a:ext cx="1111887" cy="639743"/>
                </a:xfrm>
                <a:custGeom>
                  <a:avLst/>
                  <a:gdLst>
                    <a:gd name="connsiteX0" fmla="*/ 555943 w 1111887"/>
                    <a:gd name="connsiteY0" fmla="*/ 0 h 639743"/>
                    <a:gd name="connsiteX1" fmla="*/ 1109018 w 1111887"/>
                    <a:gd name="connsiteY1" fmla="*/ 203591 h 639743"/>
                    <a:gd name="connsiteX2" fmla="*/ 1111039 w 1111887"/>
                    <a:gd name="connsiteY2" fmla="*/ 219917 h 639743"/>
                    <a:gd name="connsiteX3" fmla="*/ 1111887 w 1111887"/>
                    <a:gd name="connsiteY3" fmla="*/ 219917 h 639743"/>
                    <a:gd name="connsiteX4" fmla="*/ 1111887 w 1111887"/>
                    <a:gd name="connsiteY4" fmla="*/ 226777 h 639743"/>
                    <a:gd name="connsiteX5" fmla="*/ 1111887 w 1111887"/>
                    <a:gd name="connsiteY5" fmla="*/ 363247 h 639743"/>
                    <a:gd name="connsiteX6" fmla="*/ 1111887 w 1111887"/>
                    <a:gd name="connsiteY6" fmla="*/ 419827 h 639743"/>
                    <a:gd name="connsiteX7" fmla="*/ 1111040 w 1111887"/>
                    <a:gd name="connsiteY7" fmla="*/ 419827 h 639743"/>
                    <a:gd name="connsiteX8" fmla="*/ 1109019 w 1111887"/>
                    <a:gd name="connsiteY8" fmla="*/ 436153 h 639743"/>
                    <a:gd name="connsiteX9" fmla="*/ 555944 w 1111887"/>
                    <a:gd name="connsiteY9" fmla="*/ 639743 h 639743"/>
                    <a:gd name="connsiteX10" fmla="*/ 2870 w 1111887"/>
                    <a:gd name="connsiteY10" fmla="*/ 436153 h 639743"/>
                    <a:gd name="connsiteX11" fmla="*/ 849 w 1111887"/>
                    <a:gd name="connsiteY11" fmla="*/ 419827 h 639743"/>
                    <a:gd name="connsiteX12" fmla="*/ 0 w 1111887"/>
                    <a:gd name="connsiteY12" fmla="*/ 419827 h 639743"/>
                    <a:gd name="connsiteX13" fmla="*/ 0 w 1111887"/>
                    <a:gd name="connsiteY13" fmla="*/ 412966 h 639743"/>
                    <a:gd name="connsiteX14" fmla="*/ 0 w 1111887"/>
                    <a:gd name="connsiteY14" fmla="*/ 226767 h 639743"/>
                    <a:gd name="connsiteX15" fmla="*/ 2869 w 1111887"/>
                    <a:gd name="connsiteY15" fmla="*/ 203591 h 639743"/>
                    <a:gd name="connsiteX16" fmla="*/ 555943 w 1111887"/>
                    <a:gd name="connsiteY16" fmla="*/ 0 h 639743"/>
                    <a:gd name="connsiteX17" fmla="*/ 555943 w 1111887"/>
                    <a:gd name="connsiteY17" fmla="*/ 81811 h 639743"/>
                    <a:gd name="connsiteX18" fmla="*/ 172206 w 1111887"/>
                    <a:gd name="connsiteY18" fmla="*/ 194437 h 639743"/>
                    <a:gd name="connsiteX19" fmla="*/ 555943 w 1111887"/>
                    <a:gd name="connsiteY19" fmla="*/ 307062 h 639743"/>
                    <a:gd name="connsiteX20" fmla="*/ 939680 w 1111887"/>
                    <a:gd name="connsiteY20" fmla="*/ 194437 h 639743"/>
                    <a:gd name="connsiteX21" fmla="*/ 555943 w 1111887"/>
                    <a:gd name="connsiteY21" fmla="*/ 81811 h 639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11887" h="639743">
                      <a:moveTo>
                        <a:pt x="555943" y="0"/>
                      </a:moveTo>
                      <a:cubicBezTo>
                        <a:pt x="843792" y="0"/>
                        <a:pt x="1080548" y="89237"/>
                        <a:pt x="1109018" y="203591"/>
                      </a:cubicBezTo>
                      <a:lnTo>
                        <a:pt x="1111039" y="219917"/>
                      </a:lnTo>
                      <a:lnTo>
                        <a:pt x="1111887" y="219917"/>
                      </a:lnTo>
                      <a:lnTo>
                        <a:pt x="1111887" y="226777"/>
                      </a:lnTo>
                      <a:cubicBezTo>
                        <a:pt x="1111887" y="257382"/>
                        <a:pt x="1111887" y="305002"/>
                        <a:pt x="1111887" y="363247"/>
                      </a:cubicBezTo>
                      <a:lnTo>
                        <a:pt x="1111887" y="419827"/>
                      </a:lnTo>
                      <a:lnTo>
                        <a:pt x="1111040" y="419827"/>
                      </a:lnTo>
                      <a:lnTo>
                        <a:pt x="1109019" y="436153"/>
                      </a:lnTo>
                      <a:cubicBezTo>
                        <a:pt x="1080549" y="550506"/>
                        <a:pt x="843794" y="639743"/>
                        <a:pt x="555944" y="639743"/>
                      </a:cubicBezTo>
                      <a:cubicBezTo>
                        <a:pt x="268095" y="639743"/>
                        <a:pt x="31340" y="550506"/>
                        <a:pt x="2870" y="436153"/>
                      </a:cubicBezTo>
                      <a:lnTo>
                        <a:pt x="849" y="419827"/>
                      </a:lnTo>
                      <a:lnTo>
                        <a:pt x="0" y="419827"/>
                      </a:lnTo>
                      <a:lnTo>
                        <a:pt x="0" y="412966"/>
                      </a:lnTo>
                      <a:lnTo>
                        <a:pt x="0" y="226767"/>
                      </a:lnTo>
                      <a:lnTo>
                        <a:pt x="2869" y="203591"/>
                      </a:lnTo>
                      <a:cubicBezTo>
                        <a:pt x="31339" y="89237"/>
                        <a:pt x="268093" y="0"/>
                        <a:pt x="555943" y="0"/>
                      </a:cubicBezTo>
                      <a:close/>
                      <a:moveTo>
                        <a:pt x="555943" y="81811"/>
                      </a:moveTo>
                      <a:cubicBezTo>
                        <a:pt x="344011" y="81811"/>
                        <a:pt x="172206" y="132234"/>
                        <a:pt x="172206" y="194437"/>
                      </a:cubicBezTo>
                      <a:cubicBezTo>
                        <a:pt x="172206" y="256638"/>
                        <a:pt x="344011" y="307062"/>
                        <a:pt x="555943" y="307062"/>
                      </a:cubicBezTo>
                      <a:cubicBezTo>
                        <a:pt x="767875" y="307062"/>
                        <a:pt x="939680" y="256638"/>
                        <a:pt x="939680" y="194437"/>
                      </a:cubicBezTo>
                      <a:cubicBezTo>
                        <a:pt x="939680" y="132234"/>
                        <a:pt x="767875" y="81811"/>
                        <a:pt x="555943" y="8181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 name="Oval 4"/>
              <p:cNvSpPr/>
              <p:nvPr/>
            </p:nvSpPr>
            <p:spPr>
              <a:xfrm>
                <a:off x="4279447" y="4270334"/>
                <a:ext cx="253092" cy="7771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15" name="Group 14"/>
          <p:cNvGrpSpPr/>
          <p:nvPr/>
        </p:nvGrpSpPr>
        <p:grpSpPr>
          <a:xfrm>
            <a:off x="3770827" y="5011931"/>
            <a:ext cx="819242" cy="819242"/>
            <a:chOff x="5199417" y="4827977"/>
            <a:chExt cx="911716" cy="911716"/>
          </a:xfrm>
        </p:grpSpPr>
        <p:grpSp>
          <p:nvGrpSpPr>
            <p:cNvPr id="12" name="Group 11"/>
            <p:cNvGrpSpPr/>
            <p:nvPr/>
          </p:nvGrpSpPr>
          <p:grpSpPr>
            <a:xfrm>
              <a:off x="5199417" y="4827977"/>
              <a:ext cx="911716" cy="911716"/>
              <a:chOff x="5199417" y="4827977"/>
              <a:chExt cx="911716" cy="911716"/>
            </a:xfrm>
          </p:grpSpPr>
          <p:sp>
            <p:nvSpPr>
              <p:cNvPr id="132" name="Oval 131"/>
              <p:cNvSpPr/>
              <p:nvPr/>
            </p:nvSpPr>
            <p:spPr>
              <a:xfrm>
                <a:off x="5199417" y="4827977"/>
                <a:ext cx="911716" cy="911716"/>
              </a:xfrm>
              <a:prstGeom prst="ellipse">
                <a:avLst/>
              </a:prstGeom>
              <a:solidFill>
                <a:schemeClr val="accent3"/>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4" name="Freeform 133"/>
              <p:cNvSpPr/>
              <p:nvPr/>
            </p:nvSpPr>
            <p:spPr>
              <a:xfrm flipH="1">
                <a:off x="5648093" y="4839738"/>
                <a:ext cx="454146" cy="888194"/>
              </a:xfrm>
              <a:custGeom>
                <a:avLst/>
                <a:gdLst>
                  <a:gd name="connsiteX0" fmla="*/ 253877 w 259622"/>
                  <a:gd name="connsiteY0" fmla="*/ 0 h 507754"/>
                  <a:gd name="connsiteX1" fmla="*/ 259622 w 259622"/>
                  <a:gd name="connsiteY1" fmla="*/ 579 h 507754"/>
                  <a:gd name="connsiteX2" fmla="*/ 259622 w 259622"/>
                  <a:gd name="connsiteY2" fmla="*/ 507175 h 507754"/>
                  <a:gd name="connsiteX3" fmla="*/ 253877 w 259622"/>
                  <a:gd name="connsiteY3" fmla="*/ 507754 h 507754"/>
                  <a:gd name="connsiteX4" fmla="*/ 0 w 259622"/>
                  <a:gd name="connsiteY4" fmla="*/ 253877 h 507754"/>
                  <a:gd name="connsiteX5" fmla="*/ 253877 w 259622"/>
                  <a:gd name="connsiteY5" fmla="*/ 0 h 507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622" h="507754">
                    <a:moveTo>
                      <a:pt x="253877" y="0"/>
                    </a:moveTo>
                    <a:lnTo>
                      <a:pt x="259622" y="579"/>
                    </a:lnTo>
                    <a:lnTo>
                      <a:pt x="259622" y="507175"/>
                    </a:lnTo>
                    <a:lnTo>
                      <a:pt x="253877" y="507754"/>
                    </a:lnTo>
                    <a:cubicBezTo>
                      <a:pt x="113665" y="507754"/>
                      <a:pt x="0" y="394089"/>
                      <a:pt x="0" y="253877"/>
                    </a:cubicBezTo>
                    <a:cubicBezTo>
                      <a:pt x="0" y="113665"/>
                      <a:pt x="113665" y="0"/>
                      <a:pt x="253877" y="0"/>
                    </a:cubicBez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26" name="Group 125"/>
            <p:cNvGrpSpPr/>
            <p:nvPr/>
          </p:nvGrpSpPr>
          <p:grpSpPr>
            <a:xfrm>
              <a:off x="5368790" y="4995461"/>
              <a:ext cx="572970" cy="580861"/>
              <a:chOff x="7762088" y="3634560"/>
              <a:chExt cx="1541281" cy="1562509"/>
            </a:xfrm>
            <a:solidFill>
              <a:schemeClr val="bg1"/>
            </a:solidFill>
          </p:grpSpPr>
          <p:sp>
            <p:nvSpPr>
              <p:cNvPr id="127" name="Freeform 126"/>
              <p:cNvSpPr>
                <a:spLocks noEditPoints="1"/>
              </p:cNvSpPr>
              <p:nvPr/>
            </p:nvSpPr>
            <p:spPr bwMode="auto">
              <a:xfrm rot="16200000" flipH="1">
                <a:off x="7758109" y="3638539"/>
                <a:ext cx="1535853" cy="1527896"/>
              </a:xfrm>
              <a:custGeom>
                <a:avLst/>
                <a:gdLst>
                  <a:gd name="T0" fmla="*/ 14 w 87"/>
                  <a:gd name="T1" fmla="*/ 2 h 87"/>
                  <a:gd name="T2" fmla="*/ 28 w 87"/>
                  <a:gd name="T3" fmla="*/ 16 h 87"/>
                  <a:gd name="T4" fmla="*/ 25 w 87"/>
                  <a:gd name="T5" fmla="*/ 25 h 87"/>
                  <a:gd name="T6" fmla="*/ 16 w 87"/>
                  <a:gd name="T7" fmla="*/ 28 h 87"/>
                  <a:gd name="T8" fmla="*/ 3 w 87"/>
                  <a:gd name="T9" fmla="*/ 14 h 87"/>
                  <a:gd name="T10" fmla="*/ 7 w 87"/>
                  <a:gd name="T11" fmla="*/ 35 h 87"/>
                  <a:gd name="T12" fmla="*/ 28 w 87"/>
                  <a:gd name="T13" fmla="*/ 39 h 87"/>
                  <a:gd name="T14" fmla="*/ 73 w 87"/>
                  <a:gd name="T15" fmla="*/ 84 h 87"/>
                  <a:gd name="T16" fmla="*/ 83 w 87"/>
                  <a:gd name="T17" fmla="*/ 84 h 87"/>
                  <a:gd name="T18" fmla="*/ 84 w 87"/>
                  <a:gd name="T19" fmla="*/ 83 h 87"/>
                  <a:gd name="T20" fmla="*/ 84 w 87"/>
                  <a:gd name="T21" fmla="*/ 72 h 87"/>
                  <a:gd name="T22" fmla="*/ 39 w 87"/>
                  <a:gd name="T23" fmla="*/ 28 h 87"/>
                  <a:gd name="T24" fmla="*/ 35 w 87"/>
                  <a:gd name="T25" fmla="*/ 7 h 87"/>
                  <a:gd name="T26" fmla="*/ 14 w 87"/>
                  <a:gd name="T27" fmla="*/ 2 h 87"/>
                  <a:gd name="T28" fmla="*/ 81 w 87"/>
                  <a:gd name="T29" fmla="*/ 81 h 87"/>
                  <a:gd name="T30" fmla="*/ 75 w 87"/>
                  <a:gd name="T31" fmla="*/ 81 h 87"/>
                  <a:gd name="T32" fmla="*/ 75 w 87"/>
                  <a:gd name="T33" fmla="*/ 75 h 87"/>
                  <a:gd name="T34" fmla="*/ 81 w 87"/>
                  <a:gd name="T35" fmla="*/ 75 h 87"/>
                  <a:gd name="T36" fmla="*/ 81 w 87"/>
                  <a:gd name="T37" fmla="*/ 8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87">
                    <a:moveTo>
                      <a:pt x="14" y="2"/>
                    </a:moveTo>
                    <a:cubicBezTo>
                      <a:pt x="28" y="16"/>
                      <a:pt x="28" y="16"/>
                      <a:pt x="28" y="16"/>
                    </a:cubicBezTo>
                    <a:cubicBezTo>
                      <a:pt x="25" y="25"/>
                      <a:pt x="25" y="25"/>
                      <a:pt x="25" y="25"/>
                    </a:cubicBezTo>
                    <a:cubicBezTo>
                      <a:pt x="16" y="28"/>
                      <a:pt x="16" y="28"/>
                      <a:pt x="16" y="28"/>
                    </a:cubicBezTo>
                    <a:cubicBezTo>
                      <a:pt x="3" y="14"/>
                      <a:pt x="3" y="14"/>
                      <a:pt x="3" y="14"/>
                    </a:cubicBezTo>
                    <a:cubicBezTo>
                      <a:pt x="0" y="21"/>
                      <a:pt x="1" y="29"/>
                      <a:pt x="7" y="35"/>
                    </a:cubicBezTo>
                    <a:cubicBezTo>
                      <a:pt x="13" y="40"/>
                      <a:pt x="21" y="42"/>
                      <a:pt x="28" y="39"/>
                    </a:cubicBezTo>
                    <a:cubicBezTo>
                      <a:pt x="73" y="84"/>
                      <a:pt x="73" y="84"/>
                      <a:pt x="73" y="84"/>
                    </a:cubicBezTo>
                    <a:cubicBezTo>
                      <a:pt x="76" y="87"/>
                      <a:pt x="80" y="87"/>
                      <a:pt x="83" y="84"/>
                    </a:cubicBezTo>
                    <a:cubicBezTo>
                      <a:pt x="84" y="83"/>
                      <a:pt x="84" y="83"/>
                      <a:pt x="84" y="83"/>
                    </a:cubicBezTo>
                    <a:cubicBezTo>
                      <a:pt x="87" y="80"/>
                      <a:pt x="87" y="75"/>
                      <a:pt x="84" y="72"/>
                    </a:cubicBezTo>
                    <a:cubicBezTo>
                      <a:pt x="39" y="28"/>
                      <a:pt x="39" y="28"/>
                      <a:pt x="39" y="28"/>
                    </a:cubicBezTo>
                    <a:cubicBezTo>
                      <a:pt x="42" y="21"/>
                      <a:pt x="41" y="13"/>
                      <a:pt x="35" y="7"/>
                    </a:cubicBezTo>
                    <a:cubicBezTo>
                      <a:pt x="29" y="1"/>
                      <a:pt x="21" y="0"/>
                      <a:pt x="14" y="2"/>
                    </a:cubicBezTo>
                    <a:close/>
                    <a:moveTo>
                      <a:pt x="81" y="81"/>
                    </a:moveTo>
                    <a:cubicBezTo>
                      <a:pt x="79" y="83"/>
                      <a:pt x="77" y="83"/>
                      <a:pt x="75" y="81"/>
                    </a:cubicBezTo>
                    <a:cubicBezTo>
                      <a:pt x="73" y="79"/>
                      <a:pt x="73" y="76"/>
                      <a:pt x="75" y="75"/>
                    </a:cubicBezTo>
                    <a:cubicBezTo>
                      <a:pt x="77" y="73"/>
                      <a:pt x="79" y="73"/>
                      <a:pt x="81" y="75"/>
                    </a:cubicBezTo>
                    <a:cubicBezTo>
                      <a:pt x="83" y="76"/>
                      <a:pt x="83" y="79"/>
                      <a:pt x="81" y="8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Freeform 7"/>
              <p:cNvSpPr>
                <a:spLocks/>
              </p:cNvSpPr>
              <p:nvPr/>
            </p:nvSpPr>
            <p:spPr bwMode="auto">
              <a:xfrm rot="16200000" flipH="1">
                <a:off x="7793867" y="3687567"/>
                <a:ext cx="1513661" cy="1505343"/>
              </a:xfrm>
              <a:custGeom>
                <a:avLst/>
                <a:gdLst>
                  <a:gd name="T0" fmla="*/ 80 w 82"/>
                  <a:gd name="T1" fmla="*/ 7 h 82"/>
                  <a:gd name="T2" fmla="*/ 76 w 82"/>
                  <a:gd name="T3" fmla="*/ 3 h 82"/>
                  <a:gd name="T4" fmla="*/ 66 w 82"/>
                  <a:gd name="T5" fmla="*/ 3 h 82"/>
                  <a:gd name="T6" fmla="*/ 37 w 82"/>
                  <a:gd name="T7" fmla="*/ 33 h 82"/>
                  <a:gd name="T8" fmla="*/ 36 w 82"/>
                  <a:gd name="T9" fmla="*/ 41 h 82"/>
                  <a:gd name="T10" fmla="*/ 17 w 82"/>
                  <a:gd name="T11" fmla="*/ 60 h 82"/>
                  <a:gd name="T12" fmla="*/ 17 w 82"/>
                  <a:gd name="T13" fmla="*/ 60 h 82"/>
                  <a:gd name="T14" fmla="*/ 9 w 82"/>
                  <a:gd name="T15" fmla="*/ 62 h 82"/>
                  <a:gd name="T16" fmla="*/ 0 w 82"/>
                  <a:gd name="T17" fmla="*/ 78 h 82"/>
                  <a:gd name="T18" fmla="*/ 4 w 82"/>
                  <a:gd name="T19" fmla="*/ 82 h 82"/>
                  <a:gd name="T20" fmla="*/ 20 w 82"/>
                  <a:gd name="T21" fmla="*/ 73 h 82"/>
                  <a:gd name="T22" fmla="*/ 22 w 82"/>
                  <a:gd name="T23" fmla="*/ 65 h 82"/>
                  <a:gd name="T24" fmla="*/ 41 w 82"/>
                  <a:gd name="T25" fmla="*/ 46 h 82"/>
                  <a:gd name="T26" fmla="*/ 50 w 82"/>
                  <a:gd name="T27" fmla="*/ 46 h 82"/>
                  <a:gd name="T28" fmla="*/ 80 w 82"/>
                  <a:gd name="T29" fmla="*/ 16 h 82"/>
                  <a:gd name="T30" fmla="*/ 80 w 82"/>
                  <a:gd name="T31" fmla="*/ 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82">
                    <a:moveTo>
                      <a:pt x="80" y="7"/>
                    </a:moveTo>
                    <a:cubicBezTo>
                      <a:pt x="76" y="3"/>
                      <a:pt x="76" y="3"/>
                      <a:pt x="76" y="3"/>
                    </a:cubicBezTo>
                    <a:cubicBezTo>
                      <a:pt x="73" y="0"/>
                      <a:pt x="69" y="0"/>
                      <a:pt x="66" y="3"/>
                    </a:cubicBezTo>
                    <a:cubicBezTo>
                      <a:pt x="37" y="33"/>
                      <a:pt x="37" y="33"/>
                      <a:pt x="37" y="33"/>
                    </a:cubicBezTo>
                    <a:cubicBezTo>
                      <a:pt x="34" y="35"/>
                      <a:pt x="34" y="39"/>
                      <a:pt x="36" y="41"/>
                    </a:cubicBezTo>
                    <a:cubicBezTo>
                      <a:pt x="17" y="60"/>
                      <a:pt x="17" y="60"/>
                      <a:pt x="17" y="60"/>
                    </a:cubicBezTo>
                    <a:cubicBezTo>
                      <a:pt x="17" y="60"/>
                      <a:pt x="17" y="60"/>
                      <a:pt x="17" y="60"/>
                    </a:cubicBezTo>
                    <a:cubicBezTo>
                      <a:pt x="9" y="62"/>
                      <a:pt x="9" y="62"/>
                      <a:pt x="9" y="62"/>
                    </a:cubicBezTo>
                    <a:cubicBezTo>
                      <a:pt x="0" y="78"/>
                      <a:pt x="0" y="78"/>
                      <a:pt x="0" y="78"/>
                    </a:cubicBezTo>
                    <a:cubicBezTo>
                      <a:pt x="4" y="82"/>
                      <a:pt x="4" y="82"/>
                      <a:pt x="4" y="82"/>
                    </a:cubicBezTo>
                    <a:cubicBezTo>
                      <a:pt x="20" y="73"/>
                      <a:pt x="20" y="73"/>
                      <a:pt x="20" y="73"/>
                    </a:cubicBezTo>
                    <a:cubicBezTo>
                      <a:pt x="22" y="65"/>
                      <a:pt x="22" y="65"/>
                      <a:pt x="22" y="65"/>
                    </a:cubicBezTo>
                    <a:cubicBezTo>
                      <a:pt x="41" y="46"/>
                      <a:pt x="41" y="46"/>
                      <a:pt x="41" y="46"/>
                    </a:cubicBezTo>
                    <a:cubicBezTo>
                      <a:pt x="44" y="48"/>
                      <a:pt x="48" y="48"/>
                      <a:pt x="50" y="46"/>
                    </a:cubicBezTo>
                    <a:cubicBezTo>
                      <a:pt x="80" y="16"/>
                      <a:pt x="80" y="16"/>
                      <a:pt x="80" y="16"/>
                    </a:cubicBezTo>
                    <a:cubicBezTo>
                      <a:pt x="82" y="14"/>
                      <a:pt x="82" y="10"/>
                      <a:pt x="80" y="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83" name="Rectangle 82"/>
          <p:cNvSpPr/>
          <p:nvPr/>
        </p:nvSpPr>
        <p:spPr>
          <a:xfrm rot="5400000">
            <a:off x="-1828238" y="4460746"/>
            <a:ext cx="4727908" cy="66611"/>
          </a:xfrm>
          <a:prstGeom prst="rect">
            <a:avLst/>
          </a:prstGeom>
          <a:solidFill>
            <a:schemeClr val="accent6"/>
          </a:solidFill>
        </p:spPr>
        <p:txBody>
          <a:bodyPr wrap="square" lIns="365760" tIns="182880" rIns="182880" bIns="18288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prstClr val="white"/>
              </a:solidFill>
              <a:effectLst/>
              <a:uLnTx/>
              <a:uFillTx/>
              <a:latin typeface="Segoe UI Light"/>
              <a:ea typeface="+mn-ea"/>
              <a:cs typeface="+mn-cs"/>
            </a:endParaRPr>
          </a:p>
        </p:txBody>
      </p:sp>
      <p:grpSp>
        <p:nvGrpSpPr>
          <p:cNvPr id="84" name="Group 83"/>
          <p:cNvGrpSpPr/>
          <p:nvPr/>
        </p:nvGrpSpPr>
        <p:grpSpPr>
          <a:xfrm>
            <a:off x="9550594" y="306452"/>
            <a:ext cx="1907187" cy="1402720"/>
            <a:chOff x="2360612" y="4143434"/>
            <a:chExt cx="1940814" cy="1427453"/>
          </a:xfrm>
        </p:grpSpPr>
        <p:sp>
          <p:nvSpPr>
            <p:cNvPr id="85" name="Freeform 5"/>
            <p:cNvSpPr>
              <a:spLocks/>
            </p:cNvSpPr>
            <p:nvPr/>
          </p:nvSpPr>
          <p:spPr bwMode="auto">
            <a:xfrm>
              <a:off x="2360612" y="4647645"/>
              <a:ext cx="1940814" cy="799067"/>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Freeform 85"/>
            <p:cNvSpPr/>
            <p:nvPr/>
          </p:nvSpPr>
          <p:spPr bwMode="auto">
            <a:xfrm>
              <a:off x="2765457" y="4147692"/>
              <a:ext cx="955300" cy="1244600"/>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 name="connsiteX0" fmla="*/ 727701 w 1455401"/>
                <a:gd name="connsiteY0" fmla="*/ 107085 h 1866625"/>
                <a:gd name="connsiteX1" fmla="*/ 727701 w 1455401"/>
                <a:gd name="connsiteY1" fmla="*/ 401926 h 1866625"/>
                <a:gd name="connsiteX2" fmla="*/ 1229991 w 1455401"/>
                <a:gd name="connsiteY2" fmla="*/ 254506 h 1866625"/>
                <a:gd name="connsiteX3" fmla="*/ 727701 w 1455401"/>
                <a:gd name="connsiteY3" fmla="*/ 107085 h 1866625"/>
                <a:gd name="connsiteX4" fmla="*/ 727700 w 1455401"/>
                <a:gd name="connsiteY4" fmla="*/ 0 h 1866625"/>
                <a:gd name="connsiteX5" fmla="*/ 1451644 w 1455401"/>
                <a:gd name="connsiteY5" fmla="*/ 266488 h 1866625"/>
                <a:gd name="connsiteX6" fmla="*/ 1454289 w 1455401"/>
                <a:gd name="connsiteY6" fmla="*/ 287858 h 1866625"/>
                <a:gd name="connsiteX7" fmla="*/ 1455400 w 1455401"/>
                <a:gd name="connsiteY7" fmla="*/ 287858 h 1866625"/>
                <a:gd name="connsiteX8" fmla="*/ 1455400 w 1455401"/>
                <a:gd name="connsiteY8" fmla="*/ 296838 h 1866625"/>
                <a:gd name="connsiteX9" fmla="*/ 1455401 w 1455401"/>
                <a:gd name="connsiteY9" fmla="*/ 1569784 h 1866625"/>
                <a:gd name="connsiteX10" fmla="*/ 1455401 w 1455401"/>
                <a:gd name="connsiteY10" fmla="*/ 1569787 h 1866625"/>
                <a:gd name="connsiteX11" fmla="*/ 1455401 w 1455401"/>
                <a:gd name="connsiteY11" fmla="*/ 1569790 h 1866625"/>
                <a:gd name="connsiteX12" fmla="*/ 1455401 w 1455401"/>
                <a:gd name="connsiteY12" fmla="*/ 1578767 h 1866625"/>
                <a:gd name="connsiteX13" fmla="*/ 1454289 w 1455401"/>
                <a:gd name="connsiteY13" fmla="*/ 1578767 h 1866625"/>
                <a:gd name="connsiteX14" fmla="*/ 1451644 w 1455401"/>
                <a:gd name="connsiteY14" fmla="*/ 1600137 h 1866625"/>
                <a:gd name="connsiteX15" fmla="*/ 727701 w 1455401"/>
                <a:gd name="connsiteY15" fmla="*/ 1866625 h 1866625"/>
                <a:gd name="connsiteX16" fmla="*/ 3758 w 1455401"/>
                <a:gd name="connsiteY16" fmla="*/ 1600137 h 1866625"/>
                <a:gd name="connsiteX17" fmla="*/ 1113 w 1455401"/>
                <a:gd name="connsiteY17" fmla="*/ 1578767 h 1866625"/>
                <a:gd name="connsiteX18" fmla="*/ 1 w 1455401"/>
                <a:gd name="connsiteY18" fmla="*/ 1578767 h 1866625"/>
                <a:gd name="connsiteX19" fmla="*/ 1 w 1455401"/>
                <a:gd name="connsiteY19" fmla="*/ 1569787 h 1866625"/>
                <a:gd name="connsiteX20" fmla="*/ 1 w 1455401"/>
                <a:gd name="connsiteY20" fmla="*/ 296841 h 1866625"/>
                <a:gd name="connsiteX21" fmla="*/ 0 w 1455401"/>
                <a:gd name="connsiteY21" fmla="*/ 296838 h 1866625"/>
                <a:gd name="connsiteX22" fmla="*/ 1 w 1455401"/>
                <a:gd name="connsiteY22" fmla="*/ 296835 h 1866625"/>
                <a:gd name="connsiteX23" fmla="*/ 3758 w 1455401"/>
                <a:gd name="connsiteY23" fmla="*/ 266488 h 1866625"/>
                <a:gd name="connsiteX24" fmla="*/ 727700 w 1455401"/>
                <a:gd name="connsiteY24" fmla="*/ 0 h 1866625"/>
                <a:gd name="connsiteX0" fmla="*/ 727701 w 1455401"/>
                <a:gd name="connsiteY0" fmla="*/ 107085 h 1866625"/>
                <a:gd name="connsiteX1" fmla="*/ 1229991 w 1455401"/>
                <a:gd name="connsiteY1" fmla="*/ 254506 h 1866625"/>
                <a:gd name="connsiteX2" fmla="*/ 727701 w 1455401"/>
                <a:gd name="connsiteY2" fmla="*/ 107085 h 1866625"/>
                <a:gd name="connsiteX3" fmla="*/ 727700 w 1455401"/>
                <a:gd name="connsiteY3" fmla="*/ 0 h 1866625"/>
                <a:gd name="connsiteX4" fmla="*/ 1451644 w 1455401"/>
                <a:gd name="connsiteY4" fmla="*/ 266488 h 1866625"/>
                <a:gd name="connsiteX5" fmla="*/ 1454289 w 1455401"/>
                <a:gd name="connsiteY5" fmla="*/ 287858 h 1866625"/>
                <a:gd name="connsiteX6" fmla="*/ 1455400 w 1455401"/>
                <a:gd name="connsiteY6" fmla="*/ 287858 h 1866625"/>
                <a:gd name="connsiteX7" fmla="*/ 1455400 w 1455401"/>
                <a:gd name="connsiteY7" fmla="*/ 296838 h 1866625"/>
                <a:gd name="connsiteX8" fmla="*/ 1455401 w 1455401"/>
                <a:gd name="connsiteY8" fmla="*/ 1569784 h 1866625"/>
                <a:gd name="connsiteX9" fmla="*/ 1455401 w 1455401"/>
                <a:gd name="connsiteY9" fmla="*/ 1569787 h 1866625"/>
                <a:gd name="connsiteX10" fmla="*/ 1455401 w 1455401"/>
                <a:gd name="connsiteY10" fmla="*/ 1569790 h 1866625"/>
                <a:gd name="connsiteX11" fmla="*/ 1455401 w 1455401"/>
                <a:gd name="connsiteY11" fmla="*/ 1578767 h 1866625"/>
                <a:gd name="connsiteX12" fmla="*/ 1454289 w 1455401"/>
                <a:gd name="connsiteY12" fmla="*/ 1578767 h 1866625"/>
                <a:gd name="connsiteX13" fmla="*/ 1451644 w 1455401"/>
                <a:gd name="connsiteY13" fmla="*/ 1600137 h 1866625"/>
                <a:gd name="connsiteX14" fmla="*/ 727701 w 1455401"/>
                <a:gd name="connsiteY14" fmla="*/ 1866625 h 1866625"/>
                <a:gd name="connsiteX15" fmla="*/ 3758 w 1455401"/>
                <a:gd name="connsiteY15" fmla="*/ 1600137 h 1866625"/>
                <a:gd name="connsiteX16" fmla="*/ 1113 w 1455401"/>
                <a:gd name="connsiteY16" fmla="*/ 1578767 h 1866625"/>
                <a:gd name="connsiteX17" fmla="*/ 1 w 1455401"/>
                <a:gd name="connsiteY17" fmla="*/ 1578767 h 1866625"/>
                <a:gd name="connsiteX18" fmla="*/ 1 w 1455401"/>
                <a:gd name="connsiteY18" fmla="*/ 1569787 h 1866625"/>
                <a:gd name="connsiteX19" fmla="*/ 1 w 1455401"/>
                <a:gd name="connsiteY19" fmla="*/ 296841 h 1866625"/>
                <a:gd name="connsiteX20" fmla="*/ 0 w 1455401"/>
                <a:gd name="connsiteY20" fmla="*/ 296838 h 1866625"/>
                <a:gd name="connsiteX21" fmla="*/ 1 w 1455401"/>
                <a:gd name="connsiteY21" fmla="*/ 296835 h 1866625"/>
                <a:gd name="connsiteX22" fmla="*/ 3758 w 1455401"/>
                <a:gd name="connsiteY22" fmla="*/ 266488 h 1866625"/>
                <a:gd name="connsiteX23" fmla="*/ 727700 w 1455401"/>
                <a:gd name="connsiteY23" fmla="*/ 0 h 1866625"/>
                <a:gd name="connsiteX0" fmla="*/ 727700 w 1455401"/>
                <a:gd name="connsiteY0" fmla="*/ 0 h 1866625"/>
                <a:gd name="connsiteX1" fmla="*/ 1451644 w 1455401"/>
                <a:gd name="connsiteY1" fmla="*/ 266488 h 1866625"/>
                <a:gd name="connsiteX2" fmla="*/ 1454289 w 1455401"/>
                <a:gd name="connsiteY2" fmla="*/ 287858 h 1866625"/>
                <a:gd name="connsiteX3" fmla="*/ 1455400 w 1455401"/>
                <a:gd name="connsiteY3" fmla="*/ 287858 h 1866625"/>
                <a:gd name="connsiteX4" fmla="*/ 1455400 w 1455401"/>
                <a:gd name="connsiteY4" fmla="*/ 296838 h 1866625"/>
                <a:gd name="connsiteX5" fmla="*/ 1455401 w 1455401"/>
                <a:gd name="connsiteY5" fmla="*/ 1569784 h 1866625"/>
                <a:gd name="connsiteX6" fmla="*/ 1455401 w 1455401"/>
                <a:gd name="connsiteY6" fmla="*/ 1569787 h 1866625"/>
                <a:gd name="connsiteX7" fmla="*/ 1455401 w 1455401"/>
                <a:gd name="connsiteY7" fmla="*/ 1569790 h 1866625"/>
                <a:gd name="connsiteX8" fmla="*/ 1455401 w 1455401"/>
                <a:gd name="connsiteY8" fmla="*/ 1578767 h 1866625"/>
                <a:gd name="connsiteX9" fmla="*/ 1454289 w 1455401"/>
                <a:gd name="connsiteY9" fmla="*/ 1578767 h 1866625"/>
                <a:gd name="connsiteX10" fmla="*/ 1451644 w 1455401"/>
                <a:gd name="connsiteY10" fmla="*/ 1600137 h 1866625"/>
                <a:gd name="connsiteX11" fmla="*/ 727701 w 1455401"/>
                <a:gd name="connsiteY11" fmla="*/ 1866625 h 1866625"/>
                <a:gd name="connsiteX12" fmla="*/ 3758 w 1455401"/>
                <a:gd name="connsiteY12" fmla="*/ 1600137 h 1866625"/>
                <a:gd name="connsiteX13" fmla="*/ 1113 w 1455401"/>
                <a:gd name="connsiteY13" fmla="*/ 1578767 h 1866625"/>
                <a:gd name="connsiteX14" fmla="*/ 1 w 1455401"/>
                <a:gd name="connsiteY14" fmla="*/ 1578767 h 1866625"/>
                <a:gd name="connsiteX15" fmla="*/ 1 w 1455401"/>
                <a:gd name="connsiteY15" fmla="*/ 1569787 h 1866625"/>
                <a:gd name="connsiteX16" fmla="*/ 1 w 1455401"/>
                <a:gd name="connsiteY16" fmla="*/ 296841 h 1866625"/>
                <a:gd name="connsiteX17" fmla="*/ 0 w 1455401"/>
                <a:gd name="connsiteY17" fmla="*/ 296838 h 1866625"/>
                <a:gd name="connsiteX18" fmla="*/ 1 w 1455401"/>
                <a:gd name="connsiteY18" fmla="*/ 296835 h 1866625"/>
                <a:gd name="connsiteX19" fmla="*/ 3758 w 1455401"/>
                <a:gd name="connsiteY19" fmla="*/ 266488 h 1866625"/>
                <a:gd name="connsiteX20" fmla="*/ 727700 w 1455401"/>
                <a:gd name="connsiteY20"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55401" h="1866625">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6EC0E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Freeform 86"/>
            <p:cNvSpPr>
              <a:spLocks noChangeAspect="1"/>
            </p:cNvSpPr>
            <p:nvPr/>
          </p:nvSpPr>
          <p:spPr bwMode="auto">
            <a:xfrm>
              <a:off x="3316611" y="4988401"/>
              <a:ext cx="919752" cy="58248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88" name="Freeform 87"/>
            <p:cNvSpPr/>
            <p:nvPr/>
          </p:nvSpPr>
          <p:spPr bwMode="auto">
            <a:xfrm>
              <a:off x="2727898" y="4146470"/>
              <a:ext cx="535660" cy="1244600"/>
            </a:xfrm>
            <a:custGeom>
              <a:avLst/>
              <a:gdLst>
                <a:gd name="connsiteX0" fmla="*/ 1 w 503975"/>
                <a:gd name="connsiteY0" fmla="*/ 158969 h 1244600"/>
                <a:gd name="connsiteX1" fmla="*/ 1 w 503975"/>
                <a:gd name="connsiteY1" fmla="*/ 171413 h 1244600"/>
                <a:gd name="connsiteX2" fmla="*/ 1 w 503975"/>
                <a:gd name="connsiteY2" fmla="*/ 197919 h 1244600"/>
                <a:gd name="connsiteX3" fmla="*/ 0 w 503975"/>
                <a:gd name="connsiteY3" fmla="*/ 197921 h 1244600"/>
                <a:gd name="connsiteX4" fmla="*/ 1 w 503975"/>
                <a:gd name="connsiteY4" fmla="*/ 158969 h 1244600"/>
                <a:gd name="connsiteX5" fmla="*/ 477650 w 503975"/>
                <a:gd name="connsiteY5" fmla="*/ 0 h 1244600"/>
                <a:gd name="connsiteX6" fmla="*/ 503975 w 503975"/>
                <a:gd name="connsiteY6" fmla="*/ 2064 h 1244600"/>
                <a:gd name="connsiteX7" fmla="*/ 503975 w 503975"/>
                <a:gd name="connsiteY7" fmla="*/ 72985 h 1244600"/>
                <a:gd name="connsiteX8" fmla="*/ 477650 w 503975"/>
                <a:gd name="connsiteY8" fmla="*/ 71401 h 1244600"/>
                <a:gd name="connsiteX9" fmla="*/ 147956 w 503975"/>
                <a:gd name="connsiteY9" fmla="*/ 169696 h 1244600"/>
                <a:gd name="connsiteX10" fmla="*/ 477650 w 503975"/>
                <a:gd name="connsiteY10" fmla="*/ 267990 h 1244600"/>
                <a:gd name="connsiteX11" fmla="*/ 503975 w 503975"/>
                <a:gd name="connsiteY11" fmla="*/ 266406 h 1244600"/>
                <a:gd name="connsiteX12" fmla="*/ 503975 w 503975"/>
                <a:gd name="connsiteY12" fmla="*/ 1242537 h 1244600"/>
                <a:gd name="connsiteX13" fmla="*/ 477650 w 503975"/>
                <a:gd name="connsiteY13" fmla="*/ 1244600 h 1244600"/>
                <a:gd name="connsiteX14" fmla="*/ 2467 w 503975"/>
                <a:gd name="connsiteY14" fmla="*/ 1066915 h 1244600"/>
                <a:gd name="connsiteX15" fmla="*/ 731 w 503975"/>
                <a:gd name="connsiteY15" fmla="*/ 1052667 h 1244600"/>
                <a:gd name="connsiteX16" fmla="*/ 1 w 503975"/>
                <a:gd name="connsiteY16" fmla="*/ 1052667 h 1244600"/>
                <a:gd name="connsiteX17" fmla="*/ 1 w 503975"/>
                <a:gd name="connsiteY17" fmla="*/ 1046679 h 1244600"/>
                <a:gd name="connsiteX18" fmla="*/ 1 w 503975"/>
                <a:gd name="connsiteY18" fmla="*/ 197923 h 1244600"/>
                <a:gd name="connsiteX19" fmla="*/ 1 w 503975"/>
                <a:gd name="connsiteY19" fmla="*/ 197919 h 1244600"/>
                <a:gd name="connsiteX20" fmla="*/ 1 w 503975"/>
                <a:gd name="connsiteY20" fmla="*/ 197919 h 1244600"/>
                <a:gd name="connsiteX21" fmla="*/ 2467 w 503975"/>
                <a:gd name="connsiteY21" fmla="*/ 177685 h 1244600"/>
                <a:gd name="connsiteX22" fmla="*/ 477650 w 503975"/>
                <a:gd name="connsiteY22" fmla="*/ 0 h 1244600"/>
                <a:gd name="connsiteX0" fmla="*/ 1 w 503975"/>
                <a:gd name="connsiteY0" fmla="*/ 158969 h 1244600"/>
                <a:gd name="connsiteX1" fmla="*/ 1 w 503975"/>
                <a:gd name="connsiteY1" fmla="*/ 171413 h 1244600"/>
                <a:gd name="connsiteX2" fmla="*/ 1 w 503975"/>
                <a:gd name="connsiteY2" fmla="*/ 197919 h 1244600"/>
                <a:gd name="connsiteX3" fmla="*/ 0 w 503975"/>
                <a:gd name="connsiteY3" fmla="*/ 197921 h 1244600"/>
                <a:gd name="connsiteX4" fmla="*/ 1 w 503975"/>
                <a:gd name="connsiteY4" fmla="*/ 158969 h 1244600"/>
                <a:gd name="connsiteX5" fmla="*/ 477650 w 503975"/>
                <a:gd name="connsiteY5" fmla="*/ 0 h 1244600"/>
                <a:gd name="connsiteX6" fmla="*/ 503975 w 503975"/>
                <a:gd name="connsiteY6" fmla="*/ 2064 h 1244600"/>
                <a:gd name="connsiteX7" fmla="*/ 503975 w 503975"/>
                <a:gd name="connsiteY7" fmla="*/ 72985 h 1244600"/>
                <a:gd name="connsiteX8" fmla="*/ 477650 w 503975"/>
                <a:gd name="connsiteY8" fmla="*/ 71401 h 1244600"/>
                <a:gd name="connsiteX9" fmla="*/ 477650 w 503975"/>
                <a:gd name="connsiteY9" fmla="*/ 267990 h 1244600"/>
                <a:gd name="connsiteX10" fmla="*/ 503975 w 503975"/>
                <a:gd name="connsiteY10" fmla="*/ 266406 h 1244600"/>
                <a:gd name="connsiteX11" fmla="*/ 503975 w 503975"/>
                <a:gd name="connsiteY11" fmla="*/ 1242537 h 1244600"/>
                <a:gd name="connsiteX12" fmla="*/ 477650 w 503975"/>
                <a:gd name="connsiteY12" fmla="*/ 1244600 h 1244600"/>
                <a:gd name="connsiteX13" fmla="*/ 2467 w 503975"/>
                <a:gd name="connsiteY13" fmla="*/ 1066915 h 1244600"/>
                <a:gd name="connsiteX14" fmla="*/ 731 w 503975"/>
                <a:gd name="connsiteY14" fmla="*/ 1052667 h 1244600"/>
                <a:gd name="connsiteX15" fmla="*/ 1 w 503975"/>
                <a:gd name="connsiteY15" fmla="*/ 1052667 h 1244600"/>
                <a:gd name="connsiteX16" fmla="*/ 1 w 503975"/>
                <a:gd name="connsiteY16" fmla="*/ 1046679 h 1244600"/>
                <a:gd name="connsiteX17" fmla="*/ 1 w 503975"/>
                <a:gd name="connsiteY17" fmla="*/ 197923 h 1244600"/>
                <a:gd name="connsiteX18" fmla="*/ 1 w 503975"/>
                <a:gd name="connsiteY18" fmla="*/ 197919 h 1244600"/>
                <a:gd name="connsiteX19" fmla="*/ 1 w 503975"/>
                <a:gd name="connsiteY19" fmla="*/ 197919 h 1244600"/>
                <a:gd name="connsiteX20" fmla="*/ 2467 w 503975"/>
                <a:gd name="connsiteY20" fmla="*/ 177685 h 1244600"/>
                <a:gd name="connsiteX21" fmla="*/ 477650 w 503975"/>
                <a:gd name="connsiteY21" fmla="*/ 0 h 1244600"/>
                <a:gd name="connsiteX0" fmla="*/ 1 w 503975"/>
                <a:gd name="connsiteY0" fmla="*/ 158969 h 1244600"/>
                <a:gd name="connsiteX1" fmla="*/ 1 w 503975"/>
                <a:gd name="connsiteY1" fmla="*/ 171413 h 1244600"/>
                <a:gd name="connsiteX2" fmla="*/ 1 w 503975"/>
                <a:gd name="connsiteY2" fmla="*/ 197919 h 1244600"/>
                <a:gd name="connsiteX3" fmla="*/ 0 w 503975"/>
                <a:gd name="connsiteY3" fmla="*/ 197921 h 1244600"/>
                <a:gd name="connsiteX4" fmla="*/ 1 w 503975"/>
                <a:gd name="connsiteY4" fmla="*/ 158969 h 1244600"/>
                <a:gd name="connsiteX5" fmla="*/ 477650 w 503975"/>
                <a:gd name="connsiteY5" fmla="*/ 0 h 1244600"/>
                <a:gd name="connsiteX6" fmla="*/ 503975 w 503975"/>
                <a:gd name="connsiteY6" fmla="*/ 2064 h 1244600"/>
                <a:gd name="connsiteX7" fmla="*/ 503975 w 503975"/>
                <a:gd name="connsiteY7" fmla="*/ 72985 h 1244600"/>
                <a:gd name="connsiteX8" fmla="*/ 477650 w 503975"/>
                <a:gd name="connsiteY8" fmla="*/ 71401 h 1244600"/>
                <a:gd name="connsiteX9" fmla="*/ 503975 w 503975"/>
                <a:gd name="connsiteY9" fmla="*/ 266406 h 1244600"/>
                <a:gd name="connsiteX10" fmla="*/ 503975 w 503975"/>
                <a:gd name="connsiteY10" fmla="*/ 1242537 h 1244600"/>
                <a:gd name="connsiteX11" fmla="*/ 477650 w 503975"/>
                <a:gd name="connsiteY11" fmla="*/ 1244600 h 1244600"/>
                <a:gd name="connsiteX12" fmla="*/ 2467 w 503975"/>
                <a:gd name="connsiteY12" fmla="*/ 1066915 h 1244600"/>
                <a:gd name="connsiteX13" fmla="*/ 731 w 503975"/>
                <a:gd name="connsiteY13" fmla="*/ 1052667 h 1244600"/>
                <a:gd name="connsiteX14" fmla="*/ 1 w 503975"/>
                <a:gd name="connsiteY14" fmla="*/ 1052667 h 1244600"/>
                <a:gd name="connsiteX15" fmla="*/ 1 w 503975"/>
                <a:gd name="connsiteY15" fmla="*/ 1046679 h 1244600"/>
                <a:gd name="connsiteX16" fmla="*/ 1 w 503975"/>
                <a:gd name="connsiteY16" fmla="*/ 197923 h 1244600"/>
                <a:gd name="connsiteX17" fmla="*/ 1 w 503975"/>
                <a:gd name="connsiteY17" fmla="*/ 197919 h 1244600"/>
                <a:gd name="connsiteX18" fmla="*/ 1 w 503975"/>
                <a:gd name="connsiteY18" fmla="*/ 197919 h 1244600"/>
                <a:gd name="connsiteX19" fmla="*/ 2467 w 503975"/>
                <a:gd name="connsiteY19" fmla="*/ 177685 h 1244600"/>
                <a:gd name="connsiteX20" fmla="*/ 477650 w 503975"/>
                <a:gd name="connsiteY20" fmla="*/ 0 h 1244600"/>
                <a:gd name="connsiteX0" fmla="*/ 1 w 503975"/>
                <a:gd name="connsiteY0" fmla="*/ 158969 h 1244600"/>
                <a:gd name="connsiteX1" fmla="*/ 1 w 503975"/>
                <a:gd name="connsiteY1" fmla="*/ 171413 h 1244600"/>
                <a:gd name="connsiteX2" fmla="*/ 1 w 503975"/>
                <a:gd name="connsiteY2" fmla="*/ 197919 h 1244600"/>
                <a:gd name="connsiteX3" fmla="*/ 0 w 503975"/>
                <a:gd name="connsiteY3" fmla="*/ 197921 h 1244600"/>
                <a:gd name="connsiteX4" fmla="*/ 1 w 503975"/>
                <a:gd name="connsiteY4" fmla="*/ 158969 h 1244600"/>
                <a:gd name="connsiteX5" fmla="*/ 477650 w 503975"/>
                <a:gd name="connsiteY5" fmla="*/ 0 h 1244600"/>
                <a:gd name="connsiteX6" fmla="*/ 503975 w 503975"/>
                <a:gd name="connsiteY6" fmla="*/ 2064 h 1244600"/>
                <a:gd name="connsiteX7" fmla="*/ 503975 w 503975"/>
                <a:gd name="connsiteY7" fmla="*/ 72985 h 1244600"/>
                <a:gd name="connsiteX8" fmla="*/ 503975 w 503975"/>
                <a:gd name="connsiteY8" fmla="*/ 266406 h 1244600"/>
                <a:gd name="connsiteX9" fmla="*/ 503975 w 503975"/>
                <a:gd name="connsiteY9" fmla="*/ 1242537 h 1244600"/>
                <a:gd name="connsiteX10" fmla="*/ 477650 w 503975"/>
                <a:gd name="connsiteY10" fmla="*/ 1244600 h 1244600"/>
                <a:gd name="connsiteX11" fmla="*/ 2467 w 503975"/>
                <a:gd name="connsiteY11" fmla="*/ 1066915 h 1244600"/>
                <a:gd name="connsiteX12" fmla="*/ 731 w 503975"/>
                <a:gd name="connsiteY12" fmla="*/ 1052667 h 1244600"/>
                <a:gd name="connsiteX13" fmla="*/ 1 w 503975"/>
                <a:gd name="connsiteY13" fmla="*/ 1052667 h 1244600"/>
                <a:gd name="connsiteX14" fmla="*/ 1 w 503975"/>
                <a:gd name="connsiteY14" fmla="*/ 1046679 h 1244600"/>
                <a:gd name="connsiteX15" fmla="*/ 1 w 503975"/>
                <a:gd name="connsiteY15" fmla="*/ 197923 h 1244600"/>
                <a:gd name="connsiteX16" fmla="*/ 1 w 503975"/>
                <a:gd name="connsiteY16" fmla="*/ 197919 h 1244600"/>
                <a:gd name="connsiteX17" fmla="*/ 1 w 503975"/>
                <a:gd name="connsiteY17" fmla="*/ 197919 h 1244600"/>
                <a:gd name="connsiteX18" fmla="*/ 2467 w 503975"/>
                <a:gd name="connsiteY18" fmla="*/ 177685 h 1244600"/>
                <a:gd name="connsiteX19" fmla="*/ 477650 w 503975"/>
                <a:gd name="connsiteY19" fmla="*/ 0 h 1244600"/>
                <a:gd name="connsiteX0" fmla="*/ 1 w 503975"/>
                <a:gd name="connsiteY0" fmla="*/ 158969 h 1244600"/>
                <a:gd name="connsiteX1" fmla="*/ 1 w 503975"/>
                <a:gd name="connsiteY1" fmla="*/ 171413 h 1244600"/>
                <a:gd name="connsiteX2" fmla="*/ 1 w 503975"/>
                <a:gd name="connsiteY2" fmla="*/ 197919 h 1244600"/>
                <a:gd name="connsiteX3" fmla="*/ 0 w 503975"/>
                <a:gd name="connsiteY3" fmla="*/ 197921 h 1244600"/>
                <a:gd name="connsiteX4" fmla="*/ 1 w 503975"/>
                <a:gd name="connsiteY4" fmla="*/ 158969 h 1244600"/>
                <a:gd name="connsiteX5" fmla="*/ 477650 w 503975"/>
                <a:gd name="connsiteY5" fmla="*/ 0 h 1244600"/>
                <a:gd name="connsiteX6" fmla="*/ 503975 w 503975"/>
                <a:gd name="connsiteY6" fmla="*/ 2064 h 1244600"/>
                <a:gd name="connsiteX7" fmla="*/ 503975 w 503975"/>
                <a:gd name="connsiteY7" fmla="*/ 266406 h 1244600"/>
                <a:gd name="connsiteX8" fmla="*/ 503975 w 503975"/>
                <a:gd name="connsiteY8" fmla="*/ 1242537 h 1244600"/>
                <a:gd name="connsiteX9" fmla="*/ 477650 w 503975"/>
                <a:gd name="connsiteY9" fmla="*/ 1244600 h 1244600"/>
                <a:gd name="connsiteX10" fmla="*/ 2467 w 503975"/>
                <a:gd name="connsiteY10" fmla="*/ 1066915 h 1244600"/>
                <a:gd name="connsiteX11" fmla="*/ 731 w 503975"/>
                <a:gd name="connsiteY11" fmla="*/ 1052667 h 1244600"/>
                <a:gd name="connsiteX12" fmla="*/ 1 w 503975"/>
                <a:gd name="connsiteY12" fmla="*/ 1052667 h 1244600"/>
                <a:gd name="connsiteX13" fmla="*/ 1 w 503975"/>
                <a:gd name="connsiteY13" fmla="*/ 1046679 h 1244600"/>
                <a:gd name="connsiteX14" fmla="*/ 1 w 503975"/>
                <a:gd name="connsiteY14" fmla="*/ 197923 h 1244600"/>
                <a:gd name="connsiteX15" fmla="*/ 1 w 503975"/>
                <a:gd name="connsiteY15" fmla="*/ 197919 h 1244600"/>
                <a:gd name="connsiteX16" fmla="*/ 1 w 503975"/>
                <a:gd name="connsiteY16" fmla="*/ 197919 h 1244600"/>
                <a:gd name="connsiteX17" fmla="*/ 2467 w 503975"/>
                <a:gd name="connsiteY17" fmla="*/ 177685 h 1244600"/>
                <a:gd name="connsiteX18" fmla="*/ 477650 w 503975"/>
                <a:gd name="connsiteY18" fmla="*/ 0 h 1244600"/>
                <a:gd name="connsiteX0" fmla="*/ 1 w 503975"/>
                <a:gd name="connsiteY0" fmla="*/ 158969 h 1244600"/>
                <a:gd name="connsiteX1" fmla="*/ 1 w 503975"/>
                <a:gd name="connsiteY1" fmla="*/ 171413 h 1244600"/>
                <a:gd name="connsiteX2" fmla="*/ 1 w 503975"/>
                <a:gd name="connsiteY2" fmla="*/ 197919 h 1244600"/>
                <a:gd name="connsiteX3" fmla="*/ 0 w 503975"/>
                <a:gd name="connsiteY3" fmla="*/ 197921 h 1244600"/>
                <a:gd name="connsiteX4" fmla="*/ 1 w 503975"/>
                <a:gd name="connsiteY4" fmla="*/ 158969 h 1244600"/>
                <a:gd name="connsiteX5" fmla="*/ 477650 w 503975"/>
                <a:gd name="connsiteY5" fmla="*/ 0 h 1244600"/>
                <a:gd name="connsiteX6" fmla="*/ 503975 w 503975"/>
                <a:gd name="connsiteY6" fmla="*/ 2064 h 1244600"/>
                <a:gd name="connsiteX7" fmla="*/ 503975 w 503975"/>
                <a:gd name="connsiteY7" fmla="*/ 1242537 h 1244600"/>
                <a:gd name="connsiteX8" fmla="*/ 477650 w 503975"/>
                <a:gd name="connsiteY8" fmla="*/ 1244600 h 1244600"/>
                <a:gd name="connsiteX9" fmla="*/ 2467 w 503975"/>
                <a:gd name="connsiteY9" fmla="*/ 1066915 h 1244600"/>
                <a:gd name="connsiteX10" fmla="*/ 731 w 503975"/>
                <a:gd name="connsiteY10" fmla="*/ 1052667 h 1244600"/>
                <a:gd name="connsiteX11" fmla="*/ 1 w 503975"/>
                <a:gd name="connsiteY11" fmla="*/ 1052667 h 1244600"/>
                <a:gd name="connsiteX12" fmla="*/ 1 w 503975"/>
                <a:gd name="connsiteY12" fmla="*/ 1046679 h 1244600"/>
                <a:gd name="connsiteX13" fmla="*/ 1 w 503975"/>
                <a:gd name="connsiteY13" fmla="*/ 197923 h 1244600"/>
                <a:gd name="connsiteX14" fmla="*/ 1 w 503975"/>
                <a:gd name="connsiteY14" fmla="*/ 197919 h 1244600"/>
                <a:gd name="connsiteX15" fmla="*/ 1 w 503975"/>
                <a:gd name="connsiteY15" fmla="*/ 197919 h 1244600"/>
                <a:gd name="connsiteX16" fmla="*/ 2467 w 503975"/>
                <a:gd name="connsiteY16" fmla="*/ 177685 h 1244600"/>
                <a:gd name="connsiteX17" fmla="*/ 477650 w 503975"/>
                <a:gd name="connsiteY17" fmla="*/ 0 h 124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03975" h="1244600">
                  <a:moveTo>
                    <a:pt x="1" y="158969"/>
                  </a:moveTo>
                  <a:lnTo>
                    <a:pt x="1" y="171413"/>
                  </a:lnTo>
                  <a:lnTo>
                    <a:pt x="1" y="197919"/>
                  </a:lnTo>
                  <a:cubicBezTo>
                    <a:pt x="1" y="197920"/>
                    <a:pt x="0" y="197920"/>
                    <a:pt x="0" y="197921"/>
                  </a:cubicBezTo>
                  <a:cubicBezTo>
                    <a:pt x="0" y="197922"/>
                    <a:pt x="1" y="145984"/>
                    <a:pt x="1" y="158969"/>
                  </a:cubicBezTo>
                  <a:close/>
                  <a:moveTo>
                    <a:pt x="477650" y="0"/>
                  </a:moveTo>
                  <a:lnTo>
                    <a:pt x="503975" y="2064"/>
                  </a:lnTo>
                  <a:lnTo>
                    <a:pt x="503975" y="1242537"/>
                  </a:lnTo>
                  <a:lnTo>
                    <a:pt x="477650" y="1244600"/>
                  </a:lnTo>
                  <a:cubicBezTo>
                    <a:pt x="230339" y="1244600"/>
                    <a:pt x="26928" y="1166718"/>
                    <a:pt x="2467" y="1066915"/>
                  </a:cubicBezTo>
                  <a:lnTo>
                    <a:pt x="731" y="1052667"/>
                  </a:lnTo>
                  <a:lnTo>
                    <a:pt x="1" y="1052667"/>
                  </a:lnTo>
                  <a:lnTo>
                    <a:pt x="1" y="1046679"/>
                  </a:lnTo>
                  <a:lnTo>
                    <a:pt x="1" y="197923"/>
                  </a:lnTo>
                  <a:lnTo>
                    <a:pt x="1" y="197919"/>
                  </a:lnTo>
                  <a:lnTo>
                    <a:pt x="1" y="197919"/>
                  </a:lnTo>
                  <a:lnTo>
                    <a:pt x="2467" y="177685"/>
                  </a:lnTo>
                  <a:cubicBezTo>
                    <a:pt x="26927" y="77882"/>
                    <a:pt x="230339" y="0"/>
                    <a:pt x="477650" y="0"/>
                  </a:cubicBezTo>
                  <a:close/>
                </a:path>
              </a:pathLst>
            </a:custGeom>
            <a:solidFill>
              <a:srgbClr val="3597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Oval 88"/>
            <p:cNvSpPr/>
            <p:nvPr/>
          </p:nvSpPr>
          <p:spPr>
            <a:xfrm>
              <a:off x="2728343" y="4143434"/>
              <a:ext cx="992414" cy="3771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90" name="Group 89"/>
            <p:cNvGrpSpPr/>
            <p:nvPr/>
          </p:nvGrpSpPr>
          <p:grpSpPr>
            <a:xfrm>
              <a:off x="2828403" y="4211299"/>
              <a:ext cx="792294" cy="241444"/>
              <a:chOff x="4276256" y="3321813"/>
              <a:chExt cx="792294" cy="241444"/>
            </a:xfrm>
          </p:grpSpPr>
          <p:sp>
            <p:nvSpPr>
              <p:cNvPr id="92" name="Oval 91"/>
              <p:cNvSpPr/>
              <p:nvPr/>
            </p:nvSpPr>
            <p:spPr>
              <a:xfrm>
                <a:off x="4276256" y="3321813"/>
                <a:ext cx="792294" cy="241444"/>
              </a:xfrm>
              <a:prstGeom prst="ellipse">
                <a:avLst/>
              </a:prstGeom>
              <a:solidFill>
                <a:srgbClr val="B5D2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3" name="Freeform 92"/>
              <p:cNvSpPr/>
              <p:nvPr/>
            </p:nvSpPr>
            <p:spPr>
              <a:xfrm>
                <a:off x="4357964" y="3461513"/>
                <a:ext cx="628881" cy="101744"/>
              </a:xfrm>
              <a:custGeom>
                <a:avLst/>
                <a:gdLst>
                  <a:gd name="connsiteX0" fmla="*/ 314440 w 628881"/>
                  <a:gd name="connsiteY0" fmla="*/ 0 h 101744"/>
                  <a:gd name="connsiteX1" fmla="*/ 594558 w 628881"/>
                  <a:gd name="connsiteY1" fmla="*/ 35359 h 101744"/>
                  <a:gd name="connsiteX2" fmla="*/ 628881 w 628881"/>
                  <a:gd name="connsiteY2" fmla="*/ 50872 h 101744"/>
                  <a:gd name="connsiteX3" fmla="*/ 594558 w 628881"/>
                  <a:gd name="connsiteY3" fmla="*/ 66386 h 101744"/>
                  <a:gd name="connsiteX4" fmla="*/ 314440 w 628881"/>
                  <a:gd name="connsiteY4" fmla="*/ 101744 h 101744"/>
                  <a:gd name="connsiteX5" fmla="*/ 34322 w 628881"/>
                  <a:gd name="connsiteY5" fmla="*/ 66386 h 101744"/>
                  <a:gd name="connsiteX6" fmla="*/ 0 w 628881"/>
                  <a:gd name="connsiteY6" fmla="*/ 50872 h 101744"/>
                  <a:gd name="connsiteX7" fmla="*/ 34322 w 628881"/>
                  <a:gd name="connsiteY7" fmla="*/ 35359 h 101744"/>
                  <a:gd name="connsiteX8" fmla="*/ 314440 w 628881"/>
                  <a:gd name="connsiteY8" fmla="*/ 0 h 10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8881" h="101744">
                    <a:moveTo>
                      <a:pt x="314440" y="0"/>
                    </a:moveTo>
                    <a:cubicBezTo>
                      <a:pt x="423833" y="0"/>
                      <a:pt x="522870" y="13512"/>
                      <a:pt x="594558" y="35359"/>
                    </a:cubicBezTo>
                    <a:lnTo>
                      <a:pt x="628881" y="50872"/>
                    </a:lnTo>
                    <a:lnTo>
                      <a:pt x="594558" y="66386"/>
                    </a:lnTo>
                    <a:cubicBezTo>
                      <a:pt x="522870" y="88232"/>
                      <a:pt x="423833" y="101744"/>
                      <a:pt x="314440" y="101744"/>
                    </a:cubicBezTo>
                    <a:cubicBezTo>
                      <a:pt x="205047" y="101744"/>
                      <a:pt x="106010" y="88232"/>
                      <a:pt x="34322" y="66386"/>
                    </a:cubicBezTo>
                    <a:lnTo>
                      <a:pt x="0" y="50872"/>
                    </a:lnTo>
                    <a:lnTo>
                      <a:pt x="34322" y="35359"/>
                    </a:lnTo>
                    <a:cubicBezTo>
                      <a:pt x="106010" y="13512"/>
                      <a:pt x="205047" y="0"/>
                      <a:pt x="314440" y="0"/>
                    </a:cubicBezTo>
                    <a:close/>
                  </a:path>
                </a:pathLst>
              </a:custGeom>
              <a:solidFill>
                <a:srgbClr val="7EB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91" name="Freeform 90"/>
            <p:cNvSpPr/>
            <p:nvPr/>
          </p:nvSpPr>
          <p:spPr>
            <a:xfrm>
              <a:off x="2952582" y="4722615"/>
              <a:ext cx="568779" cy="268751"/>
            </a:xfrm>
            <a:custGeom>
              <a:avLst/>
              <a:gdLst/>
              <a:ahLst/>
              <a:cxnLst/>
              <a:rect l="l" t="t" r="r" b="b"/>
              <a:pathLst>
                <a:path w="568779" h="268751">
                  <a:moveTo>
                    <a:pt x="289875" y="34021"/>
                  </a:moveTo>
                  <a:cubicBezTo>
                    <a:pt x="279240" y="34021"/>
                    <a:pt x="269500" y="36110"/>
                    <a:pt x="260656" y="40288"/>
                  </a:cubicBezTo>
                  <a:cubicBezTo>
                    <a:pt x="251811" y="44466"/>
                    <a:pt x="244188" y="50380"/>
                    <a:pt x="237785" y="58031"/>
                  </a:cubicBezTo>
                  <a:cubicBezTo>
                    <a:pt x="231382" y="65682"/>
                    <a:pt x="226417" y="74825"/>
                    <a:pt x="222891" y="85460"/>
                  </a:cubicBezTo>
                  <a:cubicBezTo>
                    <a:pt x="219364" y="96095"/>
                    <a:pt x="217600" y="107923"/>
                    <a:pt x="217600" y="120946"/>
                  </a:cubicBezTo>
                  <a:cubicBezTo>
                    <a:pt x="217600" y="133860"/>
                    <a:pt x="219309" y="145634"/>
                    <a:pt x="222728" y="156269"/>
                  </a:cubicBezTo>
                  <a:cubicBezTo>
                    <a:pt x="226146" y="166904"/>
                    <a:pt x="230948" y="175993"/>
                    <a:pt x="237134" y="183535"/>
                  </a:cubicBezTo>
                  <a:cubicBezTo>
                    <a:pt x="243320" y="191077"/>
                    <a:pt x="250753" y="196937"/>
                    <a:pt x="259435" y="201115"/>
                  </a:cubicBezTo>
                  <a:cubicBezTo>
                    <a:pt x="268116" y="205293"/>
                    <a:pt x="277721" y="207382"/>
                    <a:pt x="288247" y="207382"/>
                  </a:cubicBezTo>
                  <a:cubicBezTo>
                    <a:pt x="299425" y="207382"/>
                    <a:pt x="309463" y="205429"/>
                    <a:pt x="318361" y="201522"/>
                  </a:cubicBezTo>
                  <a:cubicBezTo>
                    <a:pt x="327260" y="197616"/>
                    <a:pt x="334829" y="192000"/>
                    <a:pt x="341069" y="184675"/>
                  </a:cubicBezTo>
                  <a:cubicBezTo>
                    <a:pt x="347309" y="177349"/>
                    <a:pt x="352111" y="168369"/>
                    <a:pt x="355476" y="157734"/>
                  </a:cubicBezTo>
                  <a:cubicBezTo>
                    <a:pt x="358840" y="147099"/>
                    <a:pt x="360522" y="134999"/>
                    <a:pt x="360522" y="121434"/>
                  </a:cubicBezTo>
                  <a:cubicBezTo>
                    <a:pt x="360522" y="107544"/>
                    <a:pt x="358894" y="95172"/>
                    <a:pt x="355638" y="84320"/>
                  </a:cubicBezTo>
                  <a:cubicBezTo>
                    <a:pt x="352383" y="73468"/>
                    <a:pt x="347716" y="64325"/>
                    <a:pt x="341639" y="56892"/>
                  </a:cubicBezTo>
                  <a:cubicBezTo>
                    <a:pt x="335562" y="49458"/>
                    <a:pt x="328155" y="43788"/>
                    <a:pt x="319420" y="39881"/>
                  </a:cubicBezTo>
                  <a:cubicBezTo>
                    <a:pt x="310684" y="35974"/>
                    <a:pt x="300835" y="34021"/>
                    <a:pt x="289875" y="34021"/>
                  </a:cubicBezTo>
                  <a:close/>
                  <a:moveTo>
                    <a:pt x="439531" y="3907"/>
                  </a:moveTo>
                  <a:lnTo>
                    <a:pt x="478273" y="3907"/>
                  </a:lnTo>
                  <a:lnTo>
                    <a:pt x="478273" y="204615"/>
                  </a:lnTo>
                  <a:lnTo>
                    <a:pt x="568779" y="204615"/>
                  </a:lnTo>
                  <a:lnTo>
                    <a:pt x="568779" y="237334"/>
                  </a:lnTo>
                  <a:lnTo>
                    <a:pt x="439531" y="237334"/>
                  </a:lnTo>
                  <a:close/>
                  <a:moveTo>
                    <a:pt x="291828" y="0"/>
                  </a:moveTo>
                  <a:cubicBezTo>
                    <a:pt x="308106" y="0"/>
                    <a:pt x="322974" y="2876"/>
                    <a:pt x="336430" y="8627"/>
                  </a:cubicBezTo>
                  <a:cubicBezTo>
                    <a:pt x="349887" y="14379"/>
                    <a:pt x="361390" y="22436"/>
                    <a:pt x="370940" y="32800"/>
                  </a:cubicBezTo>
                  <a:cubicBezTo>
                    <a:pt x="380489" y="43164"/>
                    <a:pt x="387896" y="55562"/>
                    <a:pt x="393159" y="69996"/>
                  </a:cubicBezTo>
                  <a:cubicBezTo>
                    <a:pt x="398422" y="84429"/>
                    <a:pt x="401054" y="100327"/>
                    <a:pt x="401054" y="117690"/>
                  </a:cubicBezTo>
                  <a:cubicBezTo>
                    <a:pt x="401054" y="140697"/>
                    <a:pt x="397202" y="160854"/>
                    <a:pt x="389497" y="178163"/>
                  </a:cubicBezTo>
                  <a:cubicBezTo>
                    <a:pt x="381792" y="195472"/>
                    <a:pt x="370940" y="209390"/>
                    <a:pt x="356941" y="219917"/>
                  </a:cubicBezTo>
                  <a:lnTo>
                    <a:pt x="424657" y="268751"/>
                  </a:lnTo>
                  <a:lnTo>
                    <a:pt x="365731" y="268751"/>
                  </a:lnTo>
                  <a:lnTo>
                    <a:pt x="324059" y="236357"/>
                  </a:lnTo>
                  <a:cubicBezTo>
                    <a:pt x="318524" y="237877"/>
                    <a:pt x="312773" y="239070"/>
                    <a:pt x="306804" y="239939"/>
                  </a:cubicBezTo>
                  <a:cubicBezTo>
                    <a:pt x="300835" y="240807"/>
                    <a:pt x="294596" y="241241"/>
                    <a:pt x="288084" y="241241"/>
                  </a:cubicBezTo>
                  <a:cubicBezTo>
                    <a:pt x="271264" y="241241"/>
                    <a:pt x="256016" y="238365"/>
                    <a:pt x="242343" y="232613"/>
                  </a:cubicBezTo>
                  <a:cubicBezTo>
                    <a:pt x="228669" y="226862"/>
                    <a:pt x="217003" y="218804"/>
                    <a:pt x="207345" y="208441"/>
                  </a:cubicBezTo>
                  <a:cubicBezTo>
                    <a:pt x="197687" y="198077"/>
                    <a:pt x="190199" y="185678"/>
                    <a:pt x="184881" y="171245"/>
                  </a:cubicBezTo>
                  <a:cubicBezTo>
                    <a:pt x="179564" y="156812"/>
                    <a:pt x="176905" y="140859"/>
                    <a:pt x="176905" y="123388"/>
                  </a:cubicBezTo>
                  <a:cubicBezTo>
                    <a:pt x="176905" y="104722"/>
                    <a:pt x="179591" y="87793"/>
                    <a:pt x="184963" y="72600"/>
                  </a:cubicBezTo>
                  <a:cubicBezTo>
                    <a:pt x="190334" y="57407"/>
                    <a:pt x="197985" y="44439"/>
                    <a:pt x="207915" y="33695"/>
                  </a:cubicBezTo>
                  <a:cubicBezTo>
                    <a:pt x="217844" y="22952"/>
                    <a:pt x="229917" y="14650"/>
                    <a:pt x="244133" y="8790"/>
                  </a:cubicBezTo>
                  <a:cubicBezTo>
                    <a:pt x="258350" y="2930"/>
                    <a:pt x="274248" y="0"/>
                    <a:pt x="291828" y="0"/>
                  </a:cubicBezTo>
                  <a:close/>
                  <a:moveTo>
                    <a:pt x="86111" y="0"/>
                  </a:moveTo>
                  <a:cubicBezTo>
                    <a:pt x="110528" y="0"/>
                    <a:pt x="128325" y="2767"/>
                    <a:pt x="139503" y="8302"/>
                  </a:cubicBezTo>
                  <a:lnTo>
                    <a:pt x="139503" y="46555"/>
                  </a:lnTo>
                  <a:cubicBezTo>
                    <a:pt x="126263" y="37005"/>
                    <a:pt x="109225" y="32230"/>
                    <a:pt x="88389" y="32230"/>
                  </a:cubicBezTo>
                  <a:cubicBezTo>
                    <a:pt x="82638" y="32230"/>
                    <a:pt x="76913" y="32773"/>
                    <a:pt x="71216" y="33858"/>
                  </a:cubicBezTo>
                  <a:cubicBezTo>
                    <a:pt x="65519" y="34943"/>
                    <a:pt x="60418" y="36734"/>
                    <a:pt x="55915" y="39230"/>
                  </a:cubicBezTo>
                  <a:cubicBezTo>
                    <a:pt x="51411" y="41726"/>
                    <a:pt x="47749" y="44927"/>
                    <a:pt x="44927" y="48834"/>
                  </a:cubicBezTo>
                  <a:cubicBezTo>
                    <a:pt x="42105" y="52741"/>
                    <a:pt x="40695" y="57461"/>
                    <a:pt x="40695" y="62996"/>
                  </a:cubicBezTo>
                  <a:cubicBezTo>
                    <a:pt x="40695" y="68205"/>
                    <a:pt x="41780" y="72709"/>
                    <a:pt x="43950" y="76507"/>
                  </a:cubicBezTo>
                  <a:cubicBezTo>
                    <a:pt x="46121" y="80305"/>
                    <a:pt x="49295" y="83778"/>
                    <a:pt x="53473" y="86925"/>
                  </a:cubicBezTo>
                  <a:cubicBezTo>
                    <a:pt x="57651" y="90072"/>
                    <a:pt x="62752" y="93138"/>
                    <a:pt x="68774" y="96122"/>
                  </a:cubicBezTo>
                  <a:cubicBezTo>
                    <a:pt x="74797" y="99106"/>
                    <a:pt x="81770" y="102335"/>
                    <a:pt x="89692" y="105807"/>
                  </a:cubicBezTo>
                  <a:cubicBezTo>
                    <a:pt x="97831" y="110040"/>
                    <a:pt x="105509" y="114489"/>
                    <a:pt x="112725" y="119155"/>
                  </a:cubicBezTo>
                  <a:cubicBezTo>
                    <a:pt x="119942" y="123822"/>
                    <a:pt x="126290" y="128976"/>
                    <a:pt x="131771" y="134619"/>
                  </a:cubicBezTo>
                  <a:cubicBezTo>
                    <a:pt x="137251" y="140263"/>
                    <a:pt x="141592" y="146530"/>
                    <a:pt x="144793" y="153421"/>
                  </a:cubicBezTo>
                  <a:cubicBezTo>
                    <a:pt x="147994" y="160312"/>
                    <a:pt x="149595" y="168152"/>
                    <a:pt x="149595" y="176942"/>
                  </a:cubicBezTo>
                  <a:cubicBezTo>
                    <a:pt x="149595" y="188771"/>
                    <a:pt x="147208" y="198755"/>
                    <a:pt x="142433" y="206894"/>
                  </a:cubicBezTo>
                  <a:cubicBezTo>
                    <a:pt x="137658" y="215033"/>
                    <a:pt x="131228" y="221653"/>
                    <a:pt x="123143" y="226753"/>
                  </a:cubicBezTo>
                  <a:cubicBezTo>
                    <a:pt x="115058" y="231854"/>
                    <a:pt x="105753" y="235544"/>
                    <a:pt x="95226" y="237822"/>
                  </a:cubicBezTo>
                  <a:cubicBezTo>
                    <a:pt x="84700" y="240101"/>
                    <a:pt x="73576" y="241241"/>
                    <a:pt x="61856" y="241241"/>
                  </a:cubicBezTo>
                  <a:cubicBezTo>
                    <a:pt x="57949" y="241241"/>
                    <a:pt x="53147" y="240942"/>
                    <a:pt x="47450" y="240346"/>
                  </a:cubicBezTo>
                  <a:cubicBezTo>
                    <a:pt x="41753" y="239749"/>
                    <a:pt x="35920" y="238881"/>
                    <a:pt x="29951" y="237741"/>
                  </a:cubicBezTo>
                  <a:cubicBezTo>
                    <a:pt x="23983" y="236602"/>
                    <a:pt x="18339" y="235218"/>
                    <a:pt x="13022" y="233590"/>
                  </a:cubicBezTo>
                  <a:cubicBezTo>
                    <a:pt x="7704" y="231962"/>
                    <a:pt x="3418" y="230118"/>
                    <a:pt x="162" y="228056"/>
                  </a:cubicBezTo>
                  <a:lnTo>
                    <a:pt x="162" y="188174"/>
                  </a:lnTo>
                  <a:cubicBezTo>
                    <a:pt x="3743" y="191430"/>
                    <a:pt x="8003" y="194360"/>
                    <a:pt x="12941" y="196965"/>
                  </a:cubicBezTo>
                  <a:cubicBezTo>
                    <a:pt x="17878" y="199569"/>
                    <a:pt x="23114" y="201767"/>
                    <a:pt x="28649" y="203557"/>
                  </a:cubicBezTo>
                  <a:cubicBezTo>
                    <a:pt x="34183" y="205348"/>
                    <a:pt x="39718" y="206731"/>
                    <a:pt x="45253" y="207708"/>
                  </a:cubicBezTo>
                  <a:cubicBezTo>
                    <a:pt x="50787" y="208685"/>
                    <a:pt x="55888" y="209173"/>
                    <a:pt x="60554" y="209173"/>
                  </a:cubicBezTo>
                  <a:cubicBezTo>
                    <a:pt x="76832" y="209173"/>
                    <a:pt x="88959" y="206460"/>
                    <a:pt x="96935" y="201034"/>
                  </a:cubicBezTo>
                  <a:cubicBezTo>
                    <a:pt x="104912" y="195608"/>
                    <a:pt x="108900" y="187740"/>
                    <a:pt x="108900" y="177431"/>
                  </a:cubicBezTo>
                  <a:cubicBezTo>
                    <a:pt x="108900" y="171896"/>
                    <a:pt x="107570" y="167094"/>
                    <a:pt x="104912" y="163025"/>
                  </a:cubicBezTo>
                  <a:cubicBezTo>
                    <a:pt x="102253" y="158955"/>
                    <a:pt x="98536" y="155238"/>
                    <a:pt x="93761" y="151874"/>
                  </a:cubicBezTo>
                  <a:cubicBezTo>
                    <a:pt x="88986" y="148510"/>
                    <a:pt x="83370" y="145282"/>
                    <a:pt x="76913" y="142189"/>
                  </a:cubicBezTo>
                  <a:cubicBezTo>
                    <a:pt x="70456" y="139096"/>
                    <a:pt x="63538" y="135867"/>
                    <a:pt x="56159" y="132503"/>
                  </a:cubicBezTo>
                  <a:cubicBezTo>
                    <a:pt x="48237" y="128271"/>
                    <a:pt x="40857" y="123984"/>
                    <a:pt x="34021" y="119644"/>
                  </a:cubicBezTo>
                  <a:cubicBezTo>
                    <a:pt x="27184" y="115303"/>
                    <a:pt x="21242" y="110501"/>
                    <a:pt x="16196" y="105238"/>
                  </a:cubicBezTo>
                  <a:cubicBezTo>
                    <a:pt x="11150" y="99974"/>
                    <a:pt x="7189" y="94033"/>
                    <a:pt x="4313" y="87413"/>
                  </a:cubicBezTo>
                  <a:cubicBezTo>
                    <a:pt x="1437" y="80793"/>
                    <a:pt x="0" y="73034"/>
                    <a:pt x="0" y="64135"/>
                  </a:cubicBezTo>
                  <a:cubicBezTo>
                    <a:pt x="0" y="53175"/>
                    <a:pt x="2468" y="43652"/>
                    <a:pt x="7406" y="35567"/>
                  </a:cubicBezTo>
                  <a:cubicBezTo>
                    <a:pt x="12344" y="27483"/>
                    <a:pt x="18855" y="20809"/>
                    <a:pt x="26940" y="15545"/>
                  </a:cubicBezTo>
                  <a:cubicBezTo>
                    <a:pt x="35025" y="10282"/>
                    <a:pt x="44222" y="6375"/>
                    <a:pt x="54531" y="3825"/>
                  </a:cubicBezTo>
                  <a:cubicBezTo>
                    <a:pt x="64841" y="1275"/>
                    <a:pt x="75367" y="0"/>
                    <a:pt x="8611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00" name="Title 1">
            <a:extLst>
              <a:ext uri="{FF2B5EF4-FFF2-40B4-BE49-F238E27FC236}">
                <a16:creationId xmlns:a16="http://schemas.microsoft.com/office/drawing/2014/main" id="{A9478CB5-28D9-4080-B54F-74B7F6E7F829}"/>
              </a:ext>
            </a:extLst>
          </p:cNvPr>
          <p:cNvSpPr txBox="1">
            <a:spLocks/>
          </p:cNvSpPr>
          <p:nvPr/>
        </p:nvSpPr>
        <p:spPr>
          <a:xfrm>
            <a:off x="269239" y="179310"/>
            <a:ext cx="9539915" cy="756465"/>
          </a:xfrm>
          <a:prstGeom prst="rect">
            <a:avLst/>
          </a:prstGeom>
        </p:spPr>
        <p:txBody>
          <a:bodyPr vert="horz" wrap="square" lIns="0" tIns="91440" rIns="0" bIns="0" rtlCol="0" anchor="t">
            <a:noAutofit/>
          </a:bodyPr>
          <a:lstStyle>
            <a:lvl1pPr algn="l" defTabSz="914192" rtl="0" eaLnBrk="1" latinLnBrk="0" hangingPunct="1">
              <a:lnSpc>
                <a:spcPct val="100000"/>
              </a:lnSpc>
              <a:spcBef>
                <a:spcPts val="588"/>
              </a:spcBef>
              <a:spcAft>
                <a:spcPts val="588"/>
              </a:spcAft>
              <a:buNone/>
              <a:defRPr lang="en-US" sz="4705" b="0" kern="1200" cap="none" spc="-100" baseline="0">
                <a:ln w="3175">
                  <a:noFill/>
                </a:ln>
                <a:solidFill>
                  <a:schemeClr val="bg2"/>
                </a:solidFill>
                <a:effectLst/>
                <a:latin typeface="+mj-lt"/>
                <a:ea typeface="+mn-ea"/>
                <a:cs typeface="Segoe UI" pitchFamily="34" charset="0"/>
              </a:defRPr>
            </a:lvl1pPr>
          </a:lstStyle>
          <a:p>
            <a:pPr marL="0" marR="0" lvl="0" indent="0" algn="l" defTabSz="914192" rtl="0" eaLnBrk="1" fontAlgn="auto" latinLnBrk="0" hangingPunct="1">
              <a:lnSpc>
                <a:spcPct val="100000"/>
              </a:lnSpc>
              <a:spcBef>
                <a:spcPts val="0"/>
              </a:spcBef>
              <a:spcAft>
                <a:spcPts val="588"/>
              </a:spcAft>
              <a:buClrTx/>
              <a:buSzTx/>
              <a:buFontTx/>
              <a:buNone/>
              <a:tabLst/>
              <a:defRPr/>
            </a:pPr>
            <a:r>
              <a:rPr kumimoji="0" lang="en-US" sz="4710" b="0" i="0" u="none" strike="noStrike" kern="0" cap="none" spc="-100" normalizeH="0" baseline="0" noProof="0">
                <a:ln w="3175">
                  <a:noFill/>
                </a:ln>
                <a:solidFill>
                  <a:srgbClr val="0078D7"/>
                </a:solidFill>
                <a:effectLst/>
                <a:uLnTx/>
                <a:uFillTx/>
                <a:latin typeface="Segoe UI Light"/>
                <a:ea typeface="+mn-ea"/>
                <a:cs typeface="Segoe UI" pitchFamily="34" charset="0"/>
              </a:rPr>
              <a:t>Azure SQL Database</a:t>
            </a:r>
            <a:endParaRPr kumimoji="0" lang="en-US" sz="4710" b="0" i="0" u="none" strike="noStrike" kern="1200" cap="none" spc="-100" normalizeH="0" baseline="0" noProof="0">
              <a:ln w="3175">
                <a:noFill/>
              </a:ln>
              <a:solidFill>
                <a:srgbClr val="F2F2F2"/>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639309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6231" y="119029"/>
            <a:ext cx="10515600" cy="1325563"/>
          </a:xfrm>
        </p:spPr>
        <p:txBody>
          <a:bodyPr/>
          <a:lstStyle/>
          <a:p>
            <a:r>
              <a:rPr lang="en-US" sz="4800" dirty="0">
                <a:solidFill>
                  <a:srgbClr val="2769B6"/>
                </a:solidFill>
              </a:rPr>
              <a:t>SQL Database Service</a:t>
            </a:r>
          </a:p>
        </p:txBody>
      </p:sp>
      <p:sp>
        <p:nvSpPr>
          <p:cNvPr id="6" name="Rectangle 5"/>
          <p:cNvSpPr/>
          <p:nvPr/>
        </p:nvSpPr>
        <p:spPr bwMode="auto">
          <a:xfrm>
            <a:off x="463191" y="2512308"/>
            <a:ext cx="2912517" cy="8314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rPr>
              <a:t>Elastic scale and performance</a:t>
            </a:r>
          </a:p>
        </p:txBody>
      </p:sp>
      <p:sp>
        <p:nvSpPr>
          <p:cNvPr id="7" name="Rectangle 6"/>
          <p:cNvSpPr/>
          <p:nvPr/>
        </p:nvSpPr>
        <p:spPr bwMode="auto">
          <a:xfrm>
            <a:off x="3536914" y="2512308"/>
            <a:ext cx="2912517" cy="8314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rPr>
              <a:t>Business continuity and                    data protection</a:t>
            </a:r>
          </a:p>
        </p:txBody>
      </p:sp>
      <p:sp>
        <p:nvSpPr>
          <p:cNvPr id="8" name="Rectangle 7"/>
          <p:cNvSpPr/>
          <p:nvPr/>
        </p:nvSpPr>
        <p:spPr bwMode="auto">
          <a:xfrm>
            <a:off x="6610638" y="2512308"/>
            <a:ext cx="2912517" cy="8314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rPr>
              <a:t>Familiar and                       self-managed</a:t>
            </a:r>
          </a:p>
        </p:txBody>
      </p:sp>
      <p:sp>
        <p:nvSpPr>
          <p:cNvPr id="9" name="TextBox 8"/>
          <p:cNvSpPr txBox="1"/>
          <p:nvPr/>
        </p:nvSpPr>
        <p:spPr>
          <a:xfrm>
            <a:off x="463191" y="3474105"/>
            <a:ext cx="2912517" cy="1424530"/>
          </a:xfrm>
          <a:prstGeom prst="rect">
            <a:avLst/>
          </a:prstGeom>
          <a:solidFill>
            <a:schemeClr val="bg1">
              <a:lumMod val="95000"/>
            </a:schemeClr>
          </a:solidFill>
          <a:ln>
            <a:noFill/>
          </a:ln>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1200"/>
              </a:spcAft>
              <a:buClrTx/>
              <a:buSzTx/>
              <a:buFontTx/>
              <a:buNone/>
              <a:tabLst/>
              <a:defRPr/>
            </a:pPr>
            <a:r>
              <a:rPr kumimoji="0" lang="en-US" sz="1400" b="0" i="0" u="none" strike="noStrike" kern="0" cap="none" spc="0" normalizeH="0" baseline="0" noProof="0" dirty="0">
                <a:ln>
                  <a:noFill/>
                </a:ln>
                <a:gradFill>
                  <a:gsLst>
                    <a:gs pos="2917">
                      <a:srgbClr val="494949"/>
                    </a:gs>
                    <a:gs pos="30000">
                      <a:srgbClr val="494949"/>
                    </a:gs>
                  </a:gsLst>
                  <a:lin ang="5400000" scaled="0"/>
                </a:gradFill>
                <a:effectLst/>
                <a:uLnTx/>
                <a:uFillTx/>
                <a:latin typeface="Segoe UI"/>
                <a:ea typeface="+mn-ea"/>
                <a:cs typeface="+mn-cs"/>
              </a:rPr>
              <a:t>Predictable performance levels</a:t>
            </a:r>
          </a:p>
          <a:p>
            <a:pPr marL="0" marR="0" lvl="0" indent="0" algn="l" defTabSz="914400" rtl="0" eaLnBrk="1" fontAlgn="auto" latinLnBrk="0" hangingPunct="1">
              <a:lnSpc>
                <a:spcPct val="90000"/>
              </a:lnSpc>
              <a:spcBef>
                <a:spcPts val="0"/>
              </a:spcBef>
              <a:spcAft>
                <a:spcPts val="1200"/>
              </a:spcAft>
              <a:buClrTx/>
              <a:buSzTx/>
              <a:buFontTx/>
              <a:buNone/>
              <a:tabLst/>
              <a:defRPr/>
            </a:pPr>
            <a:r>
              <a:rPr kumimoji="0" lang="en-US" sz="1400" b="0" i="0" u="none" strike="noStrike" kern="0" cap="none" spc="0" normalizeH="0" baseline="0" noProof="0" dirty="0">
                <a:ln>
                  <a:noFill/>
                </a:ln>
                <a:gradFill>
                  <a:gsLst>
                    <a:gs pos="2917">
                      <a:srgbClr val="494949"/>
                    </a:gs>
                    <a:gs pos="30000">
                      <a:srgbClr val="494949"/>
                    </a:gs>
                  </a:gsLst>
                  <a:lin ang="5400000" scaled="0"/>
                </a:gradFill>
                <a:effectLst/>
                <a:uLnTx/>
                <a:uFillTx/>
                <a:latin typeface="Segoe UI"/>
                <a:ea typeface="+mn-ea"/>
                <a:cs typeface="+mn-cs"/>
              </a:rPr>
              <a:t>Programmatic scale-out</a:t>
            </a:r>
          </a:p>
          <a:p>
            <a:pPr marL="0" marR="0" lvl="0" indent="0" algn="l" defTabSz="914400" rtl="0" eaLnBrk="1" fontAlgn="auto" latinLnBrk="0" hangingPunct="1">
              <a:lnSpc>
                <a:spcPct val="90000"/>
              </a:lnSpc>
              <a:spcBef>
                <a:spcPts val="0"/>
              </a:spcBef>
              <a:spcAft>
                <a:spcPts val="1200"/>
              </a:spcAft>
              <a:buClrTx/>
              <a:buSzTx/>
              <a:buFontTx/>
              <a:buNone/>
              <a:tabLst/>
              <a:defRPr/>
            </a:pPr>
            <a:r>
              <a:rPr kumimoji="0" lang="en-US" sz="1400" b="0" i="0" u="none" strike="noStrike" kern="0" cap="none" spc="0" normalizeH="0" baseline="0" noProof="0" dirty="0">
                <a:ln>
                  <a:noFill/>
                </a:ln>
                <a:gradFill>
                  <a:gsLst>
                    <a:gs pos="2917">
                      <a:srgbClr val="494949"/>
                    </a:gs>
                    <a:gs pos="30000">
                      <a:srgbClr val="494949"/>
                    </a:gs>
                  </a:gsLst>
                  <a:lin ang="5400000" scaled="0"/>
                </a:gradFill>
                <a:effectLst/>
                <a:uLnTx/>
                <a:uFillTx/>
                <a:latin typeface="Segoe UI"/>
                <a:ea typeface="+mn-ea"/>
                <a:cs typeface="+mn-cs"/>
              </a:rPr>
              <a:t>Dashboard views of database metrics</a:t>
            </a:r>
          </a:p>
        </p:txBody>
      </p:sp>
      <p:sp>
        <p:nvSpPr>
          <p:cNvPr id="10" name="TextBox 9"/>
          <p:cNvSpPr txBox="1"/>
          <p:nvPr/>
        </p:nvSpPr>
        <p:spPr>
          <a:xfrm>
            <a:off x="3540703" y="3474104"/>
            <a:ext cx="2912517" cy="1424530"/>
          </a:xfrm>
          <a:prstGeom prst="rect">
            <a:avLst/>
          </a:prstGeom>
          <a:solidFill>
            <a:schemeClr val="bg1">
              <a:lumMod val="95000"/>
            </a:schemeClr>
          </a:solidFill>
          <a:ln>
            <a:noFill/>
          </a:ln>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1200"/>
              </a:spcAft>
              <a:buClrTx/>
              <a:buSzTx/>
              <a:buFontTx/>
              <a:buNone/>
              <a:tabLst/>
              <a:defRPr/>
            </a:pPr>
            <a:r>
              <a:rPr kumimoji="0" lang="en-US" sz="1400" b="0" i="0" u="none" strike="noStrike" kern="0" cap="none" spc="0" normalizeH="0" baseline="0" noProof="0" dirty="0">
                <a:ln>
                  <a:noFill/>
                </a:ln>
                <a:gradFill>
                  <a:gsLst>
                    <a:gs pos="2917">
                      <a:srgbClr val="494949"/>
                    </a:gs>
                    <a:gs pos="30000">
                      <a:srgbClr val="494949"/>
                    </a:gs>
                  </a:gsLst>
                  <a:lin ang="5400000" scaled="0"/>
                </a:gradFill>
                <a:effectLst/>
                <a:uLnTx/>
                <a:uFillTx/>
                <a:latin typeface="Segoe UI"/>
                <a:ea typeface="+mn-ea"/>
                <a:cs typeface="+mn-cs"/>
              </a:rPr>
              <a:t>Self-service restore</a:t>
            </a:r>
          </a:p>
          <a:p>
            <a:pPr marL="0" marR="0" lvl="0" indent="0" algn="l" defTabSz="914400" rtl="0" eaLnBrk="1" fontAlgn="auto" latinLnBrk="0" hangingPunct="1">
              <a:lnSpc>
                <a:spcPct val="90000"/>
              </a:lnSpc>
              <a:spcBef>
                <a:spcPts val="0"/>
              </a:spcBef>
              <a:spcAft>
                <a:spcPts val="1200"/>
              </a:spcAft>
              <a:buClrTx/>
              <a:buSzTx/>
              <a:buFontTx/>
              <a:buNone/>
              <a:tabLst/>
              <a:defRPr/>
            </a:pPr>
            <a:r>
              <a:rPr kumimoji="0" lang="en-US" sz="1400" b="0" i="0" u="none" strike="noStrike" kern="0" cap="none" spc="0" normalizeH="0" baseline="0" noProof="0" dirty="0">
                <a:ln>
                  <a:noFill/>
                </a:ln>
                <a:gradFill>
                  <a:gsLst>
                    <a:gs pos="2917">
                      <a:srgbClr val="494949"/>
                    </a:gs>
                    <a:gs pos="30000">
                      <a:srgbClr val="494949"/>
                    </a:gs>
                  </a:gsLst>
                  <a:lin ang="5400000" scaled="0"/>
                </a:gradFill>
                <a:effectLst/>
                <a:uLnTx/>
                <a:uFillTx/>
                <a:latin typeface="Segoe UI"/>
                <a:ea typeface="+mn-ea"/>
                <a:cs typeface="+mn-cs"/>
              </a:rPr>
              <a:t>Disaster recovery</a:t>
            </a:r>
          </a:p>
          <a:p>
            <a:pPr marL="0" marR="0" lvl="0" indent="0" algn="l" defTabSz="914400" rtl="0" eaLnBrk="1" fontAlgn="auto" latinLnBrk="0" hangingPunct="1">
              <a:lnSpc>
                <a:spcPct val="90000"/>
              </a:lnSpc>
              <a:spcBef>
                <a:spcPts val="0"/>
              </a:spcBef>
              <a:spcAft>
                <a:spcPts val="1200"/>
              </a:spcAft>
              <a:buClrTx/>
              <a:buSzTx/>
              <a:buFontTx/>
              <a:buNone/>
              <a:tabLst/>
              <a:defRPr/>
            </a:pPr>
            <a:r>
              <a:rPr kumimoji="0" lang="en-US" sz="1400" b="0" i="0" u="none" strike="noStrike" kern="0" cap="none" spc="0" normalizeH="0" baseline="0" noProof="0" dirty="0">
                <a:ln>
                  <a:noFill/>
                </a:ln>
                <a:gradFill>
                  <a:gsLst>
                    <a:gs pos="2917">
                      <a:srgbClr val="494949"/>
                    </a:gs>
                    <a:gs pos="30000">
                      <a:srgbClr val="494949"/>
                    </a:gs>
                  </a:gsLst>
                  <a:lin ang="5400000" scaled="0"/>
                </a:gradFill>
                <a:effectLst/>
                <a:uLnTx/>
                <a:uFillTx/>
                <a:latin typeface="Segoe UI"/>
                <a:ea typeface="+mn-ea"/>
                <a:cs typeface="+mn-cs"/>
              </a:rPr>
              <a:t>Compliance-enabled</a:t>
            </a:r>
          </a:p>
        </p:txBody>
      </p:sp>
      <p:sp>
        <p:nvSpPr>
          <p:cNvPr id="11" name="TextBox 10"/>
          <p:cNvSpPr txBox="1"/>
          <p:nvPr/>
        </p:nvSpPr>
        <p:spPr>
          <a:xfrm>
            <a:off x="6618215" y="3474104"/>
            <a:ext cx="2880620" cy="1424530"/>
          </a:xfrm>
          <a:prstGeom prst="rect">
            <a:avLst/>
          </a:prstGeom>
          <a:solidFill>
            <a:schemeClr val="bg1">
              <a:lumMod val="95000"/>
            </a:schemeClr>
          </a:solidFill>
          <a:ln>
            <a:noFill/>
          </a:ln>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1200"/>
              </a:spcAft>
              <a:buClrTx/>
              <a:buSzTx/>
              <a:buFontTx/>
              <a:buNone/>
              <a:tabLst/>
              <a:defRPr/>
            </a:pPr>
            <a:r>
              <a:rPr kumimoji="0" lang="en-US" sz="1400" b="0" i="0" u="none" strike="noStrike" kern="0" cap="none" spc="0" normalizeH="0" baseline="0" noProof="0" dirty="0">
                <a:ln>
                  <a:noFill/>
                </a:ln>
                <a:gradFill>
                  <a:gsLst>
                    <a:gs pos="2917">
                      <a:srgbClr val="494949"/>
                    </a:gs>
                    <a:gs pos="30000">
                      <a:srgbClr val="494949"/>
                    </a:gs>
                  </a:gsLst>
                  <a:lin ang="5400000" scaled="0"/>
                </a:gradFill>
                <a:effectLst/>
                <a:uLnTx/>
                <a:uFillTx/>
                <a:latin typeface="Segoe UI"/>
                <a:ea typeface="+mn-ea"/>
                <a:cs typeface="+mn-cs"/>
              </a:rPr>
              <a:t>Familiar and compatible </a:t>
            </a:r>
          </a:p>
          <a:p>
            <a:pPr marL="0" marR="0" lvl="0" indent="0" algn="l" defTabSz="914400" rtl="0" eaLnBrk="1" fontAlgn="auto" latinLnBrk="0" hangingPunct="1">
              <a:lnSpc>
                <a:spcPct val="90000"/>
              </a:lnSpc>
              <a:spcBef>
                <a:spcPts val="0"/>
              </a:spcBef>
              <a:spcAft>
                <a:spcPts val="1200"/>
              </a:spcAft>
              <a:buClrTx/>
              <a:buSzTx/>
              <a:buFontTx/>
              <a:buNone/>
              <a:tabLst/>
              <a:defRPr/>
            </a:pPr>
            <a:r>
              <a:rPr kumimoji="0" lang="en-US" sz="1400" b="0" i="0" u="none" strike="noStrike" kern="0" cap="none" spc="0" normalizeH="0" baseline="0" noProof="0" dirty="0">
                <a:ln>
                  <a:noFill/>
                </a:ln>
                <a:gradFill>
                  <a:gsLst>
                    <a:gs pos="2917">
                      <a:srgbClr val="494949"/>
                    </a:gs>
                    <a:gs pos="30000">
                      <a:srgbClr val="494949"/>
                    </a:gs>
                  </a:gsLst>
                  <a:lin ang="5400000" scaled="0"/>
                </a:gradFill>
                <a:effectLst/>
                <a:uLnTx/>
                <a:uFillTx/>
                <a:latin typeface="Segoe UI"/>
                <a:ea typeface="+mn-ea"/>
                <a:cs typeface="+mn-cs"/>
              </a:rPr>
              <a:t>Programmatic</a:t>
            </a:r>
          </a:p>
          <a:p>
            <a:pPr marL="0" marR="0" lvl="0" indent="0" algn="l" defTabSz="914400" rtl="0" eaLnBrk="1" fontAlgn="auto" latinLnBrk="0" hangingPunct="1">
              <a:lnSpc>
                <a:spcPct val="90000"/>
              </a:lnSpc>
              <a:spcBef>
                <a:spcPts val="0"/>
              </a:spcBef>
              <a:spcAft>
                <a:spcPts val="1200"/>
              </a:spcAft>
              <a:buClrTx/>
              <a:buSzTx/>
              <a:buFontTx/>
              <a:buNone/>
              <a:tabLst/>
              <a:defRPr/>
            </a:pPr>
            <a:r>
              <a:rPr kumimoji="0" lang="en-US" sz="1400" b="0" i="0" u="none" strike="noStrike" kern="0" cap="none" spc="0" normalizeH="0" baseline="0" noProof="0" dirty="0">
                <a:ln>
                  <a:noFill/>
                </a:ln>
                <a:gradFill>
                  <a:gsLst>
                    <a:gs pos="2917">
                      <a:srgbClr val="494949"/>
                    </a:gs>
                    <a:gs pos="30000">
                      <a:srgbClr val="494949"/>
                    </a:gs>
                  </a:gsLst>
                  <a:lin ang="5400000" scaled="0"/>
                </a:gradFill>
                <a:effectLst/>
                <a:uLnTx/>
                <a:uFillTx/>
                <a:latin typeface="Segoe UI"/>
                <a:ea typeface="+mn-ea"/>
                <a:cs typeface="+mn-cs"/>
              </a:rPr>
              <a:t>Self-managed</a:t>
            </a:r>
          </a:p>
        </p:txBody>
      </p:sp>
      <p:sp>
        <p:nvSpPr>
          <p:cNvPr id="12" name="Rectangle 11"/>
          <p:cNvSpPr/>
          <p:nvPr/>
        </p:nvSpPr>
        <p:spPr>
          <a:xfrm>
            <a:off x="358760" y="1144235"/>
            <a:ext cx="10943224" cy="116955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0" cap="none" spc="0" normalizeH="0" baseline="0" noProof="0" dirty="0">
                <a:ln>
                  <a:noFill/>
                </a:ln>
                <a:solidFill>
                  <a:sysClr val="windowText" lastClr="000000"/>
                </a:solidFill>
                <a:effectLst/>
                <a:uLnTx/>
                <a:uFillTx/>
                <a:latin typeface="Segoe UI Light"/>
                <a:ea typeface="Calibri" panose="020F0502020204030204" pitchFamily="34" charset="0"/>
                <a:cs typeface="Calibri" panose="020F0502020204030204" pitchFamily="34" charset="0"/>
              </a:rPr>
              <a:t>A relational </a:t>
            </a:r>
            <a:r>
              <a:rPr kumimoji="0" lang="en-US" sz="2000" b="1" i="0" u="none" strike="noStrike" kern="0" cap="none" spc="0" normalizeH="0" baseline="0" noProof="0" dirty="0">
                <a:ln>
                  <a:noFill/>
                </a:ln>
                <a:solidFill>
                  <a:sysClr val="windowText" lastClr="000000"/>
                </a:solidFill>
                <a:effectLst/>
                <a:uLnTx/>
                <a:uFillTx/>
                <a:latin typeface="Segoe UI Light"/>
                <a:ea typeface="Calibri" panose="020F0502020204030204" pitchFamily="34" charset="0"/>
                <a:cs typeface="Calibri" panose="020F0502020204030204" pitchFamily="34" charset="0"/>
              </a:rPr>
              <a:t>database as a service</a:t>
            </a:r>
            <a:r>
              <a:rPr kumimoji="0" lang="en-US" sz="2000" b="0" i="0" u="none" strike="noStrike" kern="0" cap="none" spc="0" normalizeH="0" baseline="0" noProof="0" dirty="0">
                <a:ln>
                  <a:noFill/>
                </a:ln>
                <a:solidFill>
                  <a:sysClr val="windowText" lastClr="000000"/>
                </a:solidFill>
                <a:effectLst/>
                <a:uLnTx/>
                <a:uFillTx/>
                <a:latin typeface="Segoe UI Light"/>
                <a:ea typeface="Calibri" panose="020F0502020204030204" pitchFamily="34" charset="0"/>
                <a:cs typeface="Calibri" panose="020F0502020204030204" pitchFamily="34" charset="0"/>
              </a:rPr>
              <a:t>, fully managed by Microsoft.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0" cap="none" spc="0" normalizeH="0" baseline="0" noProof="0" dirty="0">
                <a:ln>
                  <a:noFill/>
                </a:ln>
                <a:solidFill>
                  <a:sysClr val="windowText" lastClr="000000"/>
                </a:solidFill>
                <a:effectLst/>
                <a:uLnTx/>
                <a:uFillTx/>
                <a:latin typeface="Segoe UI Light"/>
                <a:ea typeface="Calibri" panose="020F0502020204030204" pitchFamily="34" charset="0"/>
                <a:cs typeface="Calibri" panose="020F0502020204030204" pitchFamily="34" charset="0"/>
              </a:rPr>
              <a:t>For cloud-designed apps when </a:t>
            </a:r>
            <a:r>
              <a:rPr kumimoji="0" lang="en-US" sz="2000" b="1" i="0" u="none" strike="noStrike" kern="0" cap="none" spc="0" normalizeH="0" baseline="0" noProof="0" dirty="0">
                <a:ln>
                  <a:noFill/>
                </a:ln>
                <a:solidFill>
                  <a:sysClr val="windowText" lastClr="000000"/>
                </a:solidFill>
                <a:effectLst/>
                <a:uLnTx/>
                <a:uFillTx/>
                <a:latin typeface="Segoe UI Light"/>
                <a:ea typeface="Calibri" panose="020F0502020204030204" pitchFamily="34" charset="0"/>
                <a:cs typeface="Calibri" panose="020F0502020204030204" pitchFamily="34" charset="0"/>
              </a:rPr>
              <a:t>near-zero administration </a:t>
            </a:r>
            <a:r>
              <a:rPr kumimoji="0" lang="en-US" sz="2000" b="0" i="0" u="none" strike="noStrike" kern="0" cap="none" spc="0" normalizeH="0" baseline="0" noProof="0" dirty="0">
                <a:ln>
                  <a:noFill/>
                </a:ln>
                <a:solidFill>
                  <a:sysClr val="windowText" lastClr="000000"/>
                </a:solidFill>
                <a:effectLst/>
                <a:uLnTx/>
                <a:uFillTx/>
                <a:latin typeface="Segoe UI Light"/>
                <a:ea typeface="Calibri" panose="020F0502020204030204" pitchFamily="34" charset="0"/>
                <a:cs typeface="Calibri" panose="020F0502020204030204" pitchFamily="34" charset="0"/>
              </a:rPr>
              <a:t>and </a:t>
            </a:r>
            <a:r>
              <a:rPr kumimoji="0" lang="en-US" sz="2000" b="1" i="0" u="none" strike="noStrike" kern="0" cap="none" spc="0" normalizeH="0" baseline="0" noProof="0" dirty="0">
                <a:ln>
                  <a:noFill/>
                </a:ln>
                <a:solidFill>
                  <a:sysClr val="windowText" lastClr="000000"/>
                </a:solidFill>
                <a:effectLst/>
                <a:uLnTx/>
                <a:uFillTx/>
                <a:latin typeface="Segoe UI Light"/>
                <a:ea typeface="Calibri" panose="020F0502020204030204" pitchFamily="34" charset="0"/>
                <a:cs typeface="Calibri" panose="020F0502020204030204" pitchFamily="34" charset="0"/>
              </a:rPr>
              <a:t>enterprise-grade </a:t>
            </a:r>
            <a:r>
              <a:rPr kumimoji="0" lang="en-US" sz="2000" b="0" i="0" u="none" strike="noStrike" kern="0" cap="none" spc="0" normalizeH="0" baseline="0" noProof="0" dirty="0">
                <a:ln>
                  <a:noFill/>
                </a:ln>
                <a:solidFill>
                  <a:sysClr val="windowText" lastClr="000000"/>
                </a:solidFill>
                <a:effectLst/>
                <a:uLnTx/>
                <a:uFillTx/>
                <a:latin typeface="Segoe UI Light"/>
                <a:ea typeface="Calibri" panose="020F0502020204030204" pitchFamily="34" charset="0"/>
                <a:cs typeface="Calibri" panose="020F0502020204030204" pitchFamily="34" charset="0"/>
              </a:rPr>
              <a:t>capabilities are key.</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0" cap="none" spc="0" normalizeH="0" baseline="0" noProof="0" dirty="0">
                <a:ln>
                  <a:noFill/>
                </a:ln>
                <a:solidFill>
                  <a:sysClr val="windowText" lastClr="000000"/>
                </a:solidFill>
                <a:effectLst/>
                <a:uLnTx/>
                <a:uFillTx/>
                <a:latin typeface="Segoe UI Light"/>
                <a:ea typeface="+mn-ea"/>
                <a:cs typeface="+mn-cs"/>
              </a:rPr>
              <a:t>Perfect for cloud </a:t>
            </a:r>
            <a:r>
              <a:rPr kumimoji="0" lang="en-US" sz="2000" b="1" i="0" u="none" strike="noStrike" kern="0" cap="none" spc="0" normalizeH="0" baseline="0" noProof="0" dirty="0">
                <a:ln>
                  <a:noFill/>
                </a:ln>
                <a:solidFill>
                  <a:sysClr val="windowText" lastClr="000000"/>
                </a:solidFill>
                <a:effectLst/>
                <a:uLnTx/>
                <a:uFillTx/>
                <a:latin typeface="Segoe UI Light"/>
                <a:ea typeface="+mn-ea"/>
                <a:cs typeface="+mn-cs"/>
              </a:rPr>
              <a:t>architects and developers </a:t>
            </a:r>
            <a:r>
              <a:rPr kumimoji="0" lang="en-US" sz="2000" b="0" i="0" u="none" strike="noStrike" kern="0" cap="none" spc="0" normalizeH="0" baseline="0" noProof="0" dirty="0">
                <a:ln>
                  <a:noFill/>
                </a:ln>
                <a:solidFill>
                  <a:sysClr val="windowText" lastClr="000000"/>
                </a:solidFill>
                <a:effectLst/>
                <a:uLnTx/>
                <a:uFillTx/>
                <a:latin typeface="Segoe UI Light"/>
                <a:ea typeface="+mn-ea"/>
                <a:cs typeface="+mn-cs"/>
              </a:rPr>
              <a:t>looking for programmatic, DBA-like functionality.</a:t>
            </a:r>
          </a:p>
        </p:txBody>
      </p:sp>
      <p:grpSp>
        <p:nvGrpSpPr>
          <p:cNvPr id="4" name="Group 3"/>
          <p:cNvGrpSpPr/>
          <p:nvPr/>
        </p:nvGrpSpPr>
        <p:grpSpPr>
          <a:xfrm>
            <a:off x="5382650" y="5087600"/>
            <a:ext cx="6809350" cy="1422793"/>
            <a:chOff x="5382650" y="5044951"/>
            <a:chExt cx="6809350" cy="1422793"/>
          </a:xfrm>
        </p:grpSpPr>
        <p:sp>
          <p:nvSpPr>
            <p:cNvPr id="13" name="Freeform 12"/>
            <p:cNvSpPr>
              <a:spLocks/>
            </p:cNvSpPr>
            <p:nvPr/>
          </p:nvSpPr>
          <p:spPr bwMode="auto">
            <a:xfrm>
              <a:off x="7457272" y="507901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4" name="Freeform 29"/>
            <p:cNvSpPr>
              <a:spLocks/>
            </p:cNvSpPr>
            <p:nvPr/>
          </p:nvSpPr>
          <p:spPr bwMode="auto">
            <a:xfrm>
              <a:off x="5382650" y="5732133"/>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nvGrpSpPr>
            <p:cNvPr id="15" name="Group 14"/>
            <p:cNvGrpSpPr/>
            <p:nvPr/>
          </p:nvGrpSpPr>
          <p:grpSpPr>
            <a:xfrm>
              <a:off x="7588083" y="5499484"/>
              <a:ext cx="174772" cy="338750"/>
              <a:chOff x="8003343" y="6072433"/>
              <a:chExt cx="145517" cy="282045"/>
            </a:xfrm>
          </p:grpSpPr>
          <p:sp>
            <p:nvSpPr>
              <p:cNvPr id="1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sp>
          <p:nvSpPr>
            <p:cNvPr id="19" name="Freeform 29"/>
            <p:cNvSpPr>
              <a:spLocks/>
            </p:cNvSpPr>
            <p:nvPr/>
          </p:nvSpPr>
          <p:spPr bwMode="auto">
            <a:xfrm>
              <a:off x="7563002" y="5856599"/>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nvGrpSpPr>
            <p:cNvPr id="20" name="Group 19"/>
            <p:cNvGrpSpPr/>
            <p:nvPr/>
          </p:nvGrpSpPr>
          <p:grpSpPr>
            <a:xfrm>
              <a:off x="11025691" y="5229333"/>
              <a:ext cx="210317" cy="407645"/>
              <a:chOff x="8003343" y="6072433"/>
              <a:chExt cx="145517" cy="282045"/>
            </a:xfrm>
          </p:grpSpPr>
          <p:sp>
            <p:nvSpPr>
              <p:cNvPr id="2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sp>
          <p:nvSpPr>
            <p:cNvPr id="24" name="Isosceles Triangle 23"/>
            <p:cNvSpPr/>
            <p:nvPr/>
          </p:nvSpPr>
          <p:spPr bwMode="auto">
            <a:xfrm>
              <a:off x="9334746" y="531771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24"/>
            <p:cNvSpPr/>
            <p:nvPr/>
          </p:nvSpPr>
          <p:spPr bwMode="auto">
            <a:xfrm>
              <a:off x="6655122" y="6079402"/>
              <a:ext cx="1002555" cy="153381"/>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Freeform 55"/>
            <p:cNvSpPr>
              <a:spLocks/>
            </p:cNvSpPr>
            <p:nvPr/>
          </p:nvSpPr>
          <p:spPr bwMode="auto">
            <a:xfrm>
              <a:off x="6938994" y="6003966"/>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nvGrpSpPr>
            <p:cNvPr id="27" name="Group 26"/>
            <p:cNvGrpSpPr/>
            <p:nvPr/>
          </p:nvGrpSpPr>
          <p:grpSpPr>
            <a:xfrm>
              <a:off x="6832665" y="5339068"/>
              <a:ext cx="595623" cy="824538"/>
              <a:chOff x="13103226" y="2775830"/>
              <a:chExt cx="1039812" cy="1407232"/>
            </a:xfrm>
          </p:grpSpPr>
          <p:sp>
            <p:nvSpPr>
              <p:cNvPr id="28"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9"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0"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3"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4"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5"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6"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
          <p:nvSpPr>
            <p:cNvPr id="37" name="Oval 36"/>
            <p:cNvSpPr/>
            <p:nvPr/>
          </p:nvSpPr>
          <p:spPr bwMode="auto">
            <a:xfrm>
              <a:off x="8708846" y="6161429"/>
              <a:ext cx="1281314" cy="238306"/>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Freeform 55"/>
            <p:cNvSpPr>
              <a:spLocks/>
            </p:cNvSpPr>
            <p:nvPr/>
          </p:nvSpPr>
          <p:spPr bwMode="auto">
            <a:xfrm>
              <a:off x="9088130" y="614866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nvGrpSpPr>
            <p:cNvPr id="39" name="Group 38"/>
            <p:cNvGrpSpPr/>
            <p:nvPr/>
          </p:nvGrpSpPr>
          <p:grpSpPr>
            <a:xfrm>
              <a:off x="8886799" y="5044951"/>
              <a:ext cx="925409" cy="1281071"/>
              <a:chOff x="13103226" y="2775830"/>
              <a:chExt cx="1039812" cy="1407232"/>
            </a:xfrm>
          </p:grpSpPr>
          <p:sp>
            <p:nvSpPr>
              <p:cNvPr id="40"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
          <p:nvSpPr>
            <p:cNvPr id="49" name="Oval 48"/>
            <p:cNvSpPr/>
            <p:nvPr/>
          </p:nvSpPr>
          <p:spPr bwMode="auto">
            <a:xfrm>
              <a:off x="10078748" y="5773386"/>
              <a:ext cx="872649" cy="133507"/>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Freeform 49"/>
            <p:cNvSpPr>
              <a:spLocks/>
            </p:cNvSpPr>
            <p:nvPr/>
          </p:nvSpPr>
          <p:spPr bwMode="auto">
            <a:xfrm>
              <a:off x="10325838" y="570772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nvGrpSpPr>
            <p:cNvPr id="51" name="Group 50"/>
            <p:cNvGrpSpPr/>
            <p:nvPr/>
          </p:nvGrpSpPr>
          <p:grpSpPr>
            <a:xfrm>
              <a:off x="10233286" y="5128980"/>
              <a:ext cx="518446" cy="717700"/>
              <a:chOff x="13103226" y="2775830"/>
              <a:chExt cx="1039812" cy="1407232"/>
            </a:xfrm>
          </p:grpSpPr>
          <p:sp>
            <p:nvSpPr>
              <p:cNvPr id="52"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53"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54"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55"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56"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57"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58"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59"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60"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61" name="Group 60"/>
            <p:cNvGrpSpPr/>
            <p:nvPr/>
          </p:nvGrpSpPr>
          <p:grpSpPr>
            <a:xfrm>
              <a:off x="7861278" y="5490985"/>
              <a:ext cx="174772" cy="338750"/>
              <a:chOff x="8003343" y="6072433"/>
              <a:chExt cx="145517" cy="282045"/>
            </a:xfrm>
          </p:grpSpPr>
          <p:sp>
            <p:nvSpPr>
              <p:cNvPr id="6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6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6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65" name="Group 64"/>
            <p:cNvGrpSpPr/>
            <p:nvPr/>
          </p:nvGrpSpPr>
          <p:grpSpPr>
            <a:xfrm>
              <a:off x="6019661" y="5822701"/>
              <a:ext cx="174772" cy="338750"/>
              <a:chOff x="8003343" y="6072433"/>
              <a:chExt cx="145517" cy="282045"/>
            </a:xfrm>
          </p:grpSpPr>
          <p:sp>
            <p:nvSpPr>
              <p:cNvPr id="6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6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6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69" name="Group 68"/>
            <p:cNvGrpSpPr/>
            <p:nvPr/>
          </p:nvGrpSpPr>
          <p:grpSpPr>
            <a:xfrm>
              <a:off x="11704638" y="5546886"/>
              <a:ext cx="210317" cy="407645"/>
              <a:chOff x="8003343" y="6072433"/>
              <a:chExt cx="145517" cy="282045"/>
            </a:xfrm>
          </p:grpSpPr>
          <p:sp>
            <p:nvSpPr>
              <p:cNvPr id="70"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71"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72"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spTree>
    <p:extLst>
      <p:ext uri="{BB962C8B-B14F-4D97-AF65-F5344CB8AC3E}">
        <p14:creationId xmlns:p14="http://schemas.microsoft.com/office/powerpoint/2010/main" val="26792033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hlinkClick r:id="" action="ppaction://noaction"/>
          </p:cNvPr>
          <p:cNvSpPr/>
          <p:nvPr/>
        </p:nvSpPr>
        <p:spPr bwMode="auto">
          <a:xfrm>
            <a:off x="1016001" y="5226373"/>
            <a:ext cx="10398124" cy="1086585"/>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4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Protects and secure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your app data!</a:t>
            </a:r>
          </a:p>
        </p:txBody>
      </p:sp>
      <p:pic>
        <p:nvPicPr>
          <p:cNvPr id="4" name="Picture 3"/>
          <p:cNvPicPr>
            <a:picLocks noChangeAspect="1"/>
          </p:cNvPicPr>
          <p:nvPr/>
        </p:nvPicPr>
        <p:blipFill>
          <a:blip r:embed="rId3">
            <a:alphaModFix amt="50000"/>
          </a:blip>
          <a:stretch>
            <a:fillRect/>
          </a:stretch>
        </p:blipFill>
        <p:spPr>
          <a:xfrm>
            <a:off x="1213344" y="5354580"/>
            <a:ext cx="596406" cy="837728"/>
          </a:xfrm>
          <a:prstGeom prst="rect">
            <a:avLst/>
          </a:prstGeom>
        </p:spPr>
      </p:pic>
      <p:sp>
        <p:nvSpPr>
          <p:cNvPr id="2" name="Title 1"/>
          <p:cNvSpPr>
            <a:spLocks noGrp="1"/>
          </p:cNvSpPr>
          <p:nvPr>
            <p:ph type="title"/>
          </p:nvPr>
        </p:nvSpPr>
        <p:spPr>
          <a:xfrm>
            <a:off x="371176" y="84421"/>
            <a:ext cx="10515600" cy="961056"/>
          </a:xfrm>
        </p:spPr>
        <p:txBody>
          <a:bodyPr/>
          <a:lstStyle/>
          <a:p>
            <a:r>
              <a:rPr lang="en-US" sz="5290" dirty="0">
                <a:solidFill>
                  <a:schemeClr val="accent1"/>
                </a:solidFill>
              </a:rPr>
              <a:t>Azure SQL Database</a:t>
            </a:r>
          </a:p>
        </p:txBody>
      </p:sp>
      <p:sp>
        <p:nvSpPr>
          <p:cNvPr id="12" name="Rectangle 11"/>
          <p:cNvSpPr/>
          <p:nvPr/>
        </p:nvSpPr>
        <p:spPr>
          <a:xfrm>
            <a:off x="371176" y="1051164"/>
            <a:ext cx="10943224"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ysClr val="windowText" lastClr="000000"/>
                </a:solidFill>
                <a:effectLst/>
                <a:uLnTx/>
                <a:uFillTx/>
                <a:latin typeface="Segoe UI Light"/>
                <a:ea typeface="+mn-ea"/>
                <a:cs typeface="+mn-cs"/>
              </a:rPr>
              <a:t>The developer’s intelligent cloud database service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000000"/>
              </a:solidFill>
              <a:effectLst/>
              <a:uLnTx/>
              <a:uFillTx/>
              <a:latin typeface="Segoe UI Light"/>
              <a:ea typeface="+mn-ea"/>
              <a:cs typeface="+mn-cs"/>
            </a:endParaRPr>
          </a:p>
        </p:txBody>
      </p:sp>
      <p:sp>
        <p:nvSpPr>
          <p:cNvPr id="143" name="Rectangle 142">
            <a:hlinkClick r:id="" action="ppaction://noaction"/>
          </p:cNvPr>
          <p:cNvSpPr/>
          <p:nvPr/>
        </p:nvSpPr>
        <p:spPr bwMode="auto">
          <a:xfrm>
            <a:off x="8894532" y="2130749"/>
            <a:ext cx="2512483" cy="273335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9202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Work within your environment</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o you can focus on building great apps!</a:t>
            </a:r>
          </a:p>
        </p:txBody>
      </p:sp>
      <p:sp>
        <p:nvSpPr>
          <p:cNvPr id="17" name="Rectangle 16"/>
          <p:cNvSpPr/>
          <p:nvPr/>
        </p:nvSpPr>
        <p:spPr bwMode="auto">
          <a:xfrm>
            <a:off x="8894532" y="1884445"/>
            <a:ext cx="2512483" cy="247615"/>
          </a:xfrm>
          <a:prstGeom prst="rect">
            <a:avLst/>
          </a:prstGeom>
          <a:solidFill>
            <a:srgbClr val="8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Rectangle 18"/>
          <p:cNvSpPr/>
          <p:nvPr/>
        </p:nvSpPr>
        <p:spPr bwMode="auto">
          <a:xfrm>
            <a:off x="1016001" y="4980070"/>
            <a:ext cx="10398124" cy="247615"/>
          </a:xfrm>
          <a:prstGeom prst="rect">
            <a:avLst/>
          </a:prstGeom>
          <a:solidFill>
            <a:srgbClr val="16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grpSp>
        <p:nvGrpSpPr>
          <p:cNvPr id="3" name="Group 2"/>
          <p:cNvGrpSpPr/>
          <p:nvPr/>
        </p:nvGrpSpPr>
        <p:grpSpPr>
          <a:xfrm>
            <a:off x="3695394" y="1873520"/>
            <a:ext cx="2512483" cy="2979655"/>
            <a:chOff x="1009543" y="1884445"/>
            <a:chExt cx="2512483" cy="2979655"/>
          </a:xfrm>
        </p:grpSpPr>
        <p:sp>
          <p:nvSpPr>
            <p:cNvPr id="6" name="Rectangle 5">
              <a:hlinkClick r:id="" action="ppaction://noaction"/>
            </p:cNvPr>
            <p:cNvSpPr/>
            <p:nvPr/>
          </p:nvSpPr>
          <p:spPr bwMode="auto">
            <a:xfrm>
              <a:off x="1009543" y="2130749"/>
              <a:ext cx="2512483" cy="273335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9202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cales on the fly</a:t>
              </a:r>
              <a:b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ithout app downtime!</a:t>
              </a:r>
            </a:p>
          </p:txBody>
        </p:sp>
        <p:sp>
          <p:nvSpPr>
            <p:cNvPr id="15" name="Rectangle 14"/>
            <p:cNvSpPr/>
            <p:nvPr/>
          </p:nvSpPr>
          <p:spPr bwMode="auto">
            <a:xfrm>
              <a:off x="1009543" y="1884445"/>
              <a:ext cx="2512483" cy="247615"/>
            </a:xfrm>
            <a:prstGeom prst="rect">
              <a:avLst/>
            </a:prstGeom>
            <a:solidFill>
              <a:srgbClr val="118A0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p:nvPicPr>
          <p:blipFill>
            <a:blip r:embed="rId4">
              <a:alphaModFix amt="50000"/>
            </a:blip>
            <a:stretch>
              <a:fillRect/>
            </a:stretch>
          </p:blipFill>
          <p:spPr>
            <a:xfrm>
              <a:off x="1186684" y="3906264"/>
              <a:ext cx="796290" cy="796290"/>
            </a:xfrm>
            <a:prstGeom prst="rect">
              <a:avLst/>
            </a:prstGeom>
          </p:spPr>
        </p:pic>
      </p:grpSp>
      <p:pic>
        <p:nvPicPr>
          <p:cNvPr id="10" name="Picture 9"/>
          <p:cNvPicPr>
            <a:picLocks noChangeAspect="1"/>
          </p:cNvPicPr>
          <p:nvPr/>
        </p:nvPicPr>
        <p:blipFill>
          <a:blip r:embed="rId5">
            <a:alphaModFix amt="50000"/>
          </a:blip>
          <a:stretch>
            <a:fillRect/>
          </a:stretch>
        </p:blipFill>
        <p:spPr>
          <a:xfrm>
            <a:off x="9076558" y="3906262"/>
            <a:ext cx="796291" cy="796291"/>
          </a:xfrm>
          <a:prstGeom prst="rect">
            <a:avLst/>
          </a:prstGeom>
        </p:spPr>
      </p:pic>
      <p:grpSp>
        <p:nvGrpSpPr>
          <p:cNvPr id="8" name="Group 7"/>
          <p:cNvGrpSpPr/>
          <p:nvPr/>
        </p:nvGrpSpPr>
        <p:grpSpPr>
          <a:xfrm>
            <a:off x="1031433" y="1873520"/>
            <a:ext cx="2512483" cy="2979655"/>
            <a:chOff x="6271494" y="1884445"/>
            <a:chExt cx="2512483" cy="2979655"/>
          </a:xfrm>
        </p:grpSpPr>
        <p:sp>
          <p:nvSpPr>
            <p:cNvPr id="13" name="Rectangle 12">
              <a:hlinkClick r:id="rId6" action="ppaction://hlinksldjump"/>
            </p:cNvPr>
            <p:cNvSpPr/>
            <p:nvPr/>
          </p:nvSpPr>
          <p:spPr bwMode="auto">
            <a:xfrm>
              <a:off x="6271494" y="2130749"/>
              <a:ext cx="2512483" cy="273335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9202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Learn and adapt</a:t>
              </a:r>
              <a:b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ith your app!</a:t>
              </a:r>
            </a:p>
          </p:txBody>
        </p:sp>
        <p:sp>
          <p:nvSpPr>
            <p:cNvPr id="18" name="Rectangle 17"/>
            <p:cNvSpPr/>
            <p:nvPr/>
          </p:nvSpPr>
          <p:spPr bwMode="auto">
            <a:xfrm>
              <a:off x="6271494" y="1884445"/>
              <a:ext cx="2512483" cy="24761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0" name="Picture 19"/>
            <p:cNvPicPr>
              <a:picLocks noChangeAspect="1"/>
            </p:cNvPicPr>
            <p:nvPr/>
          </p:nvPicPr>
          <p:blipFill>
            <a:blip r:embed="rId7">
              <a:alphaModFix amt="50000"/>
            </a:blip>
            <a:stretch>
              <a:fillRect/>
            </a:stretch>
          </p:blipFill>
          <p:spPr>
            <a:xfrm>
              <a:off x="6368064" y="3911977"/>
              <a:ext cx="847365" cy="790304"/>
            </a:xfrm>
            <a:prstGeom prst="rect">
              <a:avLst/>
            </a:prstGeom>
          </p:spPr>
        </p:pic>
      </p:grpSp>
      <p:grpSp>
        <p:nvGrpSpPr>
          <p:cNvPr id="9" name="Group 8"/>
          <p:cNvGrpSpPr/>
          <p:nvPr/>
        </p:nvGrpSpPr>
        <p:grpSpPr>
          <a:xfrm>
            <a:off x="6301842" y="1877263"/>
            <a:ext cx="2512483" cy="2979655"/>
            <a:chOff x="3648456" y="1884445"/>
            <a:chExt cx="2512483" cy="2979655"/>
          </a:xfrm>
        </p:grpSpPr>
        <p:sp>
          <p:nvSpPr>
            <p:cNvPr id="7" name="Rectangle 6">
              <a:hlinkClick r:id="" action="ppaction://noaction"/>
            </p:cNvPr>
            <p:cNvSpPr/>
            <p:nvPr/>
          </p:nvSpPr>
          <p:spPr bwMode="auto">
            <a:xfrm>
              <a:off x="3648456" y="2130749"/>
              <a:ext cx="2512483" cy="273335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9202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Build multitenant apps</a:t>
              </a:r>
              <a:b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ith customer isolation and efficiency!</a:t>
              </a:r>
            </a:p>
          </p:txBody>
        </p:sp>
        <p:sp>
          <p:nvSpPr>
            <p:cNvPr id="16" name="Rectangle 15"/>
            <p:cNvSpPr/>
            <p:nvPr/>
          </p:nvSpPr>
          <p:spPr bwMode="auto">
            <a:xfrm>
              <a:off x="3648456" y="1884445"/>
              <a:ext cx="2512483" cy="24761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Freeform 6"/>
            <p:cNvSpPr>
              <a:spLocks noChangeAspect="1" noEditPoints="1"/>
            </p:cNvSpPr>
            <p:nvPr/>
          </p:nvSpPr>
          <p:spPr bwMode="auto">
            <a:xfrm>
              <a:off x="3821841" y="3886674"/>
              <a:ext cx="834124" cy="834122"/>
            </a:xfrm>
            <a:custGeom>
              <a:avLst/>
              <a:gdLst>
                <a:gd name="T0" fmla="*/ 2511 w 2613"/>
                <a:gd name="T1" fmla="*/ 797 h 2613"/>
                <a:gd name="T2" fmla="*/ 2231 w 2613"/>
                <a:gd name="T3" fmla="*/ 382 h 2613"/>
                <a:gd name="T4" fmla="*/ 1815 w 2613"/>
                <a:gd name="T5" fmla="*/ 102 h 2613"/>
                <a:gd name="T6" fmla="*/ 1307 w 2613"/>
                <a:gd name="T7" fmla="*/ 0 h 2613"/>
                <a:gd name="T8" fmla="*/ 798 w 2613"/>
                <a:gd name="T9" fmla="*/ 102 h 2613"/>
                <a:gd name="T10" fmla="*/ 383 w 2613"/>
                <a:gd name="T11" fmla="*/ 382 h 2613"/>
                <a:gd name="T12" fmla="*/ 103 w 2613"/>
                <a:gd name="T13" fmla="*/ 797 h 2613"/>
                <a:gd name="T14" fmla="*/ 0 w 2613"/>
                <a:gd name="T15" fmla="*/ 1306 h 2613"/>
                <a:gd name="T16" fmla="*/ 103 w 2613"/>
                <a:gd name="T17" fmla="*/ 1815 h 2613"/>
                <a:gd name="T18" fmla="*/ 383 w 2613"/>
                <a:gd name="T19" fmla="*/ 2230 h 2613"/>
                <a:gd name="T20" fmla="*/ 798 w 2613"/>
                <a:gd name="T21" fmla="*/ 2510 h 2613"/>
                <a:gd name="T22" fmla="*/ 1307 w 2613"/>
                <a:gd name="T23" fmla="*/ 2613 h 2613"/>
                <a:gd name="T24" fmla="*/ 1815 w 2613"/>
                <a:gd name="T25" fmla="*/ 2510 h 2613"/>
                <a:gd name="T26" fmla="*/ 2231 w 2613"/>
                <a:gd name="T27" fmla="*/ 2230 h 2613"/>
                <a:gd name="T28" fmla="*/ 2511 w 2613"/>
                <a:gd name="T29" fmla="*/ 1815 h 2613"/>
                <a:gd name="T30" fmla="*/ 2613 w 2613"/>
                <a:gd name="T31" fmla="*/ 1306 h 2613"/>
                <a:gd name="T32" fmla="*/ 2511 w 2613"/>
                <a:gd name="T33" fmla="*/ 797 h 2613"/>
                <a:gd name="T34" fmla="*/ 1307 w 2613"/>
                <a:gd name="T35" fmla="*/ 2385 h 2613"/>
                <a:gd name="T36" fmla="*/ 648 w 2613"/>
                <a:gd name="T37" fmla="*/ 2160 h 2613"/>
                <a:gd name="T38" fmla="*/ 1153 w 2613"/>
                <a:gd name="T39" fmla="*/ 1921 h 2613"/>
                <a:gd name="T40" fmla="*/ 1443 w 2613"/>
                <a:gd name="T41" fmla="*/ 1864 h 2613"/>
                <a:gd name="T42" fmla="*/ 1457 w 2613"/>
                <a:gd name="T43" fmla="*/ 2000 h 2613"/>
                <a:gd name="T44" fmla="*/ 1672 w 2613"/>
                <a:gd name="T45" fmla="*/ 1735 h 2613"/>
                <a:gd name="T46" fmla="*/ 1407 w 2613"/>
                <a:gd name="T47" fmla="*/ 1520 h 2613"/>
                <a:gd name="T48" fmla="*/ 1421 w 2613"/>
                <a:gd name="T49" fmla="*/ 1656 h 2613"/>
                <a:gd name="T50" fmla="*/ 395 w 2613"/>
                <a:gd name="T51" fmla="*/ 1882 h 2613"/>
                <a:gd name="T52" fmla="*/ 257 w 2613"/>
                <a:gd name="T53" fmla="*/ 1554 h 2613"/>
                <a:gd name="T54" fmla="*/ 1837 w 2613"/>
                <a:gd name="T55" fmla="*/ 1370 h 2613"/>
                <a:gd name="T56" fmla="*/ 1837 w 2613"/>
                <a:gd name="T57" fmla="*/ 1631 h 2613"/>
                <a:gd name="T58" fmla="*/ 2162 w 2613"/>
                <a:gd name="T59" fmla="*/ 1306 h 2613"/>
                <a:gd name="T60" fmla="*/ 1837 w 2613"/>
                <a:gd name="T61" fmla="*/ 981 h 2613"/>
                <a:gd name="T62" fmla="*/ 1837 w 2613"/>
                <a:gd name="T63" fmla="*/ 1242 h 2613"/>
                <a:gd name="T64" fmla="*/ 257 w 2613"/>
                <a:gd name="T65" fmla="*/ 1058 h 2613"/>
                <a:gd name="T66" fmla="*/ 395 w 2613"/>
                <a:gd name="T67" fmla="*/ 731 h 2613"/>
                <a:gd name="T68" fmla="*/ 1421 w 2613"/>
                <a:gd name="T69" fmla="*/ 957 h 2613"/>
                <a:gd name="T70" fmla="*/ 1407 w 2613"/>
                <a:gd name="T71" fmla="*/ 1093 h 2613"/>
                <a:gd name="T72" fmla="*/ 1672 w 2613"/>
                <a:gd name="T73" fmla="*/ 877 h 2613"/>
                <a:gd name="T74" fmla="*/ 1457 w 2613"/>
                <a:gd name="T75" fmla="*/ 612 h 2613"/>
                <a:gd name="T76" fmla="*/ 1443 w 2613"/>
                <a:gd name="T77" fmla="*/ 749 h 2613"/>
                <a:gd name="T78" fmla="*/ 1153 w 2613"/>
                <a:gd name="T79" fmla="*/ 692 h 2613"/>
                <a:gd name="T80" fmla="*/ 648 w 2613"/>
                <a:gd name="T81" fmla="*/ 453 h 2613"/>
                <a:gd name="T82" fmla="*/ 1307 w 2613"/>
                <a:gd name="T83" fmla="*/ 228 h 2613"/>
                <a:gd name="T84" fmla="*/ 2385 w 2613"/>
                <a:gd name="T85" fmla="*/ 1306 h 2613"/>
                <a:gd name="T86" fmla="*/ 1307 w 2613"/>
                <a:gd name="T87" fmla="*/ 2385 h 2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13" h="2613">
                  <a:moveTo>
                    <a:pt x="2511" y="797"/>
                  </a:moveTo>
                  <a:cubicBezTo>
                    <a:pt x="2445" y="642"/>
                    <a:pt x="2351" y="502"/>
                    <a:pt x="2231" y="382"/>
                  </a:cubicBezTo>
                  <a:cubicBezTo>
                    <a:pt x="2111" y="262"/>
                    <a:pt x="1971" y="168"/>
                    <a:pt x="1815" y="102"/>
                  </a:cubicBezTo>
                  <a:cubicBezTo>
                    <a:pt x="1654" y="34"/>
                    <a:pt x="1483" y="0"/>
                    <a:pt x="1307" y="0"/>
                  </a:cubicBezTo>
                  <a:cubicBezTo>
                    <a:pt x="1130" y="0"/>
                    <a:pt x="959" y="34"/>
                    <a:pt x="798" y="102"/>
                  </a:cubicBezTo>
                  <a:cubicBezTo>
                    <a:pt x="642" y="168"/>
                    <a:pt x="503" y="262"/>
                    <a:pt x="383" y="382"/>
                  </a:cubicBezTo>
                  <a:cubicBezTo>
                    <a:pt x="263" y="502"/>
                    <a:pt x="169" y="642"/>
                    <a:pt x="103" y="797"/>
                  </a:cubicBezTo>
                  <a:cubicBezTo>
                    <a:pt x="35" y="959"/>
                    <a:pt x="0" y="1130"/>
                    <a:pt x="0" y="1306"/>
                  </a:cubicBezTo>
                  <a:cubicBezTo>
                    <a:pt x="0" y="1482"/>
                    <a:pt x="35" y="1654"/>
                    <a:pt x="103" y="1815"/>
                  </a:cubicBezTo>
                  <a:cubicBezTo>
                    <a:pt x="169" y="1970"/>
                    <a:pt x="263" y="2110"/>
                    <a:pt x="383" y="2230"/>
                  </a:cubicBezTo>
                  <a:cubicBezTo>
                    <a:pt x="503" y="2350"/>
                    <a:pt x="642" y="2444"/>
                    <a:pt x="798" y="2510"/>
                  </a:cubicBezTo>
                  <a:cubicBezTo>
                    <a:pt x="959" y="2578"/>
                    <a:pt x="1130" y="2613"/>
                    <a:pt x="1307" y="2613"/>
                  </a:cubicBezTo>
                  <a:cubicBezTo>
                    <a:pt x="1483" y="2613"/>
                    <a:pt x="1654" y="2578"/>
                    <a:pt x="1815" y="2510"/>
                  </a:cubicBezTo>
                  <a:cubicBezTo>
                    <a:pt x="1971" y="2444"/>
                    <a:pt x="2111" y="2350"/>
                    <a:pt x="2231" y="2230"/>
                  </a:cubicBezTo>
                  <a:cubicBezTo>
                    <a:pt x="2351" y="2110"/>
                    <a:pt x="2445" y="1970"/>
                    <a:pt x="2511" y="1815"/>
                  </a:cubicBezTo>
                  <a:cubicBezTo>
                    <a:pt x="2579" y="1654"/>
                    <a:pt x="2613" y="1482"/>
                    <a:pt x="2613" y="1306"/>
                  </a:cubicBezTo>
                  <a:cubicBezTo>
                    <a:pt x="2613" y="1130"/>
                    <a:pt x="2579" y="959"/>
                    <a:pt x="2511" y="797"/>
                  </a:cubicBezTo>
                  <a:close/>
                  <a:moveTo>
                    <a:pt x="1307" y="2385"/>
                  </a:moveTo>
                  <a:cubicBezTo>
                    <a:pt x="1059" y="2385"/>
                    <a:pt x="831" y="2301"/>
                    <a:pt x="648" y="2160"/>
                  </a:cubicBezTo>
                  <a:cubicBezTo>
                    <a:pt x="816" y="2033"/>
                    <a:pt x="1008" y="1961"/>
                    <a:pt x="1153" y="1921"/>
                  </a:cubicBezTo>
                  <a:cubicBezTo>
                    <a:pt x="1273" y="1888"/>
                    <a:pt x="1378" y="1871"/>
                    <a:pt x="1443" y="1864"/>
                  </a:cubicBezTo>
                  <a:cubicBezTo>
                    <a:pt x="1457" y="2000"/>
                    <a:pt x="1457" y="2000"/>
                    <a:pt x="1457" y="2000"/>
                  </a:cubicBezTo>
                  <a:cubicBezTo>
                    <a:pt x="1672" y="1735"/>
                    <a:pt x="1672" y="1735"/>
                    <a:pt x="1672" y="1735"/>
                  </a:cubicBezTo>
                  <a:cubicBezTo>
                    <a:pt x="1407" y="1520"/>
                    <a:pt x="1407" y="1520"/>
                    <a:pt x="1407" y="1520"/>
                  </a:cubicBezTo>
                  <a:cubicBezTo>
                    <a:pt x="1421" y="1656"/>
                    <a:pt x="1421" y="1656"/>
                    <a:pt x="1421" y="1656"/>
                  </a:cubicBezTo>
                  <a:cubicBezTo>
                    <a:pt x="1239" y="1677"/>
                    <a:pt x="781" y="1742"/>
                    <a:pt x="395" y="1882"/>
                  </a:cubicBezTo>
                  <a:cubicBezTo>
                    <a:pt x="332" y="1782"/>
                    <a:pt x="285" y="1672"/>
                    <a:pt x="257" y="1554"/>
                  </a:cubicBezTo>
                  <a:cubicBezTo>
                    <a:pt x="936" y="1408"/>
                    <a:pt x="1591" y="1376"/>
                    <a:pt x="1837" y="1370"/>
                  </a:cubicBezTo>
                  <a:cubicBezTo>
                    <a:pt x="1837" y="1631"/>
                    <a:pt x="1837" y="1631"/>
                    <a:pt x="1837" y="1631"/>
                  </a:cubicBezTo>
                  <a:cubicBezTo>
                    <a:pt x="2162" y="1306"/>
                    <a:pt x="2162" y="1306"/>
                    <a:pt x="2162" y="1306"/>
                  </a:cubicBezTo>
                  <a:cubicBezTo>
                    <a:pt x="1837" y="981"/>
                    <a:pt x="1837" y="981"/>
                    <a:pt x="1837" y="981"/>
                  </a:cubicBezTo>
                  <a:cubicBezTo>
                    <a:pt x="1837" y="1242"/>
                    <a:pt x="1837" y="1242"/>
                    <a:pt x="1837" y="1242"/>
                  </a:cubicBezTo>
                  <a:cubicBezTo>
                    <a:pt x="1591" y="1236"/>
                    <a:pt x="936" y="1204"/>
                    <a:pt x="257" y="1058"/>
                  </a:cubicBezTo>
                  <a:cubicBezTo>
                    <a:pt x="285" y="941"/>
                    <a:pt x="332" y="830"/>
                    <a:pt x="395" y="731"/>
                  </a:cubicBezTo>
                  <a:cubicBezTo>
                    <a:pt x="781" y="871"/>
                    <a:pt x="1239" y="935"/>
                    <a:pt x="1421" y="957"/>
                  </a:cubicBezTo>
                  <a:cubicBezTo>
                    <a:pt x="1407" y="1093"/>
                    <a:pt x="1407" y="1093"/>
                    <a:pt x="1407" y="1093"/>
                  </a:cubicBezTo>
                  <a:cubicBezTo>
                    <a:pt x="1672" y="877"/>
                    <a:pt x="1672" y="877"/>
                    <a:pt x="1672" y="877"/>
                  </a:cubicBezTo>
                  <a:cubicBezTo>
                    <a:pt x="1457" y="612"/>
                    <a:pt x="1457" y="612"/>
                    <a:pt x="1457" y="612"/>
                  </a:cubicBezTo>
                  <a:cubicBezTo>
                    <a:pt x="1443" y="749"/>
                    <a:pt x="1443" y="749"/>
                    <a:pt x="1443" y="749"/>
                  </a:cubicBezTo>
                  <a:cubicBezTo>
                    <a:pt x="1378" y="741"/>
                    <a:pt x="1273" y="725"/>
                    <a:pt x="1153" y="692"/>
                  </a:cubicBezTo>
                  <a:cubicBezTo>
                    <a:pt x="1008" y="652"/>
                    <a:pt x="816" y="579"/>
                    <a:pt x="648" y="453"/>
                  </a:cubicBezTo>
                  <a:cubicBezTo>
                    <a:pt x="830" y="312"/>
                    <a:pt x="1059" y="228"/>
                    <a:pt x="1307" y="228"/>
                  </a:cubicBezTo>
                  <a:cubicBezTo>
                    <a:pt x="1901" y="228"/>
                    <a:pt x="2385" y="711"/>
                    <a:pt x="2385" y="1306"/>
                  </a:cubicBezTo>
                  <a:cubicBezTo>
                    <a:pt x="2385" y="1901"/>
                    <a:pt x="1901" y="2385"/>
                    <a:pt x="1307" y="2385"/>
                  </a:cubicBezTo>
                  <a:close/>
                </a:path>
              </a:pathLst>
            </a:custGeom>
            <a:solidFill>
              <a:srgbClr val="FFFFFF">
                <a:alpha val="50000"/>
              </a:srgbClr>
            </a:solidFill>
            <a:ln>
              <a:noFill/>
            </a:ln>
          </p:spPr>
          <p:txBody>
            <a:bodyPr vert="horz" wrap="square" lIns="89642" tIns="44821" rIns="89642" bIns="44821" numCol="1" anchor="t" anchorCtr="0" compatLnSpc="1">
              <a:prstTxWarp prst="textNoShape">
                <a:avLst/>
              </a:prstTxWarp>
            </a:bodyPr>
            <a:lstStyle/>
            <a:p>
              <a:pPr marL="0" marR="0" lvl="0" indent="0" algn="l" defTabSz="896248" rtl="0"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15100636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143"/>
                                        </p:tgtEl>
                                        <p:attrNameLst>
                                          <p:attrName>fillcolor</p:attrName>
                                        </p:attrNameLst>
                                      </p:cBhvr>
                                      <p:to>
                                        <a:srgbClr val="800000"/>
                                      </p:to>
                                    </p:animClr>
                                    <p:set>
                                      <p:cBhvr>
                                        <p:cTn id="7" dur="2000" fill="hold"/>
                                        <p:tgtEl>
                                          <p:spTgt spid="143"/>
                                        </p:tgtEl>
                                        <p:attrNameLst>
                                          <p:attrName>fill.type</p:attrName>
                                        </p:attrNameLst>
                                      </p:cBhvr>
                                      <p:to>
                                        <p:strVal val="solid"/>
                                      </p:to>
                                    </p:set>
                                    <p:set>
                                      <p:cBhvr>
                                        <p:cTn id="8" dur="2000" fill="hold"/>
                                        <p:tgtEl>
                                          <p:spTgt spid="143"/>
                                        </p:tgtEl>
                                        <p:attrNameLst>
                                          <p:attrName>fill.on</p:attrName>
                                        </p:attrNameLst>
                                      </p:cBhvr>
                                      <p:to>
                                        <p:strVal val="true"/>
                                      </p:to>
                                    </p:set>
                                  </p:childTnLst>
                                </p:cTn>
                              </p:par>
                            </p:childTnLst>
                          </p:cTn>
                        </p:par>
                      </p:childTnLst>
                    </p:cTn>
                  </p:par>
                  <p:par>
                    <p:cTn id="9" fill="hold">
                      <p:stCondLst>
                        <p:cond delay="indefinite"/>
                      </p:stCondLst>
                      <p:childTnLst>
                        <p:par>
                          <p:cTn id="10" fill="hold">
                            <p:stCondLst>
                              <p:cond delay="0"/>
                            </p:stCondLst>
                            <p:childTnLst>
                              <p:par>
                                <p:cTn id="11" presetID="1" presetClass="emph" presetSubtype="2" fill="hold" nodeType="clickEffect">
                                  <p:stCondLst>
                                    <p:cond delay="0"/>
                                  </p:stCondLst>
                                  <p:childTnLst>
                                    <p:animClr clrSpc="rgb" dir="cw">
                                      <p:cBhvr>
                                        <p:cTn id="12" dur="2000" fill="hold"/>
                                        <p:tgtEl>
                                          <p:spTgt spid="14"/>
                                        </p:tgtEl>
                                        <p:attrNameLst>
                                          <p:attrName>fillcolor</p:attrName>
                                        </p:attrNameLst>
                                      </p:cBhvr>
                                      <p:to>
                                        <a:srgbClr val="16BCF2"/>
                                      </p:to>
                                    </p:animClr>
                                    <p:set>
                                      <p:cBhvr>
                                        <p:cTn id="13" dur="2000" fill="hold"/>
                                        <p:tgtEl>
                                          <p:spTgt spid="14"/>
                                        </p:tgtEl>
                                        <p:attrNameLst>
                                          <p:attrName>fill.type</p:attrName>
                                        </p:attrNameLst>
                                      </p:cBhvr>
                                      <p:to>
                                        <p:strVal val="solid"/>
                                      </p:to>
                                    </p:set>
                                    <p:set>
                                      <p:cBhvr>
                                        <p:cTn id="14" dur="2000" fill="hold"/>
                                        <p:tgtEl>
                                          <p:spTgt spid="14"/>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Freeform 54"/>
          <p:cNvSpPr>
            <a:spLocks noChangeAspect="1"/>
          </p:cNvSpPr>
          <p:nvPr/>
        </p:nvSpPr>
        <p:spPr bwMode="auto">
          <a:xfrm flipH="1">
            <a:off x="5581304" y="2539608"/>
            <a:ext cx="5165868" cy="331154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 name="connsiteX0" fmla="*/ 1594 w 10000"/>
              <a:gd name="connsiteY0" fmla="*/ 4391 h 10000"/>
              <a:gd name="connsiteX1" fmla="*/ 1594 w 10000"/>
              <a:gd name="connsiteY1" fmla="*/ 4188 h 10000"/>
              <a:gd name="connsiteX2" fmla="*/ 4355 w 10000"/>
              <a:gd name="connsiteY2" fmla="*/ 0 h 10000"/>
              <a:gd name="connsiteX3" fmla="*/ 6651 w 10000"/>
              <a:gd name="connsiteY3" fmla="*/ 1870 h 10000"/>
              <a:gd name="connsiteX4" fmla="*/ 7410 w 10000"/>
              <a:gd name="connsiteY4" fmla="*/ 1565 h 10000"/>
              <a:gd name="connsiteX5" fmla="*/ 8302 w 10000"/>
              <a:gd name="connsiteY5" fmla="*/ 1971 h 10000"/>
              <a:gd name="connsiteX6" fmla="*/ 9013 w 10000"/>
              <a:gd name="connsiteY6" fmla="*/ 3942 h 10000"/>
              <a:gd name="connsiteX7" fmla="*/ 10000 w 10000"/>
              <a:gd name="connsiteY7" fmla="*/ 6696 h 10000"/>
              <a:gd name="connsiteX8" fmla="*/ 8074 w 10000"/>
              <a:gd name="connsiteY8" fmla="*/ 10000 h 10000"/>
              <a:gd name="connsiteX9" fmla="*/ 7837 w 10000"/>
              <a:gd name="connsiteY9" fmla="*/ 10000 h 10000"/>
              <a:gd name="connsiteX10" fmla="*/ 7609 w 10000"/>
              <a:gd name="connsiteY10" fmla="*/ 10000 h 10000"/>
              <a:gd name="connsiteX11" fmla="*/ 3102 w 10000"/>
              <a:gd name="connsiteY11" fmla="*/ 10000 h 10000"/>
              <a:gd name="connsiteX12" fmla="*/ 3017 w 10000"/>
              <a:gd name="connsiteY12" fmla="*/ 10000 h 10000"/>
              <a:gd name="connsiteX13" fmla="*/ 2571 w 10000"/>
              <a:gd name="connsiteY13" fmla="*/ 10000 h 10000"/>
              <a:gd name="connsiteX14" fmla="*/ 1860 w 10000"/>
              <a:gd name="connsiteY14" fmla="*/ 10000 h 10000"/>
              <a:gd name="connsiteX15" fmla="*/ 0 w 10000"/>
              <a:gd name="connsiteY15" fmla="*/ 7174 h 10000"/>
              <a:gd name="connsiteX16" fmla="*/ 1594 w 10000"/>
              <a:gd name="connsiteY16" fmla="*/ 4391 h 10000"/>
              <a:gd name="connsiteX0" fmla="*/ 1594 w 10000"/>
              <a:gd name="connsiteY0" fmla="*/ 4391 h 10000"/>
              <a:gd name="connsiteX1" fmla="*/ 1594 w 10000"/>
              <a:gd name="connsiteY1" fmla="*/ 4188 h 10000"/>
              <a:gd name="connsiteX2" fmla="*/ 4355 w 10000"/>
              <a:gd name="connsiteY2" fmla="*/ 0 h 10000"/>
              <a:gd name="connsiteX3" fmla="*/ 6651 w 10000"/>
              <a:gd name="connsiteY3" fmla="*/ 1870 h 10000"/>
              <a:gd name="connsiteX4" fmla="*/ 7410 w 10000"/>
              <a:gd name="connsiteY4" fmla="*/ 1565 h 10000"/>
              <a:gd name="connsiteX5" fmla="*/ 8302 w 10000"/>
              <a:gd name="connsiteY5" fmla="*/ 1971 h 10000"/>
              <a:gd name="connsiteX6" fmla="*/ 9013 w 10000"/>
              <a:gd name="connsiteY6" fmla="*/ 3942 h 10000"/>
              <a:gd name="connsiteX7" fmla="*/ 10000 w 10000"/>
              <a:gd name="connsiteY7" fmla="*/ 6696 h 10000"/>
              <a:gd name="connsiteX8" fmla="*/ 8074 w 10000"/>
              <a:gd name="connsiteY8" fmla="*/ 10000 h 10000"/>
              <a:gd name="connsiteX9" fmla="*/ 7837 w 10000"/>
              <a:gd name="connsiteY9" fmla="*/ 10000 h 10000"/>
              <a:gd name="connsiteX10" fmla="*/ 7609 w 10000"/>
              <a:gd name="connsiteY10" fmla="*/ 10000 h 10000"/>
              <a:gd name="connsiteX11" fmla="*/ 3102 w 10000"/>
              <a:gd name="connsiteY11" fmla="*/ 10000 h 10000"/>
              <a:gd name="connsiteX12" fmla="*/ 2571 w 10000"/>
              <a:gd name="connsiteY12" fmla="*/ 10000 h 10000"/>
              <a:gd name="connsiteX13" fmla="*/ 1860 w 10000"/>
              <a:gd name="connsiteY13" fmla="*/ 10000 h 10000"/>
              <a:gd name="connsiteX14" fmla="*/ 0 w 10000"/>
              <a:gd name="connsiteY14" fmla="*/ 7174 h 10000"/>
              <a:gd name="connsiteX15" fmla="*/ 1594 w 10000"/>
              <a:gd name="connsiteY15" fmla="*/ 4391 h 10000"/>
              <a:gd name="connsiteX0" fmla="*/ 1594 w 10000"/>
              <a:gd name="connsiteY0" fmla="*/ 4391 h 10000"/>
              <a:gd name="connsiteX1" fmla="*/ 1594 w 10000"/>
              <a:gd name="connsiteY1" fmla="*/ 4188 h 10000"/>
              <a:gd name="connsiteX2" fmla="*/ 4355 w 10000"/>
              <a:gd name="connsiteY2" fmla="*/ 0 h 10000"/>
              <a:gd name="connsiteX3" fmla="*/ 6651 w 10000"/>
              <a:gd name="connsiteY3" fmla="*/ 1870 h 10000"/>
              <a:gd name="connsiteX4" fmla="*/ 7410 w 10000"/>
              <a:gd name="connsiteY4" fmla="*/ 1565 h 10000"/>
              <a:gd name="connsiteX5" fmla="*/ 8302 w 10000"/>
              <a:gd name="connsiteY5" fmla="*/ 1971 h 10000"/>
              <a:gd name="connsiteX6" fmla="*/ 9013 w 10000"/>
              <a:gd name="connsiteY6" fmla="*/ 3942 h 10000"/>
              <a:gd name="connsiteX7" fmla="*/ 10000 w 10000"/>
              <a:gd name="connsiteY7" fmla="*/ 6696 h 10000"/>
              <a:gd name="connsiteX8" fmla="*/ 8074 w 10000"/>
              <a:gd name="connsiteY8" fmla="*/ 10000 h 10000"/>
              <a:gd name="connsiteX9" fmla="*/ 7837 w 10000"/>
              <a:gd name="connsiteY9" fmla="*/ 10000 h 10000"/>
              <a:gd name="connsiteX10" fmla="*/ 7609 w 10000"/>
              <a:gd name="connsiteY10" fmla="*/ 10000 h 10000"/>
              <a:gd name="connsiteX11" fmla="*/ 2571 w 10000"/>
              <a:gd name="connsiteY11" fmla="*/ 10000 h 10000"/>
              <a:gd name="connsiteX12" fmla="*/ 1860 w 10000"/>
              <a:gd name="connsiteY12" fmla="*/ 10000 h 10000"/>
              <a:gd name="connsiteX13" fmla="*/ 0 w 10000"/>
              <a:gd name="connsiteY13" fmla="*/ 7174 h 10000"/>
              <a:gd name="connsiteX14" fmla="*/ 1594 w 10000"/>
              <a:gd name="connsiteY14" fmla="*/ 4391 h 10000"/>
              <a:gd name="connsiteX0" fmla="*/ 1594 w 10000"/>
              <a:gd name="connsiteY0" fmla="*/ 4391 h 10000"/>
              <a:gd name="connsiteX1" fmla="*/ 1594 w 10000"/>
              <a:gd name="connsiteY1" fmla="*/ 4188 h 10000"/>
              <a:gd name="connsiteX2" fmla="*/ 4355 w 10000"/>
              <a:gd name="connsiteY2" fmla="*/ 0 h 10000"/>
              <a:gd name="connsiteX3" fmla="*/ 6651 w 10000"/>
              <a:gd name="connsiteY3" fmla="*/ 1870 h 10000"/>
              <a:gd name="connsiteX4" fmla="*/ 7410 w 10000"/>
              <a:gd name="connsiteY4" fmla="*/ 1565 h 10000"/>
              <a:gd name="connsiteX5" fmla="*/ 8302 w 10000"/>
              <a:gd name="connsiteY5" fmla="*/ 1971 h 10000"/>
              <a:gd name="connsiteX6" fmla="*/ 9013 w 10000"/>
              <a:gd name="connsiteY6" fmla="*/ 3942 h 10000"/>
              <a:gd name="connsiteX7" fmla="*/ 10000 w 10000"/>
              <a:gd name="connsiteY7" fmla="*/ 6696 h 10000"/>
              <a:gd name="connsiteX8" fmla="*/ 8074 w 10000"/>
              <a:gd name="connsiteY8" fmla="*/ 10000 h 10000"/>
              <a:gd name="connsiteX9" fmla="*/ 7837 w 10000"/>
              <a:gd name="connsiteY9" fmla="*/ 10000 h 10000"/>
              <a:gd name="connsiteX10" fmla="*/ 7609 w 10000"/>
              <a:gd name="connsiteY10" fmla="*/ 10000 h 10000"/>
              <a:gd name="connsiteX11" fmla="*/ 1860 w 10000"/>
              <a:gd name="connsiteY11" fmla="*/ 10000 h 10000"/>
              <a:gd name="connsiteX12" fmla="*/ 0 w 10000"/>
              <a:gd name="connsiteY12" fmla="*/ 7174 h 10000"/>
              <a:gd name="connsiteX13" fmla="*/ 1594 w 10000"/>
              <a:gd name="connsiteY13" fmla="*/ 4391 h 10000"/>
              <a:gd name="connsiteX0" fmla="*/ 1594 w 10000"/>
              <a:gd name="connsiteY0" fmla="*/ 4391 h 10000"/>
              <a:gd name="connsiteX1" fmla="*/ 1594 w 10000"/>
              <a:gd name="connsiteY1" fmla="*/ 4188 h 10000"/>
              <a:gd name="connsiteX2" fmla="*/ 4355 w 10000"/>
              <a:gd name="connsiteY2" fmla="*/ 0 h 10000"/>
              <a:gd name="connsiteX3" fmla="*/ 6651 w 10000"/>
              <a:gd name="connsiteY3" fmla="*/ 1870 h 10000"/>
              <a:gd name="connsiteX4" fmla="*/ 7410 w 10000"/>
              <a:gd name="connsiteY4" fmla="*/ 1565 h 10000"/>
              <a:gd name="connsiteX5" fmla="*/ 8302 w 10000"/>
              <a:gd name="connsiteY5" fmla="*/ 1971 h 10000"/>
              <a:gd name="connsiteX6" fmla="*/ 9013 w 10000"/>
              <a:gd name="connsiteY6" fmla="*/ 3942 h 10000"/>
              <a:gd name="connsiteX7" fmla="*/ 10000 w 10000"/>
              <a:gd name="connsiteY7" fmla="*/ 6696 h 10000"/>
              <a:gd name="connsiteX8" fmla="*/ 8074 w 10000"/>
              <a:gd name="connsiteY8" fmla="*/ 10000 h 10000"/>
              <a:gd name="connsiteX9" fmla="*/ 7609 w 10000"/>
              <a:gd name="connsiteY9" fmla="*/ 10000 h 10000"/>
              <a:gd name="connsiteX10" fmla="*/ 1860 w 10000"/>
              <a:gd name="connsiteY10" fmla="*/ 10000 h 10000"/>
              <a:gd name="connsiteX11" fmla="*/ 0 w 10000"/>
              <a:gd name="connsiteY11" fmla="*/ 7174 h 10000"/>
              <a:gd name="connsiteX12" fmla="*/ 1594 w 10000"/>
              <a:gd name="connsiteY12" fmla="*/ 4391 h 10000"/>
              <a:gd name="connsiteX0" fmla="*/ 1594 w 10000"/>
              <a:gd name="connsiteY0" fmla="*/ 4391 h 10000"/>
              <a:gd name="connsiteX1" fmla="*/ 1594 w 10000"/>
              <a:gd name="connsiteY1" fmla="*/ 4188 h 10000"/>
              <a:gd name="connsiteX2" fmla="*/ 4355 w 10000"/>
              <a:gd name="connsiteY2" fmla="*/ 0 h 10000"/>
              <a:gd name="connsiteX3" fmla="*/ 6651 w 10000"/>
              <a:gd name="connsiteY3" fmla="*/ 1870 h 10000"/>
              <a:gd name="connsiteX4" fmla="*/ 7410 w 10000"/>
              <a:gd name="connsiteY4" fmla="*/ 1565 h 10000"/>
              <a:gd name="connsiteX5" fmla="*/ 8302 w 10000"/>
              <a:gd name="connsiteY5" fmla="*/ 1971 h 10000"/>
              <a:gd name="connsiteX6" fmla="*/ 9013 w 10000"/>
              <a:gd name="connsiteY6" fmla="*/ 3942 h 10000"/>
              <a:gd name="connsiteX7" fmla="*/ 10000 w 10000"/>
              <a:gd name="connsiteY7" fmla="*/ 6696 h 10000"/>
              <a:gd name="connsiteX8" fmla="*/ 8074 w 10000"/>
              <a:gd name="connsiteY8" fmla="*/ 10000 h 10000"/>
              <a:gd name="connsiteX9" fmla="*/ 1860 w 10000"/>
              <a:gd name="connsiteY9" fmla="*/ 10000 h 10000"/>
              <a:gd name="connsiteX10" fmla="*/ 0 w 10000"/>
              <a:gd name="connsiteY10" fmla="*/ 7174 h 10000"/>
              <a:gd name="connsiteX11" fmla="*/ 1594 w 10000"/>
              <a:gd name="connsiteY11" fmla="*/ 439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1594" y="4391"/>
                </a:moveTo>
                <a:lnTo>
                  <a:pt x="1594" y="4188"/>
                </a:lnTo>
                <a:cubicBezTo>
                  <a:pt x="1594" y="1870"/>
                  <a:pt x="2827" y="0"/>
                  <a:pt x="4355" y="0"/>
                </a:cubicBezTo>
                <a:cubicBezTo>
                  <a:pt x="5313" y="0"/>
                  <a:pt x="6157" y="754"/>
                  <a:pt x="6651" y="1870"/>
                </a:cubicBezTo>
                <a:cubicBezTo>
                  <a:pt x="6879" y="1681"/>
                  <a:pt x="7135" y="1565"/>
                  <a:pt x="7410" y="1565"/>
                </a:cubicBezTo>
                <a:cubicBezTo>
                  <a:pt x="7742" y="1565"/>
                  <a:pt x="8046" y="1710"/>
                  <a:pt x="8302" y="1971"/>
                </a:cubicBezTo>
                <a:cubicBezTo>
                  <a:pt x="8719" y="2391"/>
                  <a:pt x="8994" y="3116"/>
                  <a:pt x="9013" y="3942"/>
                </a:cubicBezTo>
                <a:cubicBezTo>
                  <a:pt x="9602" y="4522"/>
                  <a:pt x="10000" y="5551"/>
                  <a:pt x="10000" y="6696"/>
                </a:cubicBezTo>
                <a:cubicBezTo>
                  <a:pt x="10000" y="8406"/>
                  <a:pt x="9156" y="9797"/>
                  <a:pt x="8074" y="10000"/>
                </a:cubicBezTo>
                <a:lnTo>
                  <a:pt x="1860" y="10000"/>
                </a:lnTo>
                <a:cubicBezTo>
                  <a:pt x="825" y="9971"/>
                  <a:pt x="0" y="8710"/>
                  <a:pt x="0" y="7174"/>
                </a:cubicBezTo>
                <a:cubicBezTo>
                  <a:pt x="0" y="5754"/>
                  <a:pt x="693" y="4580"/>
                  <a:pt x="1594" y="439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5" name="Title 4"/>
          <p:cNvSpPr>
            <a:spLocks noGrp="1"/>
          </p:cNvSpPr>
          <p:nvPr>
            <p:ph type="title"/>
          </p:nvPr>
        </p:nvSpPr>
        <p:spPr>
          <a:xfrm>
            <a:off x="192024" y="202239"/>
            <a:ext cx="11642721" cy="1316945"/>
          </a:xfrm>
        </p:spPr>
        <p:txBody>
          <a:bodyPr>
            <a:normAutofit/>
          </a:bodyPr>
          <a:lstStyle/>
          <a:p>
            <a:pPr lvl="0"/>
            <a:r>
              <a:rPr lang="en-US" sz="3200" cap="all" spc="500" dirty="0">
                <a:ln w="3175">
                  <a:noFill/>
                </a:ln>
                <a:solidFill>
                  <a:srgbClr val="0078D7"/>
                </a:solidFill>
                <a:latin typeface="Segoe UI Semilight" charset="0"/>
                <a:ea typeface="+mn-ea"/>
                <a:cs typeface="Segoe UI Semilight" charset="0"/>
              </a:rPr>
              <a:t>Your database on autopilot</a:t>
            </a:r>
            <a:br>
              <a:rPr lang="en-US" sz="4800" dirty="0"/>
            </a:br>
            <a:r>
              <a:rPr lang="en-US" sz="2400" cap="all" dirty="0">
                <a:solidFill>
                  <a:srgbClr val="0078D7"/>
                </a:solidFill>
              </a:rPr>
              <a:t>Built-in admin and data protection</a:t>
            </a:r>
            <a:endParaRPr lang="en-US" sz="2800" cap="all" dirty="0">
              <a:solidFill>
                <a:srgbClr val="0078D7"/>
              </a:solidFill>
            </a:endParaRPr>
          </a:p>
        </p:txBody>
      </p:sp>
      <p:sp>
        <p:nvSpPr>
          <p:cNvPr id="6" name="Text Placeholder 5"/>
          <p:cNvSpPr>
            <a:spLocks noGrp="1"/>
          </p:cNvSpPr>
          <p:nvPr>
            <p:ph type="body" sz="quarter" idx="10"/>
          </p:nvPr>
        </p:nvSpPr>
        <p:spPr>
          <a:xfrm>
            <a:off x="274638" y="2357133"/>
            <a:ext cx="4383830" cy="3434786"/>
          </a:xfrm>
        </p:spPr>
        <p:txBody>
          <a:bodyPr/>
          <a:lstStyle/>
          <a:p>
            <a:pPr lvl="0"/>
            <a:r>
              <a:rPr lang="en-US" sz="1800" dirty="0"/>
              <a:t>Fully managed activities like maintenance, security, updates, DR and back-ups</a:t>
            </a:r>
          </a:p>
          <a:p>
            <a:pPr lvl="0"/>
            <a:r>
              <a:rPr lang="en-US" sz="1800" dirty="0"/>
              <a:t>No application downtime</a:t>
            </a:r>
          </a:p>
          <a:p>
            <a:pPr lvl="0"/>
            <a:r>
              <a:rPr lang="en-US" sz="1800" dirty="0"/>
              <a:t>Save money, time and worry</a:t>
            </a:r>
          </a:p>
        </p:txBody>
      </p:sp>
      <p:sp>
        <p:nvSpPr>
          <p:cNvPr id="61" name="Freeform 60"/>
          <p:cNvSpPr/>
          <p:nvPr/>
        </p:nvSpPr>
        <p:spPr bwMode="auto">
          <a:xfrm>
            <a:off x="7967388" y="2758766"/>
            <a:ext cx="713061" cy="914538"/>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65" name="Freeform 64"/>
          <p:cNvSpPr/>
          <p:nvPr/>
        </p:nvSpPr>
        <p:spPr bwMode="auto">
          <a:xfrm rot="20794211">
            <a:off x="7684002" y="4621068"/>
            <a:ext cx="799333" cy="799337"/>
          </a:xfrm>
          <a:custGeom>
            <a:avLst/>
            <a:gdLst>
              <a:gd name="connsiteX0" fmla="*/ 495300 w 990600"/>
              <a:gd name="connsiteY0" fmla="*/ 397328 h 990600"/>
              <a:gd name="connsiteX1" fmla="*/ 397328 w 990600"/>
              <a:gd name="connsiteY1" fmla="*/ 495300 h 990600"/>
              <a:gd name="connsiteX2" fmla="*/ 495300 w 990600"/>
              <a:gd name="connsiteY2" fmla="*/ 593272 h 990600"/>
              <a:gd name="connsiteX3" fmla="*/ 593272 w 990600"/>
              <a:gd name="connsiteY3" fmla="*/ 495300 h 990600"/>
              <a:gd name="connsiteX4" fmla="*/ 495300 w 990600"/>
              <a:gd name="connsiteY4" fmla="*/ 397328 h 990600"/>
              <a:gd name="connsiteX5" fmla="*/ 495300 w 990600"/>
              <a:gd name="connsiteY5" fmla="*/ 286687 h 990600"/>
              <a:gd name="connsiteX6" fmla="*/ 703913 w 990600"/>
              <a:gd name="connsiteY6" fmla="*/ 495300 h 990600"/>
              <a:gd name="connsiteX7" fmla="*/ 495300 w 990600"/>
              <a:gd name="connsiteY7" fmla="*/ 703913 h 990600"/>
              <a:gd name="connsiteX8" fmla="*/ 286687 w 990600"/>
              <a:gd name="connsiteY8" fmla="*/ 495300 h 990600"/>
              <a:gd name="connsiteX9" fmla="*/ 495300 w 990600"/>
              <a:gd name="connsiteY9" fmla="*/ 286687 h 990600"/>
              <a:gd name="connsiteX10" fmla="*/ 491466 w 990600"/>
              <a:gd name="connsiteY10" fmla="*/ 204590 h 990600"/>
              <a:gd name="connsiteX11" fmla="*/ 199701 w 990600"/>
              <a:gd name="connsiteY11" fmla="*/ 496355 h 990600"/>
              <a:gd name="connsiteX12" fmla="*/ 491466 w 990600"/>
              <a:gd name="connsiteY12" fmla="*/ 788120 h 990600"/>
              <a:gd name="connsiteX13" fmla="*/ 783231 w 990600"/>
              <a:gd name="connsiteY13" fmla="*/ 496355 h 990600"/>
              <a:gd name="connsiteX14" fmla="*/ 491466 w 990600"/>
              <a:gd name="connsiteY14" fmla="*/ 204590 h 990600"/>
              <a:gd name="connsiteX15" fmla="*/ 495300 w 990600"/>
              <a:gd name="connsiteY15" fmla="*/ 0 h 990600"/>
              <a:gd name="connsiteX16" fmla="*/ 569646 w 990600"/>
              <a:gd name="connsiteY16" fmla="*/ 7495 h 990600"/>
              <a:gd name="connsiteX17" fmla="*/ 579473 w 990600"/>
              <a:gd name="connsiteY17" fmla="*/ 56169 h 990600"/>
              <a:gd name="connsiteX18" fmla="*/ 704851 w 990600"/>
              <a:gd name="connsiteY18" fmla="*/ 139276 h 990600"/>
              <a:gd name="connsiteX19" fmla="*/ 757816 w 990600"/>
              <a:gd name="connsiteY19" fmla="*/ 128583 h 990600"/>
              <a:gd name="connsiteX20" fmla="*/ 795090 w 990600"/>
              <a:gd name="connsiteY20" fmla="*/ 103452 h 990600"/>
              <a:gd name="connsiteX21" fmla="*/ 845530 w 990600"/>
              <a:gd name="connsiteY21" fmla="*/ 145070 h 990600"/>
              <a:gd name="connsiteX22" fmla="*/ 884828 w 990600"/>
              <a:gd name="connsiteY22" fmla="*/ 192699 h 990600"/>
              <a:gd name="connsiteX23" fmla="*/ 884770 w 990600"/>
              <a:gd name="connsiteY23" fmla="*/ 192738 h 990600"/>
              <a:gd name="connsiteX24" fmla="*/ 844915 w 990600"/>
              <a:gd name="connsiteY24" fmla="*/ 288955 h 990600"/>
              <a:gd name="connsiteX25" fmla="*/ 980987 w 990600"/>
              <a:gd name="connsiteY25" fmla="*/ 425027 h 990600"/>
              <a:gd name="connsiteX26" fmla="*/ 983466 w 990600"/>
              <a:gd name="connsiteY26" fmla="*/ 424527 h 990600"/>
              <a:gd name="connsiteX27" fmla="*/ 990600 w 990600"/>
              <a:gd name="connsiteY27" fmla="*/ 495300 h 990600"/>
              <a:gd name="connsiteX28" fmla="*/ 982776 w 990600"/>
              <a:gd name="connsiteY28" fmla="*/ 572916 h 990600"/>
              <a:gd name="connsiteX29" fmla="*/ 934431 w 990600"/>
              <a:gd name="connsiteY29" fmla="*/ 582676 h 990600"/>
              <a:gd name="connsiteX30" fmla="*/ 851324 w 990600"/>
              <a:gd name="connsiteY30" fmla="*/ 708055 h 990600"/>
              <a:gd name="connsiteX31" fmla="*/ 862018 w 990600"/>
              <a:gd name="connsiteY31" fmla="*/ 761020 h 990600"/>
              <a:gd name="connsiteX32" fmla="*/ 885959 w 990600"/>
              <a:gd name="connsiteY32" fmla="*/ 796530 h 990600"/>
              <a:gd name="connsiteX33" fmla="*/ 845530 w 990600"/>
              <a:gd name="connsiteY33" fmla="*/ 845530 h 990600"/>
              <a:gd name="connsiteX34" fmla="*/ 799364 w 990600"/>
              <a:gd name="connsiteY34" fmla="*/ 883621 h 990600"/>
              <a:gd name="connsiteX35" fmla="*/ 757816 w 990600"/>
              <a:gd name="connsiteY35" fmla="*/ 855608 h 990600"/>
              <a:gd name="connsiteX36" fmla="*/ 704851 w 990600"/>
              <a:gd name="connsiteY36" fmla="*/ 844915 h 990600"/>
              <a:gd name="connsiteX37" fmla="*/ 568779 w 990600"/>
              <a:gd name="connsiteY37" fmla="*/ 980987 h 990600"/>
              <a:gd name="connsiteX38" fmla="*/ 569216 w 990600"/>
              <a:gd name="connsiteY38" fmla="*/ 983149 h 990600"/>
              <a:gd name="connsiteX39" fmla="*/ 495300 w 990600"/>
              <a:gd name="connsiteY39" fmla="*/ 990600 h 990600"/>
              <a:gd name="connsiteX40" fmla="*/ 420957 w 990600"/>
              <a:gd name="connsiteY40" fmla="*/ 983106 h 990600"/>
              <a:gd name="connsiteX41" fmla="*/ 411130 w 990600"/>
              <a:gd name="connsiteY41" fmla="*/ 934431 h 990600"/>
              <a:gd name="connsiteX42" fmla="*/ 285751 w 990600"/>
              <a:gd name="connsiteY42" fmla="*/ 851324 h 990600"/>
              <a:gd name="connsiteX43" fmla="*/ 232786 w 990600"/>
              <a:gd name="connsiteY43" fmla="*/ 862017 h 990600"/>
              <a:gd name="connsiteX44" fmla="*/ 195512 w 990600"/>
              <a:gd name="connsiteY44" fmla="*/ 887148 h 990600"/>
              <a:gd name="connsiteX45" fmla="*/ 145070 w 990600"/>
              <a:gd name="connsiteY45" fmla="*/ 845530 h 990600"/>
              <a:gd name="connsiteX46" fmla="*/ 108168 w 990600"/>
              <a:gd name="connsiteY46" fmla="*/ 800805 h 990600"/>
              <a:gd name="connsiteX47" fmla="*/ 134992 w 990600"/>
              <a:gd name="connsiteY47" fmla="*/ 761020 h 990600"/>
              <a:gd name="connsiteX48" fmla="*/ 145685 w 990600"/>
              <a:gd name="connsiteY48" fmla="*/ 708055 h 990600"/>
              <a:gd name="connsiteX49" fmla="*/ 9613 w 990600"/>
              <a:gd name="connsiteY49" fmla="*/ 571983 h 990600"/>
              <a:gd name="connsiteX50" fmla="*/ 7768 w 990600"/>
              <a:gd name="connsiteY50" fmla="*/ 572356 h 990600"/>
              <a:gd name="connsiteX51" fmla="*/ 0 w 990600"/>
              <a:gd name="connsiteY51" fmla="*/ 495300 h 990600"/>
              <a:gd name="connsiteX52" fmla="*/ 7165 w 990600"/>
              <a:gd name="connsiteY52" fmla="*/ 424228 h 990600"/>
              <a:gd name="connsiteX53" fmla="*/ 56169 w 990600"/>
              <a:gd name="connsiteY53" fmla="*/ 414334 h 990600"/>
              <a:gd name="connsiteX54" fmla="*/ 139276 w 990600"/>
              <a:gd name="connsiteY54" fmla="*/ 288955 h 990600"/>
              <a:gd name="connsiteX55" fmla="*/ 128583 w 990600"/>
              <a:gd name="connsiteY55" fmla="*/ 235990 h 990600"/>
              <a:gd name="connsiteX56" fmla="*/ 102263 w 990600"/>
              <a:gd name="connsiteY56" fmla="*/ 196953 h 990600"/>
              <a:gd name="connsiteX57" fmla="*/ 145070 w 990600"/>
              <a:gd name="connsiteY57" fmla="*/ 145070 h 990600"/>
              <a:gd name="connsiteX58" fmla="*/ 191237 w 990600"/>
              <a:gd name="connsiteY58" fmla="*/ 106979 h 990600"/>
              <a:gd name="connsiteX59" fmla="*/ 232786 w 990600"/>
              <a:gd name="connsiteY59" fmla="*/ 134992 h 990600"/>
              <a:gd name="connsiteX60" fmla="*/ 285751 w 990600"/>
              <a:gd name="connsiteY60" fmla="*/ 145685 h 990600"/>
              <a:gd name="connsiteX61" fmla="*/ 421823 w 990600"/>
              <a:gd name="connsiteY61" fmla="*/ 9613 h 990600"/>
              <a:gd name="connsiteX62" fmla="*/ 421387 w 990600"/>
              <a:gd name="connsiteY62" fmla="*/ 7451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90600" h="990600">
                <a:moveTo>
                  <a:pt x="495300" y="397328"/>
                </a:moveTo>
                <a:cubicBezTo>
                  <a:pt x="441192" y="397328"/>
                  <a:pt x="397328" y="441192"/>
                  <a:pt x="397328" y="495300"/>
                </a:cubicBezTo>
                <a:cubicBezTo>
                  <a:pt x="397328" y="549408"/>
                  <a:pt x="441192" y="593272"/>
                  <a:pt x="495300" y="593272"/>
                </a:cubicBezTo>
                <a:cubicBezTo>
                  <a:pt x="549408" y="593272"/>
                  <a:pt x="593272" y="549408"/>
                  <a:pt x="593272" y="495300"/>
                </a:cubicBezTo>
                <a:cubicBezTo>
                  <a:pt x="593272" y="441192"/>
                  <a:pt x="549408" y="397328"/>
                  <a:pt x="495300" y="397328"/>
                </a:cubicBezTo>
                <a:close/>
                <a:moveTo>
                  <a:pt x="495300" y="286687"/>
                </a:moveTo>
                <a:cubicBezTo>
                  <a:pt x="610514" y="286687"/>
                  <a:pt x="703913" y="380086"/>
                  <a:pt x="703913" y="495300"/>
                </a:cubicBezTo>
                <a:cubicBezTo>
                  <a:pt x="703913" y="610514"/>
                  <a:pt x="610514" y="703913"/>
                  <a:pt x="495300" y="703913"/>
                </a:cubicBezTo>
                <a:cubicBezTo>
                  <a:pt x="380086" y="703913"/>
                  <a:pt x="286687" y="610514"/>
                  <a:pt x="286687" y="495300"/>
                </a:cubicBezTo>
                <a:cubicBezTo>
                  <a:pt x="286687" y="380086"/>
                  <a:pt x="380086" y="286687"/>
                  <a:pt x="495300" y="286687"/>
                </a:cubicBezTo>
                <a:close/>
                <a:moveTo>
                  <a:pt x="491466" y="204590"/>
                </a:moveTo>
                <a:cubicBezTo>
                  <a:pt x="330329" y="204590"/>
                  <a:pt x="199701" y="335218"/>
                  <a:pt x="199701" y="496355"/>
                </a:cubicBezTo>
                <a:cubicBezTo>
                  <a:pt x="199701" y="657492"/>
                  <a:pt x="330329" y="788120"/>
                  <a:pt x="491466" y="788120"/>
                </a:cubicBezTo>
                <a:cubicBezTo>
                  <a:pt x="652603" y="788120"/>
                  <a:pt x="783231" y="657492"/>
                  <a:pt x="783231" y="496355"/>
                </a:cubicBezTo>
                <a:cubicBezTo>
                  <a:pt x="783231" y="335218"/>
                  <a:pt x="652603" y="204590"/>
                  <a:pt x="491466" y="204590"/>
                </a:cubicBezTo>
                <a:close/>
                <a:moveTo>
                  <a:pt x="495300" y="0"/>
                </a:moveTo>
                <a:lnTo>
                  <a:pt x="569646" y="7495"/>
                </a:lnTo>
                <a:lnTo>
                  <a:pt x="579473" y="56169"/>
                </a:lnTo>
                <a:cubicBezTo>
                  <a:pt x="600130" y="105007"/>
                  <a:pt x="648489" y="139276"/>
                  <a:pt x="704851" y="139276"/>
                </a:cubicBezTo>
                <a:cubicBezTo>
                  <a:pt x="723639" y="139276"/>
                  <a:pt x="741537" y="135468"/>
                  <a:pt x="757816" y="128583"/>
                </a:cubicBezTo>
                <a:lnTo>
                  <a:pt x="795090" y="103452"/>
                </a:lnTo>
                <a:lnTo>
                  <a:pt x="845530" y="145070"/>
                </a:lnTo>
                <a:lnTo>
                  <a:pt x="884828" y="192699"/>
                </a:lnTo>
                <a:lnTo>
                  <a:pt x="884770" y="192738"/>
                </a:lnTo>
                <a:cubicBezTo>
                  <a:pt x="860146" y="217362"/>
                  <a:pt x="844915" y="251380"/>
                  <a:pt x="844915" y="288955"/>
                </a:cubicBezTo>
                <a:cubicBezTo>
                  <a:pt x="844915" y="364105"/>
                  <a:pt x="905837" y="425027"/>
                  <a:pt x="980987" y="425027"/>
                </a:cubicBezTo>
                <a:lnTo>
                  <a:pt x="983466" y="424527"/>
                </a:lnTo>
                <a:lnTo>
                  <a:pt x="990600" y="495300"/>
                </a:lnTo>
                <a:lnTo>
                  <a:pt x="982776" y="572916"/>
                </a:lnTo>
                <a:lnTo>
                  <a:pt x="934431" y="582676"/>
                </a:lnTo>
                <a:cubicBezTo>
                  <a:pt x="885593" y="603333"/>
                  <a:pt x="851324" y="651693"/>
                  <a:pt x="851324" y="708055"/>
                </a:cubicBezTo>
                <a:cubicBezTo>
                  <a:pt x="851324" y="726843"/>
                  <a:pt x="855132" y="744741"/>
                  <a:pt x="862018" y="761020"/>
                </a:cubicBezTo>
                <a:lnTo>
                  <a:pt x="885959" y="796530"/>
                </a:lnTo>
                <a:lnTo>
                  <a:pt x="845530" y="845530"/>
                </a:lnTo>
                <a:lnTo>
                  <a:pt x="799364" y="883621"/>
                </a:lnTo>
                <a:lnTo>
                  <a:pt x="757816" y="855608"/>
                </a:lnTo>
                <a:cubicBezTo>
                  <a:pt x="741537" y="848723"/>
                  <a:pt x="723639" y="844915"/>
                  <a:pt x="704851" y="844915"/>
                </a:cubicBezTo>
                <a:cubicBezTo>
                  <a:pt x="629701" y="844915"/>
                  <a:pt x="568779" y="905837"/>
                  <a:pt x="568779" y="980987"/>
                </a:cubicBezTo>
                <a:lnTo>
                  <a:pt x="569216" y="983149"/>
                </a:lnTo>
                <a:lnTo>
                  <a:pt x="495300" y="990600"/>
                </a:lnTo>
                <a:lnTo>
                  <a:pt x="420957" y="983106"/>
                </a:lnTo>
                <a:lnTo>
                  <a:pt x="411130" y="934431"/>
                </a:lnTo>
                <a:cubicBezTo>
                  <a:pt x="390473" y="885593"/>
                  <a:pt x="342114" y="851324"/>
                  <a:pt x="285751" y="851324"/>
                </a:cubicBezTo>
                <a:cubicBezTo>
                  <a:pt x="266964" y="851324"/>
                  <a:pt x="249066" y="855132"/>
                  <a:pt x="232786" y="862017"/>
                </a:cubicBezTo>
                <a:lnTo>
                  <a:pt x="195512" y="887148"/>
                </a:lnTo>
                <a:lnTo>
                  <a:pt x="145070" y="845530"/>
                </a:lnTo>
                <a:lnTo>
                  <a:pt x="108168" y="800805"/>
                </a:lnTo>
                <a:lnTo>
                  <a:pt x="134992" y="761020"/>
                </a:lnTo>
                <a:cubicBezTo>
                  <a:pt x="141878" y="744741"/>
                  <a:pt x="145685" y="726843"/>
                  <a:pt x="145685" y="708055"/>
                </a:cubicBezTo>
                <a:cubicBezTo>
                  <a:pt x="145685" y="632905"/>
                  <a:pt x="84763" y="571983"/>
                  <a:pt x="9613" y="571983"/>
                </a:cubicBezTo>
                <a:lnTo>
                  <a:pt x="7768" y="572356"/>
                </a:lnTo>
                <a:lnTo>
                  <a:pt x="0" y="495300"/>
                </a:lnTo>
                <a:lnTo>
                  <a:pt x="7165" y="424228"/>
                </a:lnTo>
                <a:lnTo>
                  <a:pt x="56169" y="414334"/>
                </a:lnTo>
                <a:cubicBezTo>
                  <a:pt x="105008" y="393677"/>
                  <a:pt x="139276" y="345318"/>
                  <a:pt x="139276" y="288955"/>
                </a:cubicBezTo>
                <a:cubicBezTo>
                  <a:pt x="139276" y="270168"/>
                  <a:pt x="135469" y="252269"/>
                  <a:pt x="128583" y="235990"/>
                </a:cubicBezTo>
                <a:lnTo>
                  <a:pt x="102263" y="196953"/>
                </a:lnTo>
                <a:lnTo>
                  <a:pt x="145070" y="145070"/>
                </a:lnTo>
                <a:lnTo>
                  <a:pt x="191237" y="106979"/>
                </a:lnTo>
                <a:lnTo>
                  <a:pt x="232786" y="134992"/>
                </a:lnTo>
                <a:cubicBezTo>
                  <a:pt x="249066" y="141877"/>
                  <a:pt x="266964" y="145685"/>
                  <a:pt x="285751" y="145685"/>
                </a:cubicBezTo>
                <a:cubicBezTo>
                  <a:pt x="360901" y="145685"/>
                  <a:pt x="421823" y="84763"/>
                  <a:pt x="421823" y="9613"/>
                </a:cubicBezTo>
                <a:lnTo>
                  <a:pt x="421387" y="7451"/>
                </a:lnTo>
                <a:close/>
              </a:path>
            </a:pathLst>
          </a:custGeom>
          <a:solidFill>
            <a:srgbClr val="00B0F0">
              <a:alpha val="2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Freeform 65"/>
          <p:cNvSpPr/>
          <p:nvPr/>
        </p:nvSpPr>
        <p:spPr bwMode="auto">
          <a:xfrm rot="19350922">
            <a:off x="8157619" y="4172693"/>
            <a:ext cx="508902" cy="508902"/>
          </a:xfrm>
          <a:custGeom>
            <a:avLst/>
            <a:gdLst>
              <a:gd name="connsiteX0" fmla="*/ 495300 w 990600"/>
              <a:gd name="connsiteY0" fmla="*/ 397328 h 990600"/>
              <a:gd name="connsiteX1" fmla="*/ 397328 w 990600"/>
              <a:gd name="connsiteY1" fmla="*/ 495300 h 990600"/>
              <a:gd name="connsiteX2" fmla="*/ 495300 w 990600"/>
              <a:gd name="connsiteY2" fmla="*/ 593272 h 990600"/>
              <a:gd name="connsiteX3" fmla="*/ 593272 w 990600"/>
              <a:gd name="connsiteY3" fmla="*/ 495300 h 990600"/>
              <a:gd name="connsiteX4" fmla="*/ 495300 w 990600"/>
              <a:gd name="connsiteY4" fmla="*/ 397328 h 990600"/>
              <a:gd name="connsiteX5" fmla="*/ 495300 w 990600"/>
              <a:gd name="connsiteY5" fmla="*/ 286687 h 990600"/>
              <a:gd name="connsiteX6" fmla="*/ 703913 w 990600"/>
              <a:gd name="connsiteY6" fmla="*/ 495300 h 990600"/>
              <a:gd name="connsiteX7" fmla="*/ 495300 w 990600"/>
              <a:gd name="connsiteY7" fmla="*/ 703913 h 990600"/>
              <a:gd name="connsiteX8" fmla="*/ 286687 w 990600"/>
              <a:gd name="connsiteY8" fmla="*/ 495300 h 990600"/>
              <a:gd name="connsiteX9" fmla="*/ 495300 w 990600"/>
              <a:gd name="connsiteY9" fmla="*/ 286687 h 990600"/>
              <a:gd name="connsiteX10" fmla="*/ 491466 w 990600"/>
              <a:gd name="connsiteY10" fmla="*/ 204590 h 990600"/>
              <a:gd name="connsiteX11" fmla="*/ 199701 w 990600"/>
              <a:gd name="connsiteY11" fmla="*/ 496355 h 990600"/>
              <a:gd name="connsiteX12" fmla="*/ 491466 w 990600"/>
              <a:gd name="connsiteY12" fmla="*/ 788120 h 990600"/>
              <a:gd name="connsiteX13" fmla="*/ 783231 w 990600"/>
              <a:gd name="connsiteY13" fmla="*/ 496355 h 990600"/>
              <a:gd name="connsiteX14" fmla="*/ 491466 w 990600"/>
              <a:gd name="connsiteY14" fmla="*/ 204590 h 990600"/>
              <a:gd name="connsiteX15" fmla="*/ 495300 w 990600"/>
              <a:gd name="connsiteY15" fmla="*/ 0 h 990600"/>
              <a:gd name="connsiteX16" fmla="*/ 569646 w 990600"/>
              <a:gd name="connsiteY16" fmla="*/ 7495 h 990600"/>
              <a:gd name="connsiteX17" fmla="*/ 579473 w 990600"/>
              <a:gd name="connsiteY17" fmla="*/ 56169 h 990600"/>
              <a:gd name="connsiteX18" fmla="*/ 704851 w 990600"/>
              <a:gd name="connsiteY18" fmla="*/ 139276 h 990600"/>
              <a:gd name="connsiteX19" fmla="*/ 757816 w 990600"/>
              <a:gd name="connsiteY19" fmla="*/ 128583 h 990600"/>
              <a:gd name="connsiteX20" fmla="*/ 795090 w 990600"/>
              <a:gd name="connsiteY20" fmla="*/ 103452 h 990600"/>
              <a:gd name="connsiteX21" fmla="*/ 845530 w 990600"/>
              <a:gd name="connsiteY21" fmla="*/ 145070 h 990600"/>
              <a:gd name="connsiteX22" fmla="*/ 884828 w 990600"/>
              <a:gd name="connsiteY22" fmla="*/ 192699 h 990600"/>
              <a:gd name="connsiteX23" fmla="*/ 884770 w 990600"/>
              <a:gd name="connsiteY23" fmla="*/ 192738 h 990600"/>
              <a:gd name="connsiteX24" fmla="*/ 844915 w 990600"/>
              <a:gd name="connsiteY24" fmla="*/ 288955 h 990600"/>
              <a:gd name="connsiteX25" fmla="*/ 980987 w 990600"/>
              <a:gd name="connsiteY25" fmla="*/ 425027 h 990600"/>
              <a:gd name="connsiteX26" fmla="*/ 983466 w 990600"/>
              <a:gd name="connsiteY26" fmla="*/ 424527 h 990600"/>
              <a:gd name="connsiteX27" fmla="*/ 990600 w 990600"/>
              <a:gd name="connsiteY27" fmla="*/ 495300 h 990600"/>
              <a:gd name="connsiteX28" fmla="*/ 982776 w 990600"/>
              <a:gd name="connsiteY28" fmla="*/ 572916 h 990600"/>
              <a:gd name="connsiteX29" fmla="*/ 934431 w 990600"/>
              <a:gd name="connsiteY29" fmla="*/ 582676 h 990600"/>
              <a:gd name="connsiteX30" fmla="*/ 851324 w 990600"/>
              <a:gd name="connsiteY30" fmla="*/ 708055 h 990600"/>
              <a:gd name="connsiteX31" fmla="*/ 862018 w 990600"/>
              <a:gd name="connsiteY31" fmla="*/ 761020 h 990600"/>
              <a:gd name="connsiteX32" fmla="*/ 885959 w 990600"/>
              <a:gd name="connsiteY32" fmla="*/ 796530 h 990600"/>
              <a:gd name="connsiteX33" fmla="*/ 845530 w 990600"/>
              <a:gd name="connsiteY33" fmla="*/ 845530 h 990600"/>
              <a:gd name="connsiteX34" fmla="*/ 799364 w 990600"/>
              <a:gd name="connsiteY34" fmla="*/ 883621 h 990600"/>
              <a:gd name="connsiteX35" fmla="*/ 757816 w 990600"/>
              <a:gd name="connsiteY35" fmla="*/ 855608 h 990600"/>
              <a:gd name="connsiteX36" fmla="*/ 704851 w 990600"/>
              <a:gd name="connsiteY36" fmla="*/ 844915 h 990600"/>
              <a:gd name="connsiteX37" fmla="*/ 568779 w 990600"/>
              <a:gd name="connsiteY37" fmla="*/ 980987 h 990600"/>
              <a:gd name="connsiteX38" fmla="*/ 569216 w 990600"/>
              <a:gd name="connsiteY38" fmla="*/ 983149 h 990600"/>
              <a:gd name="connsiteX39" fmla="*/ 495300 w 990600"/>
              <a:gd name="connsiteY39" fmla="*/ 990600 h 990600"/>
              <a:gd name="connsiteX40" fmla="*/ 420957 w 990600"/>
              <a:gd name="connsiteY40" fmla="*/ 983106 h 990600"/>
              <a:gd name="connsiteX41" fmla="*/ 411130 w 990600"/>
              <a:gd name="connsiteY41" fmla="*/ 934431 h 990600"/>
              <a:gd name="connsiteX42" fmla="*/ 285751 w 990600"/>
              <a:gd name="connsiteY42" fmla="*/ 851324 h 990600"/>
              <a:gd name="connsiteX43" fmla="*/ 232786 w 990600"/>
              <a:gd name="connsiteY43" fmla="*/ 862017 h 990600"/>
              <a:gd name="connsiteX44" fmla="*/ 195512 w 990600"/>
              <a:gd name="connsiteY44" fmla="*/ 887148 h 990600"/>
              <a:gd name="connsiteX45" fmla="*/ 145070 w 990600"/>
              <a:gd name="connsiteY45" fmla="*/ 845530 h 990600"/>
              <a:gd name="connsiteX46" fmla="*/ 108168 w 990600"/>
              <a:gd name="connsiteY46" fmla="*/ 800805 h 990600"/>
              <a:gd name="connsiteX47" fmla="*/ 134992 w 990600"/>
              <a:gd name="connsiteY47" fmla="*/ 761020 h 990600"/>
              <a:gd name="connsiteX48" fmla="*/ 145685 w 990600"/>
              <a:gd name="connsiteY48" fmla="*/ 708055 h 990600"/>
              <a:gd name="connsiteX49" fmla="*/ 9613 w 990600"/>
              <a:gd name="connsiteY49" fmla="*/ 571983 h 990600"/>
              <a:gd name="connsiteX50" fmla="*/ 7768 w 990600"/>
              <a:gd name="connsiteY50" fmla="*/ 572356 h 990600"/>
              <a:gd name="connsiteX51" fmla="*/ 0 w 990600"/>
              <a:gd name="connsiteY51" fmla="*/ 495300 h 990600"/>
              <a:gd name="connsiteX52" fmla="*/ 7165 w 990600"/>
              <a:gd name="connsiteY52" fmla="*/ 424228 h 990600"/>
              <a:gd name="connsiteX53" fmla="*/ 56169 w 990600"/>
              <a:gd name="connsiteY53" fmla="*/ 414334 h 990600"/>
              <a:gd name="connsiteX54" fmla="*/ 139276 w 990600"/>
              <a:gd name="connsiteY54" fmla="*/ 288955 h 990600"/>
              <a:gd name="connsiteX55" fmla="*/ 128583 w 990600"/>
              <a:gd name="connsiteY55" fmla="*/ 235990 h 990600"/>
              <a:gd name="connsiteX56" fmla="*/ 102263 w 990600"/>
              <a:gd name="connsiteY56" fmla="*/ 196953 h 990600"/>
              <a:gd name="connsiteX57" fmla="*/ 145070 w 990600"/>
              <a:gd name="connsiteY57" fmla="*/ 145070 h 990600"/>
              <a:gd name="connsiteX58" fmla="*/ 191237 w 990600"/>
              <a:gd name="connsiteY58" fmla="*/ 106979 h 990600"/>
              <a:gd name="connsiteX59" fmla="*/ 232786 w 990600"/>
              <a:gd name="connsiteY59" fmla="*/ 134992 h 990600"/>
              <a:gd name="connsiteX60" fmla="*/ 285751 w 990600"/>
              <a:gd name="connsiteY60" fmla="*/ 145685 h 990600"/>
              <a:gd name="connsiteX61" fmla="*/ 421823 w 990600"/>
              <a:gd name="connsiteY61" fmla="*/ 9613 h 990600"/>
              <a:gd name="connsiteX62" fmla="*/ 421387 w 990600"/>
              <a:gd name="connsiteY62" fmla="*/ 7451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90600" h="990600">
                <a:moveTo>
                  <a:pt x="495300" y="397328"/>
                </a:moveTo>
                <a:cubicBezTo>
                  <a:pt x="441192" y="397328"/>
                  <a:pt x="397328" y="441192"/>
                  <a:pt x="397328" y="495300"/>
                </a:cubicBezTo>
                <a:cubicBezTo>
                  <a:pt x="397328" y="549408"/>
                  <a:pt x="441192" y="593272"/>
                  <a:pt x="495300" y="593272"/>
                </a:cubicBezTo>
                <a:cubicBezTo>
                  <a:pt x="549408" y="593272"/>
                  <a:pt x="593272" y="549408"/>
                  <a:pt x="593272" y="495300"/>
                </a:cubicBezTo>
                <a:cubicBezTo>
                  <a:pt x="593272" y="441192"/>
                  <a:pt x="549408" y="397328"/>
                  <a:pt x="495300" y="397328"/>
                </a:cubicBezTo>
                <a:close/>
                <a:moveTo>
                  <a:pt x="495300" y="286687"/>
                </a:moveTo>
                <a:cubicBezTo>
                  <a:pt x="610514" y="286687"/>
                  <a:pt x="703913" y="380086"/>
                  <a:pt x="703913" y="495300"/>
                </a:cubicBezTo>
                <a:cubicBezTo>
                  <a:pt x="703913" y="610514"/>
                  <a:pt x="610514" y="703913"/>
                  <a:pt x="495300" y="703913"/>
                </a:cubicBezTo>
                <a:cubicBezTo>
                  <a:pt x="380086" y="703913"/>
                  <a:pt x="286687" y="610514"/>
                  <a:pt x="286687" y="495300"/>
                </a:cubicBezTo>
                <a:cubicBezTo>
                  <a:pt x="286687" y="380086"/>
                  <a:pt x="380086" y="286687"/>
                  <a:pt x="495300" y="286687"/>
                </a:cubicBezTo>
                <a:close/>
                <a:moveTo>
                  <a:pt x="491466" y="204590"/>
                </a:moveTo>
                <a:cubicBezTo>
                  <a:pt x="330329" y="204590"/>
                  <a:pt x="199701" y="335218"/>
                  <a:pt x="199701" y="496355"/>
                </a:cubicBezTo>
                <a:cubicBezTo>
                  <a:pt x="199701" y="657492"/>
                  <a:pt x="330329" y="788120"/>
                  <a:pt x="491466" y="788120"/>
                </a:cubicBezTo>
                <a:cubicBezTo>
                  <a:pt x="652603" y="788120"/>
                  <a:pt x="783231" y="657492"/>
                  <a:pt x="783231" y="496355"/>
                </a:cubicBezTo>
                <a:cubicBezTo>
                  <a:pt x="783231" y="335218"/>
                  <a:pt x="652603" y="204590"/>
                  <a:pt x="491466" y="204590"/>
                </a:cubicBezTo>
                <a:close/>
                <a:moveTo>
                  <a:pt x="495300" y="0"/>
                </a:moveTo>
                <a:lnTo>
                  <a:pt x="569646" y="7495"/>
                </a:lnTo>
                <a:lnTo>
                  <a:pt x="579473" y="56169"/>
                </a:lnTo>
                <a:cubicBezTo>
                  <a:pt x="600130" y="105007"/>
                  <a:pt x="648489" y="139276"/>
                  <a:pt x="704851" y="139276"/>
                </a:cubicBezTo>
                <a:cubicBezTo>
                  <a:pt x="723639" y="139276"/>
                  <a:pt x="741537" y="135468"/>
                  <a:pt x="757816" y="128583"/>
                </a:cubicBezTo>
                <a:lnTo>
                  <a:pt x="795090" y="103452"/>
                </a:lnTo>
                <a:lnTo>
                  <a:pt x="845530" y="145070"/>
                </a:lnTo>
                <a:lnTo>
                  <a:pt x="884828" y="192699"/>
                </a:lnTo>
                <a:lnTo>
                  <a:pt x="884770" y="192738"/>
                </a:lnTo>
                <a:cubicBezTo>
                  <a:pt x="860146" y="217362"/>
                  <a:pt x="844915" y="251380"/>
                  <a:pt x="844915" y="288955"/>
                </a:cubicBezTo>
                <a:cubicBezTo>
                  <a:pt x="844915" y="364105"/>
                  <a:pt x="905837" y="425027"/>
                  <a:pt x="980987" y="425027"/>
                </a:cubicBezTo>
                <a:lnTo>
                  <a:pt x="983466" y="424527"/>
                </a:lnTo>
                <a:lnTo>
                  <a:pt x="990600" y="495300"/>
                </a:lnTo>
                <a:lnTo>
                  <a:pt x="982776" y="572916"/>
                </a:lnTo>
                <a:lnTo>
                  <a:pt x="934431" y="582676"/>
                </a:lnTo>
                <a:cubicBezTo>
                  <a:pt x="885593" y="603333"/>
                  <a:pt x="851324" y="651693"/>
                  <a:pt x="851324" y="708055"/>
                </a:cubicBezTo>
                <a:cubicBezTo>
                  <a:pt x="851324" y="726843"/>
                  <a:pt x="855132" y="744741"/>
                  <a:pt x="862018" y="761020"/>
                </a:cubicBezTo>
                <a:lnTo>
                  <a:pt x="885959" y="796530"/>
                </a:lnTo>
                <a:lnTo>
                  <a:pt x="845530" y="845530"/>
                </a:lnTo>
                <a:lnTo>
                  <a:pt x="799364" y="883621"/>
                </a:lnTo>
                <a:lnTo>
                  <a:pt x="757816" y="855608"/>
                </a:lnTo>
                <a:cubicBezTo>
                  <a:pt x="741537" y="848723"/>
                  <a:pt x="723639" y="844915"/>
                  <a:pt x="704851" y="844915"/>
                </a:cubicBezTo>
                <a:cubicBezTo>
                  <a:pt x="629701" y="844915"/>
                  <a:pt x="568779" y="905837"/>
                  <a:pt x="568779" y="980987"/>
                </a:cubicBezTo>
                <a:lnTo>
                  <a:pt x="569216" y="983149"/>
                </a:lnTo>
                <a:lnTo>
                  <a:pt x="495300" y="990600"/>
                </a:lnTo>
                <a:lnTo>
                  <a:pt x="420957" y="983106"/>
                </a:lnTo>
                <a:lnTo>
                  <a:pt x="411130" y="934431"/>
                </a:lnTo>
                <a:cubicBezTo>
                  <a:pt x="390473" y="885593"/>
                  <a:pt x="342114" y="851324"/>
                  <a:pt x="285751" y="851324"/>
                </a:cubicBezTo>
                <a:cubicBezTo>
                  <a:pt x="266964" y="851324"/>
                  <a:pt x="249066" y="855132"/>
                  <a:pt x="232786" y="862017"/>
                </a:cubicBezTo>
                <a:lnTo>
                  <a:pt x="195512" y="887148"/>
                </a:lnTo>
                <a:lnTo>
                  <a:pt x="145070" y="845530"/>
                </a:lnTo>
                <a:lnTo>
                  <a:pt x="108168" y="800805"/>
                </a:lnTo>
                <a:lnTo>
                  <a:pt x="134992" y="761020"/>
                </a:lnTo>
                <a:cubicBezTo>
                  <a:pt x="141878" y="744741"/>
                  <a:pt x="145685" y="726843"/>
                  <a:pt x="145685" y="708055"/>
                </a:cubicBezTo>
                <a:cubicBezTo>
                  <a:pt x="145685" y="632905"/>
                  <a:pt x="84763" y="571983"/>
                  <a:pt x="9613" y="571983"/>
                </a:cubicBezTo>
                <a:lnTo>
                  <a:pt x="7768" y="572356"/>
                </a:lnTo>
                <a:lnTo>
                  <a:pt x="0" y="495300"/>
                </a:lnTo>
                <a:lnTo>
                  <a:pt x="7165" y="424228"/>
                </a:lnTo>
                <a:lnTo>
                  <a:pt x="56169" y="414334"/>
                </a:lnTo>
                <a:cubicBezTo>
                  <a:pt x="105008" y="393677"/>
                  <a:pt x="139276" y="345318"/>
                  <a:pt x="139276" y="288955"/>
                </a:cubicBezTo>
                <a:cubicBezTo>
                  <a:pt x="139276" y="270168"/>
                  <a:pt x="135469" y="252269"/>
                  <a:pt x="128583" y="235990"/>
                </a:cubicBezTo>
                <a:lnTo>
                  <a:pt x="102263" y="196953"/>
                </a:lnTo>
                <a:lnTo>
                  <a:pt x="145070" y="145070"/>
                </a:lnTo>
                <a:lnTo>
                  <a:pt x="191237" y="106979"/>
                </a:lnTo>
                <a:lnTo>
                  <a:pt x="232786" y="134992"/>
                </a:lnTo>
                <a:cubicBezTo>
                  <a:pt x="249066" y="141877"/>
                  <a:pt x="266964" y="145685"/>
                  <a:pt x="285751" y="145685"/>
                </a:cubicBezTo>
                <a:cubicBezTo>
                  <a:pt x="360901" y="145685"/>
                  <a:pt x="421823" y="84763"/>
                  <a:pt x="421823" y="9613"/>
                </a:cubicBezTo>
                <a:lnTo>
                  <a:pt x="421387" y="7451"/>
                </a:lnTo>
                <a:close/>
              </a:path>
            </a:pathLst>
          </a:custGeom>
          <a:solidFill>
            <a:srgbClr val="00B0F0">
              <a:alpha val="2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Freeform 66"/>
          <p:cNvSpPr/>
          <p:nvPr/>
        </p:nvSpPr>
        <p:spPr bwMode="auto">
          <a:xfrm rot="21392933">
            <a:off x="8641308" y="4287368"/>
            <a:ext cx="540725" cy="540723"/>
          </a:xfrm>
          <a:custGeom>
            <a:avLst/>
            <a:gdLst>
              <a:gd name="connsiteX0" fmla="*/ 495300 w 990600"/>
              <a:gd name="connsiteY0" fmla="*/ 397328 h 990600"/>
              <a:gd name="connsiteX1" fmla="*/ 397328 w 990600"/>
              <a:gd name="connsiteY1" fmla="*/ 495300 h 990600"/>
              <a:gd name="connsiteX2" fmla="*/ 495300 w 990600"/>
              <a:gd name="connsiteY2" fmla="*/ 593272 h 990600"/>
              <a:gd name="connsiteX3" fmla="*/ 593272 w 990600"/>
              <a:gd name="connsiteY3" fmla="*/ 495300 h 990600"/>
              <a:gd name="connsiteX4" fmla="*/ 495300 w 990600"/>
              <a:gd name="connsiteY4" fmla="*/ 397328 h 990600"/>
              <a:gd name="connsiteX5" fmla="*/ 495300 w 990600"/>
              <a:gd name="connsiteY5" fmla="*/ 286687 h 990600"/>
              <a:gd name="connsiteX6" fmla="*/ 703913 w 990600"/>
              <a:gd name="connsiteY6" fmla="*/ 495300 h 990600"/>
              <a:gd name="connsiteX7" fmla="*/ 495300 w 990600"/>
              <a:gd name="connsiteY7" fmla="*/ 703913 h 990600"/>
              <a:gd name="connsiteX8" fmla="*/ 286687 w 990600"/>
              <a:gd name="connsiteY8" fmla="*/ 495300 h 990600"/>
              <a:gd name="connsiteX9" fmla="*/ 495300 w 990600"/>
              <a:gd name="connsiteY9" fmla="*/ 286687 h 990600"/>
              <a:gd name="connsiteX10" fmla="*/ 491466 w 990600"/>
              <a:gd name="connsiteY10" fmla="*/ 204590 h 990600"/>
              <a:gd name="connsiteX11" fmla="*/ 199701 w 990600"/>
              <a:gd name="connsiteY11" fmla="*/ 496355 h 990600"/>
              <a:gd name="connsiteX12" fmla="*/ 491466 w 990600"/>
              <a:gd name="connsiteY12" fmla="*/ 788120 h 990600"/>
              <a:gd name="connsiteX13" fmla="*/ 783231 w 990600"/>
              <a:gd name="connsiteY13" fmla="*/ 496355 h 990600"/>
              <a:gd name="connsiteX14" fmla="*/ 491466 w 990600"/>
              <a:gd name="connsiteY14" fmla="*/ 204590 h 990600"/>
              <a:gd name="connsiteX15" fmla="*/ 495300 w 990600"/>
              <a:gd name="connsiteY15" fmla="*/ 0 h 990600"/>
              <a:gd name="connsiteX16" fmla="*/ 569646 w 990600"/>
              <a:gd name="connsiteY16" fmla="*/ 7495 h 990600"/>
              <a:gd name="connsiteX17" fmla="*/ 579473 w 990600"/>
              <a:gd name="connsiteY17" fmla="*/ 56169 h 990600"/>
              <a:gd name="connsiteX18" fmla="*/ 704851 w 990600"/>
              <a:gd name="connsiteY18" fmla="*/ 139276 h 990600"/>
              <a:gd name="connsiteX19" fmla="*/ 757816 w 990600"/>
              <a:gd name="connsiteY19" fmla="*/ 128583 h 990600"/>
              <a:gd name="connsiteX20" fmla="*/ 795090 w 990600"/>
              <a:gd name="connsiteY20" fmla="*/ 103452 h 990600"/>
              <a:gd name="connsiteX21" fmla="*/ 845530 w 990600"/>
              <a:gd name="connsiteY21" fmla="*/ 145070 h 990600"/>
              <a:gd name="connsiteX22" fmla="*/ 884828 w 990600"/>
              <a:gd name="connsiteY22" fmla="*/ 192699 h 990600"/>
              <a:gd name="connsiteX23" fmla="*/ 884770 w 990600"/>
              <a:gd name="connsiteY23" fmla="*/ 192738 h 990600"/>
              <a:gd name="connsiteX24" fmla="*/ 844915 w 990600"/>
              <a:gd name="connsiteY24" fmla="*/ 288955 h 990600"/>
              <a:gd name="connsiteX25" fmla="*/ 980987 w 990600"/>
              <a:gd name="connsiteY25" fmla="*/ 425027 h 990600"/>
              <a:gd name="connsiteX26" fmla="*/ 983466 w 990600"/>
              <a:gd name="connsiteY26" fmla="*/ 424527 h 990600"/>
              <a:gd name="connsiteX27" fmla="*/ 990600 w 990600"/>
              <a:gd name="connsiteY27" fmla="*/ 495300 h 990600"/>
              <a:gd name="connsiteX28" fmla="*/ 982776 w 990600"/>
              <a:gd name="connsiteY28" fmla="*/ 572916 h 990600"/>
              <a:gd name="connsiteX29" fmla="*/ 934431 w 990600"/>
              <a:gd name="connsiteY29" fmla="*/ 582676 h 990600"/>
              <a:gd name="connsiteX30" fmla="*/ 851324 w 990600"/>
              <a:gd name="connsiteY30" fmla="*/ 708055 h 990600"/>
              <a:gd name="connsiteX31" fmla="*/ 862018 w 990600"/>
              <a:gd name="connsiteY31" fmla="*/ 761020 h 990600"/>
              <a:gd name="connsiteX32" fmla="*/ 885959 w 990600"/>
              <a:gd name="connsiteY32" fmla="*/ 796530 h 990600"/>
              <a:gd name="connsiteX33" fmla="*/ 845530 w 990600"/>
              <a:gd name="connsiteY33" fmla="*/ 845530 h 990600"/>
              <a:gd name="connsiteX34" fmla="*/ 799364 w 990600"/>
              <a:gd name="connsiteY34" fmla="*/ 883621 h 990600"/>
              <a:gd name="connsiteX35" fmla="*/ 757816 w 990600"/>
              <a:gd name="connsiteY35" fmla="*/ 855608 h 990600"/>
              <a:gd name="connsiteX36" fmla="*/ 704851 w 990600"/>
              <a:gd name="connsiteY36" fmla="*/ 844915 h 990600"/>
              <a:gd name="connsiteX37" fmla="*/ 568779 w 990600"/>
              <a:gd name="connsiteY37" fmla="*/ 980987 h 990600"/>
              <a:gd name="connsiteX38" fmla="*/ 569216 w 990600"/>
              <a:gd name="connsiteY38" fmla="*/ 983149 h 990600"/>
              <a:gd name="connsiteX39" fmla="*/ 495300 w 990600"/>
              <a:gd name="connsiteY39" fmla="*/ 990600 h 990600"/>
              <a:gd name="connsiteX40" fmla="*/ 420957 w 990600"/>
              <a:gd name="connsiteY40" fmla="*/ 983106 h 990600"/>
              <a:gd name="connsiteX41" fmla="*/ 411130 w 990600"/>
              <a:gd name="connsiteY41" fmla="*/ 934431 h 990600"/>
              <a:gd name="connsiteX42" fmla="*/ 285751 w 990600"/>
              <a:gd name="connsiteY42" fmla="*/ 851324 h 990600"/>
              <a:gd name="connsiteX43" fmla="*/ 232786 w 990600"/>
              <a:gd name="connsiteY43" fmla="*/ 862017 h 990600"/>
              <a:gd name="connsiteX44" fmla="*/ 195512 w 990600"/>
              <a:gd name="connsiteY44" fmla="*/ 887148 h 990600"/>
              <a:gd name="connsiteX45" fmla="*/ 145070 w 990600"/>
              <a:gd name="connsiteY45" fmla="*/ 845530 h 990600"/>
              <a:gd name="connsiteX46" fmla="*/ 108168 w 990600"/>
              <a:gd name="connsiteY46" fmla="*/ 800805 h 990600"/>
              <a:gd name="connsiteX47" fmla="*/ 134992 w 990600"/>
              <a:gd name="connsiteY47" fmla="*/ 761020 h 990600"/>
              <a:gd name="connsiteX48" fmla="*/ 145685 w 990600"/>
              <a:gd name="connsiteY48" fmla="*/ 708055 h 990600"/>
              <a:gd name="connsiteX49" fmla="*/ 9613 w 990600"/>
              <a:gd name="connsiteY49" fmla="*/ 571983 h 990600"/>
              <a:gd name="connsiteX50" fmla="*/ 7768 w 990600"/>
              <a:gd name="connsiteY50" fmla="*/ 572356 h 990600"/>
              <a:gd name="connsiteX51" fmla="*/ 0 w 990600"/>
              <a:gd name="connsiteY51" fmla="*/ 495300 h 990600"/>
              <a:gd name="connsiteX52" fmla="*/ 7165 w 990600"/>
              <a:gd name="connsiteY52" fmla="*/ 424228 h 990600"/>
              <a:gd name="connsiteX53" fmla="*/ 56169 w 990600"/>
              <a:gd name="connsiteY53" fmla="*/ 414334 h 990600"/>
              <a:gd name="connsiteX54" fmla="*/ 139276 w 990600"/>
              <a:gd name="connsiteY54" fmla="*/ 288955 h 990600"/>
              <a:gd name="connsiteX55" fmla="*/ 128583 w 990600"/>
              <a:gd name="connsiteY55" fmla="*/ 235990 h 990600"/>
              <a:gd name="connsiteX56" fmla="*/ 102263 w 990600"/>
              <a:gd name="connsiteY56" fmla="*/ 196953 h 990600"/>
              <a:gd name="connsiteX57" fmla="*/ 145070 w 990600"/>
              <a:gd name="connsiteY57" fmla="*/ 145070 h 990600"/>
              <a:gd name="connsiteX58" fmla="*/ 191237 w 990600"/>
              <a:gd name="connsiteY58" fmla="*/ 106979 h 990600"/>
              <a:gd name="connsiteX59" fmla="*/ 232786 w 990600"/>
              <a:gd name="connsiteY59" fmla="*/ 134992 h 990600"/>
              <a:gd name="connsiteX60" fmla="*/ 285751 w 990600"/>
              <a:gd name="connsiteY60" fmla="*/ 145685 h 990600"/>
              <a:gd name="connsiteX61" fmla="*/ 421823 w 990600"/>
              <a:gd name="connsiteY61" fmla="*/ 9613 h 990600"/>
              <a:gd name="connsiteX62" fmla="*/ 421387 w 990600"/>
              <a:gd name="connsiteY62" fmla="*/ 7451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90600" h="990600">
                <a:moveTo>
                  <a:pt x="495300" y="397328"/>
                </a:moveTo>
                <a:cubicBezTo>
                  <a:pt x="441192" y="397328"/>
                  <a:pt x="397328" y="441192"/>
                  <a:pt x="397328" y="495300"/>
                </a:cubicBezTo>
                <a:cubicBezTo>
                  <a:pt x="397328" y="549408"/>
                  <a:pt x="441192" y="593272"/>
                  <a:pt x="495300" y="593272"/>
                </a:cubicBezTo>
                <a:cubicBezTo>
                  <a:pt x="549408" y="593272"/>
                  <a:pt x="593272" y="549408"/>
                  <a:pt x="593272" y="495300"/>
                </a:cubicBezTo>
                <a:cubicBezTo>
                  <a:pt x="593272" y="441192"/>
                  <a:pt x="549408" y="397328"/>
                  <a:pt x="495300" y="397328"/>
                </a:cubicBezTo>
                <a:close/>
                <a:moveTo>
                  <a:pt x="495300" y="286687"/>
                </a:moveTo>
                <a:cubicBezTo>
                  <a:pt x="610514" y="286687"/>
                  <a:pt x="703913" y="380086"/>
                  <a:pt x="703913" y="495300"/>
                </a:cubicBezTo>
                <a:cubicBezTo>
                  <a:pt x="703913" y="610514"/>
                  <a:pt x="610514" y="703913"/>
                  <a:pt x="495300" y="703913"/>
                </a:cubicBezTo>
                <a:cubicBezTo>
                  <a:pt x="380086" y="703913"/>
                  <a:pt x="286687" y="610514"/>
                  <a:pt x="286687" y="495300"/>
                </a:cubicBezTo>
                <a:cubicBezTo>
                  <a:pt x="286687" y="380086"/>
                  <a:pt x="380086" y="286687"/>
                  <a:pt x="495300" y="286687"/>
                </a:cubicBezTo>
                <a:close/>
                <a:moveTo>
                  <a:pt x="491466" y="204590"/>
                </a:moveTo>
                <a:cubicBezTo>
                  <a:pt x="330329" y="204590"/>
                  <a:pt x="199701" y="335218"/>
                  <a:pt x="199701" y="496355"/>
                </a:cubicBezTo>
                <a:cubicBezTo>
                  <a:pt x="199701" y="657492"/>
                  <a:pt x="330329" y="788120"/>
                  <a:pt x="491466" y="788120"/>
                </a:cubicBezTo>
                <a:cubicBezTo>
                  <a:pt x="652603" y="788120"/>
                  <a:pt x="783231" y="657492"/>
                  <a:pt x="783231" y="496355"/>
                </a:cubicBezTo>
                <a:cubicBezTo>
                  <a:pt x="783231" y="335218"/>
                  <a:pt x="652603" y="204590"/>
                  <a:pt x="491466" y="204590"/>
                </a:cubicBezTo>
                <a:close/>
                <a:moveTo>
                  <a:pt x="495300" y="0"/>
                </a:moveTo>
                <a:lnTo>
                  <a:pt x="569646" y="7495"/>
                </a:lnTo>
                <a:lnTo>
                  <a:pt x="579473" y="56169"/>
                </a:lnTo>
                <a:cubicBezTo>
                  <a:pt x="600130" y="105007"/>
                  <a:pt x="648489" y="139276"/>
                  <a:pt x="704851" y="139276"/>
                </a:cubicBezTo>
                <a:cubicBezTo>
                  <a:pt x="723639" y="139276"/>
                  <a:pt x="741537" y="135468"/>
                  <a:pt x="757816" y="128583"/>
                </a:cubicBezTo>
                <a:lnTo>
                  <a:pt x="795090" y="103452"/>
                </a:lnTo>
                <a:lnTo>
                  <a:pt x="845530" y="145070"/>
                </a:lnTo>
                <a:lnTo>
                  <a:pt x="884828" y="192699"/>
                </a:lnTo>
                <a:lnTo>
                  <a:pt x="884770" y="192738"/>
                </a:lnTo>
                <a:cubicBezTo>
                  <a:pt x="860146" y="217362"/>
                  <a:pt x="844915" y="251380"/>
                  <a:pt x="844915" y="288955"/>
                </a:cubicBezTo>
                <a:cubicBezTo>
                  <a:pt x="844915" y="364105"/>
                  <a:pt x="905837" y="425027"/>
                  <a:pt x="980987" y="425027"/>
                </a:cubicBezTo>
                <a:lnTo>
                  <a:pt x="983466" y="424527"/>
                </a:lnTo>
                <a:lnTo>
                  <a:pt x="990600" y="495300"/>
                </a:lnTo>
                <a:lnTo>
                  <a:pt x="982776" y="572916"/>
                </a:lnTo>
                <a:lnTo>
                  <a:pt x="934431" y="582676"/>
                </a:lnTo>
                <a:cubicBezTo>
                  <a:pt x="885593" y="603333"/>
                  <a:pt x="851324" y="651693"/>
                  <a:pt x="851324" y="708055"/>
                </a:cubicBezTo>
                <a:cubicBezTo>
                  <a:pt x="851324" y="726843"/>
                  <a:pt x="855132" y="744741"/>
                  <a:pt x="862018" y="761020"/>
                </a:cubicBezTo>
                <a:lnTo>
                  <a:pt x="885959" y="796530"/>
                </a:lnTo>
                <a:lnTo>
                  <a:pt x="845530" y="845530"/>
                </a:lnTo>
                <a:lnTo>
                  <a:pt x="799364" y="883621"/>
                </a:lnTo>
                <a:lnTo>
                  <a:pt x="757816" y="855608"/>
                </a:lnTo>
                <a:cubicBezTo>
                  <a:pt x="741537" y="848723"/>
                  <a:pt x="723639" y="844915"/>
                  <a:pt x="704851" y="844915"/>
                </a:cubicBezTo>
                <a:cubicBezTo>
                  <a:pt x="629701" y="844915"/>
                  <a:pt x="568779" y="905837"/>
                  <a:pt x="568779" y="980987"/>
                </a:cubicBezTo>
                <a:lnTo>
                  <a:pt x="569216" y="983149"/>
                </a:lnTo>
                <a:lnTo>
                  <a:pt x="495300" y="990600"/>
                </a:lnTo>
                <a:lnTo>
                  <a:pt x="420957" y="983106"/>
                </a:lnTo>
                <a:lnTo>
                  <a:pt x="411130" y="934431"/>
                </a:lnTo>
                <a:cubicBezTo>
                  <a:pt x="390473" y="885593"/>
                  <a:pt x="342114" y="851324"/>
                  <a:pt x="285751" y="851324"/>
                </a:cubicBezTo>
                <a:cubicBezTo>
                  <a:pt x="266964" y="851324"/>
                  <a:pt x="249066" y="855132"/>
                  <a:pt x="232786" y="862017"/>
                </a:cubicBezTo>
                <a:lnTo>
                  <a:pt x="195512" y="887148"/>
                </a:lnTo>
                <a:lnTo>
                  <a:pt x="145070" y="845530"/>
                </a:lnTo>
                <a:lnTo>
                  <a:pt x="108168" y="800805"/>
                </a:lnTo>
                <a:lnTo>
                  <a:pt x="134992" y="761020"/>
                </a:lnTo>
                <a:cubicBezTo>
                  <a:pt x="141878" y="744741"/>
                  <a:pt x="145685" y="726843"/>
                  <a:pt x="145685" y="708055"/>
                </a:cubicBezTo>
                <a:cubicBezTo>
                  <a:pt x="145685" y="632905"/>
                  <a:pt x="84763" y="571983"/>
                  <a:pt x="9613" y="571983"/>
                </a:cubicBezTo>
                <a:lnTo>
                  <a:pt x="7768" y="572356"/>
                </a:lnTo>
                <a:lnTo>
                  <a:pt x="0" y="495300"/>
                </a:lnTo>
                <a:lnTo>
                  <a:pt x="7165" y="424228"/>
                </a:lnTo>
                <a:lnTo>
                  <a:pt x="56169" y="414334"/>
                </a:lnTo>
                <a:cubicBezTo>
                  <a:pt x="105008" y="393677"/>
                  <a:pt x="139276" y="345318"/>
                  <a:pt x="139276" y="288955"/>
                </a:cubicBezTo>
                <a:cubicBezTo>
                  <a:pt x="139276" y="270168"/>
                  <a:pt x="135469" y="252269"/>
                  <a:pt x="128583" y="235990"/>
                </a:cubicBezTo>
                <a:lnTo>
                  <a:pt x="102263" y="196953"/>
                </a:lnTo>
                <a:lnTo>
                  <a:pt x="145070" y="145070"/>
                </a:lnTo>
                <a:lnTo>
                  <a:pt x="191237" y="106979"/>
                </a:lnTo>
                <a:lnTo>
                  <a:pt x="232786" y="134992"/>
                </a:lnTo>
                <a:cubicBezTo>
                  <a:pt x="249066" y="141877"/>
                  <a:pt x="266964" y="145685"/>
                  <a:pt x="285751" y="145685"/>
                </a:cubicBezTo>
                <a:cubicBezTo>
                  <a:pt x="360901" y="145685"/>
                  <a:pt x="421823" y="84763"/>
                  <a:pt x="421823" y="9613"/>
                </a:cubicBezTo>
                <a:lnTo>
                  <a:pt x="421387" y="7451"/>
                </a:lnTo>
                <a:close/>
              </a:path>
            </a:pathLst>
          </a:custGeom>
          <a:solidFill>
            <a:srgbClr val="00B0F0">
              <a:alpha val="2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Freeform 67"/>
          <p:cNvSpPr/>
          <p:nvPr/>
        </p:nvSpPr>
        <p:spPr bwMode="auto">
          <a:xfrm rot="19894211">
            <a:off x="8917836" y="4781009"/>
            <a:ext cx="425120" cy="425120"/>
          </a:xfrm>
          <a:custGeom>
            <a:avLst/>
            <a:gdLst>
              <a:gd name="connsiteX0" fmla="*/ 495300 w 990600"/>
              <a:gd name="connsiteY0" fmla="*/ 397328 h 990600"/>
              <a:gd name="connsiteX1" fmla="*/ 397328 w 990600"/>
              <a:gd name="connsiteY1" fmla="*/ 495300 h 990600"/>
              <a:gd name="connsiteX2" fmla="*/ 495300 w 990600"/>
              <a:gd name="connsiteY2" fmla="*/ 593272 h 990600"/>
              <a:gd name="connsiteX3" fmla="*/ 593272 w 990600"/>
              <a:gd name="connsiteY3" fmla="*/ 495300 h 990600"/>
              <a:gd name="connsiteX4" fmla="*/ 495300 w 990600"/>
              <a:gd name="connsiteY4" fmla="*/ 397328 h 990600"/>
              <a:gd name="connsiteX5" fmla="*/ 495300 w 990600"/>
              <a:gd name="connsiteY5" fmla="*/ 286687 h 990600"/>
              <a:gd name="connsiteX6" fmla="*/ 703913 w 990600"/>
              <a:gd name="connsiteY6" fmla="*/ 495300 h 990600"/>
              <a:gd name="connsiteX7" fmla="*/ 495300 w 990600"/>
              <a:gd name="connsiteY7" fmla="*/ 703913 h 990600"/>
              <a:gd name="connsiteX8" fmla="*/ 286687 w 990600"/>
              <a:gd name="connsiteY8" fmla="*/ 495300 h 990600"/>
              <a:gd name="connsiteX9" fmla="*/ 495300 w 990600"/>
              <a:gd name="connsiteY9" fmla="*/ 286687 h 990600"/>
              <a:gd name="connsiteX10" fmla="*/ 491466 w 990600"/>
              <a:gd name="connsiteY10" fmla="*/ 204590 h 990600"/>
              <a:gd name="connsiteX11" fmla="*/ 199701 w 990600"/>
              <a:gd name="connsiteY11" fmla="*/ 496355 h 990600"/>
              <a:gd name="connsiteX12" fmla="*/ 491466 w 990600"/>
              <a:gd name="connsiteY12" fmla="*/ 788120 h 990600"/>
              <a:gd name="connsiteX13" fmla="*/ 783231 w 990600"/>
              <a:gd name="connsiteY13" fmla="*/ 496355 h 990600"/>
              <a:gd name="connsiteX14" fmla="*/ 491466 w 990600"/>
              <a:gd name="connsiteY14" fmla="*/ 204590 h 990600"/>
              <a:gd name="connsiteX15" fmla="*/ 495300 w 990600"/>
              <a:gd name="connsiteY15" fmla="*/ 0 h 990600"/>
              <a:gd name="connsiteX16" fmla="*/ 569646 w 990600"/>
              <a:gd name="connsiteY16" fmla="*/ 7495 h 990600"/>
              <a:gd name="connsiteX17" fmla="*/ 579473 w 990600"/>
              <a:gd name="connsiteY17" fmla="*/ 56169 h 990600"/>
              <a:gd name="connsiteX18" fmla="*/ 704851 w 990600"/>
              <a:gd name="connsiteY18" fmla="*/ 139276 h 990600"/>
              <a:gd name="connsiteX19" fmla="*/ 757816 w 990600"/>
              <a:gd name="connsiteY19" fmla="*/ 128583 h 990600"/>
              <a:gd name="connsiteX20" fmla="*/ 795090 w 990600"/>
              <a:gd name="connsiteY20" fmla="*/ 103452 h 990600"/>
              <a:gd name="connsiteX21" fmla="*/ 845530 w 990600"/>
              <a:gd name="connsiteY21" fmla="*/ 145070 h 990600"/>
              <a:gd name="connsiteX22" fmla="*/ 884828 w 990600"/>
              <a:gd name="connsiteY22" fmla="*/ 192699 h 990600"/>
              <a:gd name="connsiteX23" fmla="*/ 884770 w 990600"/>
              <a:gd name="connsiteY23" fmla="*/ 192738 h 990600"/>
              <a:gd name="connsiteX24" fmla="*/ 844915 w 990600"/>
              <a:gd name="connsiteY24" fmla="*/ 288955 h 990600"/>
              <a:gd name="connsiteX25" fmla="*/ 980987 w 990600"/>
              <a:gd name="connsiteY25" fmla="*/ 425027 h 990600"/>
              <a:gd name="connsiteX26" fmla="*/ 983466 w 990600"/>
              <a:gd name="connsiteY26" fmla="*/ 424527 h 990600"/>
              <a:gd name="connsiteX27" fmla="*/ 990600 w 990600"/>
              <a:gd name="connsiteY27" fmla="*/ 495300 h 990600"/>
              <a:gd name="connsiteX28" fmla="*/ 982776 w 990600"/>
              <a:gd name="connsiteY28" fmla="*/ 572916 h 990600"/>
              <a:gd name="connsiteX29" fmla="*/ 934431 w 990600"/>
              <a:gd name="connsiteY29" fmla="*/ 582676 h 990600"/>
              <a:gd name="connsiteX30" fmla="*/ 851324 w 990600"/>
              <a:gd name="connsiteY30" fmla="*/ 708055 h 990600"/>
              <a:gd name="connsiteX31" fmla="*/ 862018 w 990600"/>
              <a:gd name="connsiteY31" fmla="*/ 761020 h 990600"/>
              <a:gd name="connsiteX32" fmla="*/ 885959 w 990600"/>
              <a:gd name="connsiteY32" fmla="*/ 796530 h 990600"/>
              <a:gd name="connsiteX33" fmla="*/ 845530 w 990600"/>
              <a:gd name="connsiteY33" fmla="*/ 845530 h 990600"/>
              <a:gd name="connsiteX34" fmla="*/ 799364 w 990600"/>
              <a:gd name="connsiteY34" fmla="*/ 883621 h 990600"/>
              <a:gd name="connsiteX35" fmla="*/ 757816 w 990600"/>
              <a:gd name="connsiteY35" fmla="*/ 855608 h 990600"/>
              <a:gd name="connsiteX36" fmla="*/ 704851 w 990600"/>
              <a:gd name="connsiteY36" fmla="*/ 844915 h 990600"/>
              <a:gd name="connsiteX37" fmla="*/ 568779 w 990600"/>
              <a:gd name="connsiteY37" fmla="*/ 980987 h 990600"/>
              <a:gd name="connsiteX38" fmla="*/ 569216 w 990600"/>
              <a:gd name="connsiteY38" fmla="*/ 983149 h 990600"/>
              <a:gd name="connsiteX39" fmla="*/ 495300 w 990600"/>
              <a:gd name="connsiteY39" fmla="*/ 990600 h 990600"/>
              <a:gd name="connsiteX40" fmla="*/ 420957 w 990600"/>
              <a:gd name="connsiteY40" fmla="*/ 983106 h 990600"/>
              <a:gd name="connsiteX41" fmla="*/ 411130 w 990600"/>
              <a:gd name="connsiteY41" fmla="*/ 934431 h 990600"/>
              <a:gd name="connsiteX42" fmla="*/ 285751 w 990600"/>
              <a:gd name="connsiteY42" fmla="*/ 851324 h 990600"/>
              <a:gd name="connsiteX43" fmla="*/ 232786 w 990600"/>
              <a:gd name="connsiteY43" fmla="*/ 862017 h 990600"/>
              <a:gd name="connsiteX44" fmla="*/ 195512 w 990600"/>
              <a:gd name="connsiteY44" fmla="*/ 887148 h 990600"/>
              <a:gd name="connsiteX45" fmla="*/ 145070 w 990600"/>
              <a:gd name="connsiteY45" fmla="*/ 845530 h 990600"/>
              <a:gd name="connsiteX46" fmla="*/ 108168 w 990600"/>
              <a:gd name="connsiteY46" fmla="*/ 800805 h 990600"/>
              <a:gd name="connsiteX47" fmla="*/ 134992 w 990600"/>
              <a:gd name="connsiteY47" fmla="*/ 761020 h 990600"/>
              <a:gd name="connsiteX48" fmla="*/ 145685 w 990600"/>
              <a:gd name="connsiteY48" fmla="*/ 708055 h 990600"/>
              <a:gd name="connsiteX49" fmla="*/ 9613 w 990600"/>
              <a:gd name="connsiteY49" fmla="*/ 571983 h 990600"/>
              <a:gd name="connsiteX50" fmla="*/ 7768 w 990600"/>
              <a:gd name="connsiteY50" fmla="*/ 572356 h 990600"/>
              <a:gd name="connsiteX51" fmla="*/ 0 w 990600"/>
              <a:gd name="connsiteY51" fmla="*/ 495300 h 990600"/>
              <a:gd name="connsiteX52" fmla="*/ 7165 w 990600"/>
              <a:gd name="connsiteY52" fmla="*/ 424228 h 990600"/>
              <a:gd name="connsiteX53" fmla="*/ 56169 w 990600"/>
              <a:gd name="connsiteY53" fmla="*/ 414334 h 990600"/>
              <a:gd name="connsiteX54" fmla="*/ 139276 w 990600"/>
              <a:gd name="connsiteY54" fmla="*/ 288955 h 990600"/>
              <a:gd name="connsiteX55" fmla="*/ 128583 w 990600"/>
              <a:gd name="connsiteY55" fmla="*/ 235990 h 990600"/>
              <a:gd name="connsiteX56" fmla="*/ 102263 w 990600"/>
              <a:gd name="connsiteY56" fmla="*/ 196953 h 990600"/>
              <a:gd name="connsiteX57" fmla="*/ 145070 w 990600"/>
              <a:gd name="connsiteY57" fmla="*/ 145070 h 990600"/>
              <a:gd name="connsiteX58" fmla="*/ 191237 w 990600"/>
              <a:gd name="connsiteY58" fmla="*/ 106979 h 990600"/>
              <a:gd name="connsiteX59" fmla="*/ 232786 w 990600"/>
              <a:gd name="connsiteY59" fmla="*/ 134992 h 990600"/>
              <a:gd name="connsiteX60" fmla="*/ 285751 w 990600"/>
              <a:gd name="connsiteY60" fmla="*/ 145685 h 990600"/>
              <a:gd name="connsiteX61" fmla="*/ 421823 w 990600"/>
              <a:gd name="connsiteY61" fmla="*/ 9613 h 990600"/>
              <a:gd name="connsiteX62" fmla="*/ 421387 w 990600"/>
              <a:gd name="connsiteY62" fmla="*/ 7451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90600" h="990600">
                <a:moveTo>
                  <a:pt x="495300" y="397328"/>
                </a:moveTo>
                <a:cubicBezTo>
                  <a:pt x="441192" y="397328"/>
                  <a:pt x="397328" y="441192"/>
                  <a:pt x="397328" y="495300"/>
                </a:cubicBezTo>
                <a:cubicBezTo>
                  <a:pt x="397328" y="549408"/>
                  <a:pt x="441192" y="593272"/>
                  <a:pt x="495300" y="593272"/>
                </a:cubicBezTo>
                <a:cubicBezTo>
                  <a:pt x="549408" y="593272"/>
                  <a:pt x="593272" y="549408"/>
                  <a:pt x="593272" y="495300"/>
                </a:cubicBezTo>
                <a:cubicBezTo>
                  <a:pt x="593272" y="441192"/>
                  <a:pt x="549408" y="397328"/>
                  <a:pt x="495300" y="397328"/>
                </a:cubicBezTo>
                <a:close/>
                <a:moveTo>
                  <a:pt x="495300" y="286687"/>
                </a:moveTo>
                <a:cubicBezTo>
                  <a:pt x="610514" y="286687"/>
                  <a:pt x="703913" y="380086"/>
                  <a:pt x="703913" y="495300"/>
                </a:cubicBezTo>
                <a:cubicBezTo>
                  <a:pt x="703913" y="610514"/>
                  <a:pt x="610514" y="703913"/>
                  <a:pt x="495300" y="703913"/>
                </a:cubicBezTo>
                <a:cubicBezTo>
                  <a:pt x="380086" y="703913"/>
                  <a:pt x="286687" y="610514"/>
                  <a:pt x="286687" y="495300"/>
                </a:cubicBezTo>
                <a:cubicBezTo>
                  <a:pt x="286687" y="380086"/>
                  <a:pt x="380086" y="286687"/>
                  <a:pt x="495300" y="286687"/>
                </a:cubicBezTo>
                <a:close/>
                <a:moveTo>
                  <a:pt x="491466" y="204590"/>
                </a:moveTo>
                <a:cubicBezTo>
                  <a:pt x="330329" y="204590"/>
                  <a:pt x="199701" y="335218"/>
                  <a:pt x="199701" y="496355"/>
                </a:cubicBezTo>
                <a:cubicBezTo>
                  <a:pt x="199701" y="657492"/>
                  <a:pt x="330329" y="788120"/>
                  <a:pt x="491466" y="788120"/>
                </a:cubicBezTo>
                <a:cubicBezTo>
                  <a:pt x="652603" y="788120"/>
                  <a:pt x="783231" y="657492"/>
                  <a:pt x="783231" y="496355"/>
                </a:cubicBezTo>
                <a:cubicBezTo>
                  <a:pt x="783231" y="335218"/>
                  <a:pt x="652603" y="204590"/>
                  <a:pt x="491466" y="204590"/>
                </a:cubicBezTo>
                <a:close/>
                <a:moveTo>
                  <a:pt x="495300" y="0"/>
                </a:moveTo>
                <a:lnTo>
                  <a:pt x="569646" y="7495"/>
                </a:lnTo>
                <a:lnTo>
                  <a:pt x="579473" y="56169"/>
                </a:lnTo>
                <a:cubicBezTo>
                  <a:pt x="600130" y="105007"/>
                  <a:pt x="648489" y="139276"/>
                  <a:pt x="704851" y="139276"/>
                </a:cubicBezTo>
                <a:cubicBezTo>
                  <a:pt x="723639" y="139276"/>
                  <a:pt x="741537" y="135468"/>
                  <a:pt x="757816" y="128583"/>
                </a:cubicBezTo>
                <a:lnTo>
                  <a:pt x="795090" y="103452"/>
                </a:lnTo>
                <a:lnTo>
                  <a:pt x="845530" y="145070"/>
                </a:lnTo>
                <a:lnTo>
                  <a:pt x="884828" y="192699"/>
                </a:lnTo>
                <a:lnTo>
                  <a:pt x="884770" y="192738"/>
                </a:lnTo>
                <a:cubicBezTo>
                  <a:pt x="860146" y="217362"/>
                  <a:pt x="844915" y="251380"/>
                  <a:pt x="844915" y="288955"/>
                </a:cubicBezTo>
                <a:cubicBezTo>
                  <a:pt x="844915" y="364105"/>
                  <a:pt x="905837" y="425027"/>
                  <a:pt x="980987" y="425027"/>
                </a:cubicBezTo>
                <a:lnTo>
                  <a:pt x="983466" y="424527"/>
                </a:lnTo>
                <a:lnTo>
                  <a:pt x="990600" y="495300"/>
                </a:lnTo>
                <a:lnTo>
                  <a:pt x="982776" y="572916"/>
                </a:lnTo>
                <a:lnTo>
                  <a:pt x="934431" y="582676"/>
                </a:lnTo>
                <a:cubicBezTo>
                  <a:pt x="885593" y="603333"/>
                  <a:pt x="851324" y="651693"/>
                  <a:pt x="851324" y="708055"/>
                </a:cubicBezTo>
                <a:cubicBezTo>
                  <a:pt x="851324" y="726843"/>
                  <a:pt x="855132" y="744741"/>
                  <a:pt x="862018" y="761020"/>
                </a:cubicBezTo>
                <a:lnTo>
                  <a:pt x="885959" y="796530"/>
                </a:lnTo>
                <a:lnTo>
                  <a:pt x="845530" y="845530"/>
                </a:lnTo>
                <a:lnTo>
                  <a:pt x="799364" y="883621"/>
                </a:lnTo>
                <a:lnTo>
                  <a:pt x="757816" y="855608"/>
                </a:lnTo>
                <a:cubicBezTo>
                  <a:pt x="741537" y="848723"/>
                  <a:pt x="723639" y="844915"/>
                  <a:pt x="704851" y="844915"/>
                </a:cubicBezTo>
                <a:cubicBezTo>
                  <a:pt x="629701" y="844915"/>
                  <a:pt x="568779" y="905837"/>
                  <a:pt x="568779" y="980987"/>
                </a:cubicBezTo>
                <a:lnTo>
                  <a:pt x="569216" y="983149"/>
                </a:lnTo>
                <a:lnTo>
                  <a:pt x="495300" y="990600"/>
                </a:lnTo>
                <a:lnTo>
                  <a:pt x="420957" y="983106"/>
                </a:lnTo>
                <a:lnTo>
                  <a:pt x="411130" y="934431"/>
                </a:lnTo>
                <a:cubicBezTo>
                  <a:pt x="390473" y="885593"/>
                  <a:pt x="342114" y="851324"/>
                  <a:pt x="285751" y="851324"/>
                </a:cubicBezTo>
                <a:cubicBezTo>
                  <a:pt x="266964" y="851324"/>
                  <a:pt x="249066" y="855132"/>
                  <a:pt x="232786" y="862017"/>
                </a:cubicBezTo>
                <a:lnTo>
                  <a:pt x="195512" y="887148"/>
                </a:lnTo>
                <a:lnTo>
                  <a:pt x="145070" y="845530"/>
                </a:lnTo>
                <a:lnTo>
                  <a:pt x="108168" y="800805"/>
                </a:lnTo>
                <a:lnTo>
                  <a:pt x="134992" y="761020"/>
                </a:lnTo>
                <a:cubicBezTo>
                  <a:pt x="141878" y="744741"/>
                  <a:pt x="145685" y="726843"/>
                  <a:pt x="145685" y="708055"/>
                </a:cubicBezTo>
                <a:cubicBezTo>
                  <a:pt x="145685" y="632905"/>
                  <a:pt x="84763" y="571983"/>
                  <a:pt x="9613" y="571983"/>
                </a:cubicBezTo>
                <a:lnTo>
                  <a:pt x="7768" y="572356"/>
                </a:lnTo>
                <a:lnTo>
                  <a:pt x="0" y="495300"/>
                </a:lnTo>
                <a:lnTo>
                  <a:pt x="7165" y="424228"/>
                </a:lnTo>
                <a:lnTo>
                  <a:pt x="56169" y="414334"/>
                </a:lnTo>
                <a:cubicBezTo>
                  <a:pt x="105008" y="393677"/>
                  <a:pt x="139276" y="345318"/>
                  <a:pt x="139276" y="288955"/>
                </a:cubicBezTo>
                <a:cubicBezTo>
                  <a:pt x="139276" y="270168"/>
                  <a:pt x="135469" y="252269"/>
                  <a:pt x="128583" y="235990"/>
                </a:cubicBezTo>
                <a:lnTo>
                  <a:pt x="102263" y="196953"/>
                </a:lnTo>
                <a:lnTo>
                  <a:pt x="145070" y="145070"/>
                </a:lnTo>
                <a:lnTo>
                  <a:pt x="191237" y="106979"/>
                </a:lnTo>
                <a:lnTo>
                  <a:pt x="232786" y="134992"/>
                </a:lnTo>
                <a:cubicBezTo>
                  <a:pt x="249066" y="141877"/>
                  <a:pt x="266964" y="145685"/>
                  <a:pt x="285751" y="145685"/>
                </a:cubicBezTo>
                <a:cubicBezTo>
                  <a:pt x="360901" y="145685"/>
                  <a:pt x="421823" y="84763"/>
                  <a:pt x="421823" y="9613"/>
                </a:cubicBezTo>
                <a:lnTo>
                  <a:pt x="421387" y="7451"/>
                </a:lnTo>
                <a:close/>
              </a:path>
            </a:pathLst>
          </a:custGeom>
          <a:solidFill>
            <a:srgbClr val="00B0F0">
              <a:alpha val="2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Freeform 68"/>
          <p:cNvSpPr/>
          <p:nvPr/>
        </p:nvSpPr>
        <p:spPr bwMode="auto">
          <a:xfrm rot="19894211">
            <a:off x="7233213" y="4660076"/>
            <a:ext cx="481427" cy="481425"/>
          </a:xfrm>
          <a:custGeom>
            <a:avLst/>
            <a:gdLst>
              <a:gd name="connsiteX0" fmla="*/ 495300 w 990600"/>
              <a:gd name="connsiteY0" fmla="*/ 397328 h 990600"/>
              <a:gd name="connsiteX1" fmla="*/ 397328 w 990600"/>
              <a:gd name="connsiteY1" fmla="*/ 495300 h 990600"/>
              <a:gd name="connsiteX2" fmla="*/ 495300 w 990600"/>
              <a:gd name="connsiteY2" fmla="*/ 593272 h 990600"/>
              <a:gd name="connsiteX3" fmla="*/ 593272 w 990600"/>
              <a:gd name="connsiteY3" fmla="*/ 495300 h 990600"/>
              <a:gd name="connsiteX4" fmla="*/ 495300 w 990600"/>
              <a:gd name="connsiteY4" fmla="*/ 397328 h 990600"/>
              <a:gd name="connsiteX5" fmla="*/ 495300 w 990600"/>
              <a:gd name="connsiteY5" fmla="*/ 286687 h 990600"/>
              <a:gd name="connsiteX6" fmla="*/ 703913 w 990600"/>
              <a:gd name="connsiteY6" fmla="*/ 495300 h 990600"/>
              <a:gd name="connsiteX7" fmla="*/ 495300 w 990600"/>
              <a:gd name="connsiteY7" fmla="*/ 703913 h 990600"/>
              <a:gd name="connsiteX8" fmla="*/ 286687 w 990600"/>
              <a:gd name="connsiteY8" fmla="*/ 495300 h 990600"/>
              <a:gd name="connsiteX9" fmla="*/ 495300 w 990600"/>
              <a:gd name="connsiteY9" fmla="*/ 286687 h 990600"/>
              <a:gd name="connsiteX10" fmla="*/ 491466 w 990600"/>
              <a:gd name="connsiteY10" fmla="*/ 204590 h 990600"/>
              <a:gd name="connsiteX11" fmla="*/ 199701 w 990600"/>
              <a:gd name="connsiteY11" fmla="*/ 496355 h 990600"/>
              <a:gd name="connsiteX12" fmla="*/ 491466 w 990600"/>
              <a:gd name="connsiteY12" fmla="*/ 788120 h 990600"/>
              <a:gd name="connsiteX13" fmla="*/ 783231 w 990600"/>
              <a:gd name="connsiteY13" fmla="*/ 496355 h 990600"/>
              <a:gd name="connsiteX14" fmla="*/ 491466 w 990600"/>
              <a:gd name="connsiteY14" fmla="*/ 204590 h 990600"/>
              <a:gd name="connsiteX15" fmla="*/ 495300 w 990600"/>
              <a:gd name="connsiteY15" fmla="*/ 0 h 990600"/>
              <a:gd name="connsiteX16" fmla="*/ 569646 w 990600"/>
              <a:gd name="connsiteY16" fmla="*/ 7495 h 990600"/>
              <a:gd name="connsiteX17" fmla="*/ 579473 w 990600"/>
              <a:gd name="connsiteY17" fmla="*/ 56169 h 990600"/>
              <a:gd name="connsiteX18" fmla="*/ 704851 w 990600"/>
              <a:gd name="connsiteY18" fmla="*/ 139276 h 990600"/>
              <a:gd name="connsiteX19" fmla="*/ 757816 w 990600"/>
              <a:gd name="connsiteY19" fmla="*/ 128583 h 990600"/>
              <a:gd name="connsiteX20" fmla="*/ 795090 w 990600"/>
              <a:gd name="connsiteY20" fmla="*/ 103452 h 990600"/>
              <a:gd name="connsiteX21" fmla="*/ 845530 w 990600"/>
              <a:gd name="connsiteY21" fmla="*/ 145070 h 990600"/>
              <a:gd name="connsiteX22" fmla="*/ 884828 w 990600"/>
              <a:gd name="connsiteY22" fmla="*/ 192699 h 990600"/>
              <a:gd name="connsiteX23" fmla="*/ 884770 w 990600"/>
              <a:gd name="connsiteY23" fmla="*/ 192738 h 990600"/>
              <a:gd name="connsiteX24" fmla="*/ 844915 w 990600"/>
              <a:gd name="connsiteY24" fmla="*/ 288955 h 990600"/>
              <a:gd name="connsiteX25" fmla="*/ 980987 w 990600"/>
              <a:gd name="connsiteY25" fmla="*/ 425027 h 990600"/>
              <a:gd name="connsiteX26" fmla="*/ 983466 w 990600"/>
              <a:gd name="connsiteY26" fmla="*/ 424527 h 990600"/>
              <a:gd name="connsiteX27" fmla="*/ 990600 w 990600"/>
              <a:gd name="connsiteY27" fmla="*/ 495300 h 990600"/>
              <a:gd name="connsiteX28" fmla="*/ 982776 w 990600"/>
              <a:gd name="connsiteY28" fmla="*/ 572916 h 990600"/>
              <a:gd name="connsiteX29" fmla="*/ 934431 w 990600"/>
              <a:gd name="connsiteY29" fmla="*/ 582676 h 990600"/>
              <a:gd name="connsiteX30" fmla="*/ 851324 w 990600"/>
              <a:gd name="connsiteY30" fmla="*/ 708055 h 990600"/>
              <a:gd name="connsiteX31" fmla="*/ 862018 w 990600"/>
              <a:gd name="connsiteY31" fmla="*/ 761020 h 990600"/>
              <a:gd name="connsiteX32" fmla="*/ 885959 w 990600"/>
              <a:gd name="connsiteY32" fmla="*/ 796530 h 990600"/>
              <a:gd name="connsiteX33" fmla="*/ 845530 w 990600"/>
              <a:gd name="connsiteY33" fmla="*/ 845530 h 990600"/>
              <a:gd name="connsiteX34" fmla="*/ 799364 w 990600"/>
              <a:gd name="connsiteY34" fmla="*/ 883621 h 990600"/>
              <a:gd name="connsiteX35" fmla="*/ 757816 w 990600"/>
              <a:gd name="connsiteY35" fmla="*/ 855608 h 990600"/>
              <a:gd name="connsiteX36" fmla="*/ 704851 w 990600"/>
              <a:gd name="connsiteY36" fmla="*/ 844915 h 990600"/>
              <a:gd name="connsiteX37" fmla="*/ 568779 w 990600"/>
              <a:gd name="connsiteY37" fmla="*/ 980987 h 990600"/>
              <a:gd name="connsiteX38" fmla="*/ 569216 w 990600"/>
              <a:gd name="connsiteY38" fmla="*/ 983149 h 990600"/>
              <a:gd name="connsiteX39" fmla="*/ 495300 w 990600"/>
              <a:gd name="connsiteY39" fmla="*/ 990600 h 990600"/>
              <a:gd name="connsiteX40" fmla="*/ 420957 w 990600"/>
              <a:gd name="connsiteY40" fmla="*/ 983106 h 990600"/>
              <a:gd name="connsiteX41" fmla="*/ 411130 w 990600"/>
              <a:gd name="connsiteY41" fmla="*/ 934431 h 990600"/>
              <a:gd name="connsiteX42" fmla="*/ 285751 w 990600"/>
              <a:gd name="connsiteY42" fmla="*/ 851324 h 990600"/>
              <a:gd name="connsiteX43" fmla="*/ 232786 w 990600"/>
              <a:gd name="connsiteY43" fmla="*/ 862017 h 990600"/>
              <a:gd name="connsiteX44" fmla="*/ 195512 w 990600"/>
              <a:gd name="connsiteY44" fmla="*/ 887148 h 990600"/>
              <a:gd name="connsiteX45" fmla="*/ 145070 w 990600"/>
              <a:gd name="connsiteY45" fmla="*/ 845530 h 990600"/>
              <a:gd name="connsiteX46" fmla="*/ 108168 w 990600"/>
              <a:gd name="connsiteY46" fmla="*/ 800805 h 990600"/>
              <a:gd name="connsiteX47" fmla="*/ 134992 w 990600"/>
              <a:gd name="connsiteY47" fmla="*/ 761020 h 990600"/>
              <a:gd name="connsiteX48" fmla="*/ 145685 w 990600"/>
              <a:gd name="connsiteY48" fmla="*/ 708055 h 990600"/>
              <a:gd name="connsiteX49" fmla="*/ 9613 w 990600"/>
              <a:gd name="connsiteY49" fmla="*/ 571983 h 990600"/>
              <a:gd name="connsiteX50" fmla="*/ 7768 w 990600"/>
              <a:gd name="connsiteY50" fmla="*/ 572356 h 990600"/>
              <a:gd name="connsiteX51" fmla="*/ 0 w 990600"/>
              <a:gd name="connsiteY51" fmla="*/ 495300 h 990600"/>
              <a:gd name="connsiteX52" fmla="*/ 7165 w 990600"/>
              <a:gd name="connsiteY52" fmla="*/ 424228 h 990600"/>
              <a:gd name="connsiteX53" fmla="*/ 56169 w 990600"/>
              <a:gd name="connsiteY53" fmla="*/ 414334 h 990600"/>
              <a:gd name="connsiteX54" fmla="*/ 139276 w 990600"/>
              <a:gd name="connsiteY54" fmla="*/ 288955 h 990600"/>
              <a:gd name="connsiteX55" fmla="*/ 128583 w 990600"/>
              <a:gd name="connsiteY55" fmla="*/ 235990 h 990600"/>
              <a:gd name="connsiteX56" fmla="*/ 102263 w 990600"/>
              <a:gd name="connsiteY56" fmla="*/ 196953 h 990600"/>
              <a:gd name="connsiteX57" fmla="*/ 145070 w 990600"/>
              <a:gd name="connsiteY57" fmla="*/ 145070 h 990600"/>
              <a:gd name="connsiteX58" fmla="*/ 191237 w 990600"/>
              <a:gd name="connsiteY58" fmla="*/ 106979 h 990600"/>
              <a:gd name="connsiteX59" fmla="*/ 232786 w 990600"/>
              <a:gd name="connsiteY59" fmla="*/ 134992 h 990600"/>
              <a:gd name="connsiteX60" fmla="*/ 285751 w 990600"/>
              <a:gd name="connsiteY60" fmla="*/ 145685 h 990600"/>
              <a:gd name="connsiteX61" fmla="*/ 421823 w 990600"/>
              <a:gd name="connsiteY61" fmla="*/ 9613 h 990600"/>
              <a:gd name="connsiteX62" fmla="*/ 421387 w 990600"/>
              <a:gd name="connsiteY62" fmla="*/ 7451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90600" h="990600">
                <a:moveTo>
                  <a:pt x="495300" y="397328"/>
                </a:moveTo>
                <a:cubicBezTo>
                  <a:pt x="441192" y="397328"/>
                  <a:pt x="397328" y="441192"/>
                  <a:pt x="397328" y="495300"/>
                </a:cubicBezTo>
                <a:cubicBezTo>
                  <a:pt x="397328" y="549408"/>
                  <a:pt x="441192" y="593272"/>
                  <a:pt x="495300" y="593272"/>
                </a:cubicBezTo>
                <a:cubicBezTo>
                  <a:pt x="549408" y="593272"/>
                  <a:pt x="593272" y="549408"/>
                  <a:pt x="593272" y="495300"/>
                </a:cubicBezTo>
                <a:cubicBezTo>
                  <a:pt x="593272" y="441192"/>
                  <a:pt x="549408" y="397328"/>
                  <a:pt x="495300" y="397328"/>
                </a:cubicBezTo>
                <a:close/>
                <a:moveTo>
                  <a:pt x="495300" y="286687"/>
                </a:moveTo>
                <a:cubicBezTo>
                  <a:pt x="610514" y="286687"/>
                  <a:pt x="703913" y="380086"/>
                  <a:pt x="703913" y="495300"/>
                </a:cubicBezTo>
                <a:cubicBezTo>
                  <a:pt x="703913" y="610514"/>
                  <a:pt x="610514" y="703913"/>
                  <a:pt x="495300" y="703913"/>
                </a:cubicBezTo>
                <a:cubicBezTo>
                  <a:pt x="380086" y="703913"/>
                  <a:pt x="286687" y="610514"/>
                  <a:pt x="286687" y="495300"/>
                </a:cubicBezTo>
                <a:cubicBezTo>
                  <a:pt x="286687" y="380086"/>
                  <a:pt x="380086" y="286687"/>
                  <a:pt x="495300" y="286687"/>
                </a:cubicBezTo>
                <a:close/>
                <a:moveTo>
                  <a:pt x="491466" y="204590"/>
                </a:moveTo>
                <a:cubicBezTo>
                  <a:pt x="330329" y="204590"/>
                  <a:pt x="199701" y="335218"/>
                  <a:pt x="199701" y="496355"/>
                </a:cubicBezTo>
                <a:cubicBezTo>
                  <a:pt x="199701" y="657492"/>
                  <a:pt x="330329" y="788120"/>
                  <a:pt x="491466" y="788120"/>
                </a:cubicBezTo>
                <a:cubicBezTo>
                  <a:pt x="652603" y="788120"/>
                  <a:pt x="783231" y="657492"/>
                  <a:pt x="783231" y="496355"/>
                </a:cubicBezTo>
                <a:cubicBezTo>
                  <a:pt x="783231" y="335218"/>
                  <a:pt x="652603" y="204590"/>
                  <a:pt x="491466" y="204590"/>
                </a:cubicBezTo>
                <a:close/>
                <a:moveTo>
                  <a:pt x="495300" y="0"/>
                </a:moveTo>
                <a:lnTo>
                  <a:pt x="569646" y="7495"/>
                </a:lnTo>
                <a:lnTo>
                  <a:pt x="579473" y="56169"/>
                </a:lnTo>
                <a:cubicBezTo>
                  <a:pt x="600130" y="105007"/>
                  <a:pt x="648489" y="139276"/>
                  <a:pt x="704851" y="139276"/>
                </a:cubicBezTo>
                <a:cubicBezTo>
                  <a:pt x="723639" y="139276"/>
                  <a:pt x="741537" y="135468"/>
                  <a:pt x="757816" y="128583"/>
                </a:cubicBezTo>
                <a:lnTo>
                  <a:pt x="795090" y="103452"/>
                </a:lnTo>
                <a:lnTo>
                  <a:pt x="845530" y="145070"/>
                </a:lnTo>
                <a:lnTo>
                  <a:pt x="884828" y="192699"/>
                </a:lnTo>
                <a:lnTo>
                  <a:pt x="884770" y="192738"/>
                </a:lnTo>
                <a:cubicBezTo>
                  <a:pt x="860146" y="217362"/>
                  <a:pt x="844915" y="251380"/>
                  <a:pt x="844915" y="288955"/>
                </a:cubicBezTo>
                <a:cubicBezTo>
                  <a:pt x="844915" y="364105"/>
                  <a:pt x="905837" y="425027"/>
                  <a:pt x="980987" y="425027"/>
                </a:cubicBezTo>
                <a:lnTo>
                  <a:pt x="983466" y="424527"/>
                </a:lnTo>
                <a:lnTo>
                  <a:pt x="990600" y="495300"/>
                </a:lnTo>
                <a:lnTo>
                  <a:pt x="982776" y="572916"/>
                </a:lnTo>
                <a:lnTo>
                  <a:pt x="934431" y="582676"/>
                </a:lnTo>
                <a:cubicBezTo>
                  <a:pt x="885593" y="603333"/>
                  <a:pt x="851324" y="651693"/>
                  <a:pt x="851324" y="708055"/>
                </a:cubicBezTo>
                <a:cubicBezTo>
                  <a:pt x="851324" y="726843"/>
                  <a:pt x="855132" y="744741"/>
                  <a:pt x="862018" y="761020"/>
                </a:cubicBezTo>
                <a:lnTo>
                  <a:pt x="885959" y="796530"/>
                </a:lnTo>
                <a:lnTo>
                  <a:pt x="845530" y="845530"/>
                </a:lnTo>
                <a:lnTo>
                  <a:pt x="799364" y="883621"/>
                </a:lnTo>
                <a:lnTo>
                  <a:pt x="757816" y="855608"/>
                </a:lnTo>
                <a:cubicBezTo>
                  <a:pt x="741537" y="848723"/>
                  <a:pt x="723639" y="844915"/>
                  <a:pt x="704851" y="844915"/>
                </a:cubicBezTo>
                <a:cubicBezTo>
                  <a:pt x="629701" y="844915"/>
                  <a:pt x="568779" y="905837"/>
                  <a:pt x="568779" y="980987"/>
                </a:cubicBezTo>
                <a:lnTo>
                  <a:pt x="569216" y="983149"/>
                </a:lnTo>
                <a:lnTo>
                  <a:pt x="495300" y="990600"/>
                </a:lnTo>
                <a:lnTo>
                  <a:pt x="420957" y="983106"/>
                </a:lnTo>
                <a:lnTo>
                  <a:pt x="411130" y="934431"/>
                </a:lnTo>
                <a:cubicBezTo>
                  <a:pt x="390473" y="885593"/>
                  <a:pt x="342114" y="851324"/>
                  <a:pt x="285751" y="851324"/>
                </a:cubicBezTo>
                <a:cubicBezTo>
                  <a:pt x="266964" y="851324"/>
                  <a:pt x="249066" y="855132"/>
                  <a:pt x="232786" y="862017"/>
                </a:cubicBezTo>
                <a:lnTo>
                  <a:pt x="195512" y="887148"/>
                </a:lnTo>
                <a:lnTo>
                  <a:pt x="145070" y="845530"/>
                </a:lnTo>
                <a:lnTo>
                  <a:pt x="108168" y="800805"/>
                </a:lnTo>
                <a:lnTo>
                  <a:pt x="134992" y="761020"/>
                </a:lnTo>
                <a:cubicBezTo>
                  <a:pt x="141878" y="744741"/>
                  <a:pt x="145685" y="726843"/>
                  <a:pt x="145685" y="708055"/>
                </a:cubicBezTo>
                <a:cubicBezTo>
                  <a:pt x="145685" y="632905"/>
                  <a:pt x="84763" y="571983"/>
                  <a:pt x="9613" y="571983"/>
                </a:cubicBezTo>
                <a:lnTo>
                  <a:pt x="7768" y="572356"/>
                </a:lnTo>
                <a:lnTo>
                  <a:pt x="0" y="495300"/>
                </a:lnTo>
                <a:lnTo>
                  <a:pt x="7165" y="424228"/>
                </a:lnTo>
                <a:lnTo>
                  <a:pt x="56169" y="414334"/>
                </a:lnTo>
                <a:cubicBezTo>
                  <a:pt x="105008" y="393677"/>
                  <a:pt x="139276" y="345318"/>
                  <a:pt x="139276" y="288955"/>
                </a:cubicBezTo>
                <a:cubicBezTo>
                  <a:pt x="139276" y="270168"/>
                  <a:pt x="135469" y="252269"/>
                  <a:pt x="128583" y="235990"/>
                </a:cubicBezTo>
                <a:lnTo>
                  <a:pt x="102263" y="196953"/>
                </a:lnTo>
                <a:lnTo>
                  <a:pt x="145070" y="145070"/>
                </a:lnTo>
                <a:lnTo>
                  <a:pt x="191237" y="106979"/>
                </a:lnTo>
                <a:lnTo>
                  <a:pt x="232786" y="134992"/>
                </a:lnTo>
                <a:cubicBezTo>
                  <a:pt x="249066" y="141877"/>
                  <a:pt x="266964" y="145685"/>
                  <a:pt x="285751" y="145685"/>
                </a:cubicBezTo>
                <a:cubicBezTo>
                  <a:pt x="360901" y="145685"/>
                  <a:pt x="421823" y="84763"/>
                  <a:pt x="421823" y="9613"/>
                </a:cubicBezTo>
                <a:lnTo>
                  <a:pt x="421387" y="7451"/>
                </a:lnTo>
                <a:close/>
              </a:path>
            </a:pathLst>
          </a:custGeom>
          <a:solidFill>
            <a:srgbClr val="00B0F0">
              <a:alpha val="2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TextBox 57"/>
          <p:cNvSpPr txBox="1"/>
          <p:nvPr/>
        </p:nvSpPr>
        <p:spPr>
          <a:xfrm>
            <a:off x="7361026" y="3673303"/>
            <a:ext cx="1794081" cy="378565"/>
          </a:xfrm>
          <a:prstGeom prst="rect">
            <a:avLst/>
          </a:prstGeom>
          <a:noFill/>
        </p:spPr>
        <p:txBody>
          <a:bodyPr wrap="none" lIns="91440" tIns="91440" rIns="91440" bIns="91440" rtlCol="0">
            <a:spAutoFit/>
          </a:bodyPr>
          <a:lstStyle/>
          <a:p>
            <a:pPr marL="0" marR="0" lvl="0" indent="0" algn="ctr" defTabSz="913154" rtl="0" eaLnBrk="1" fontAlgn="base" latinLnBrk="0" hangingPunct="1">
              <a:lnSpc>
                <a:spcPct val="90000"/>
              </a:lnSpc>
              <a:spcBef>
                <a:spcPct val="0"/>
              </a:spcBef>
              <a:spcAft>
                <a:spcPts val="588"/>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mn-ea"/>
                <a:cs typeface="+mn-cs"/>
              </a:rPr>
              <a:t>Azure SQL Database</a:t>
            </a:r>
            <a:endParaRPr kumimoji="0" lang="en-US" sz="1000" b="0" i="0" u="none" strike="noStrike" kern="0" cap="none" spc="0" normalizeH="0" baseline="0" noProof="0" dirty="0">
              <a:ln>
                <a:noFill/>
              </a:ln>
              <a:solidFill>
                <a:srgbClr val="FFFFFF"/>
              </a:solidFill>
              <a:effectLst/>
              <a:uLnTx/>
              <a:uFillTx/>
              <a:latin typeface="Segoe UI"/>
              <a:ea typeface="+mn-ea"/>
              <a:cs typeface="+mn-cs"/>
            </a:endParaRPr>
          </a:p>
        </p:txBody>
      </p:sp>
      <p:sp>
        <p:nvSpPr>
          <p:cNvPr id="25" name="Freeform 18"/>
          <p:cNvSpPr>
            <a:spLocks noEditPoints="1"/>
          </p:cNvSpPr>
          <p:nvPr/>
        </p:nvSpPr>
        <p:spPr bwMode="black">
          <a:xfrm rot="17995606">
            <a:off x="340876" y="6284571"/>
            <a:ext cx="450812" cy="353994"/>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chemeClr val="bg1"/>
          </a:solidFill>
          <a:ln>
            <a:noFill/>
          </a:ln>
          <a:extLst/>
        </p:spPr>
        <p:txBody>
          <a:bodyPr vert="horz" wrap="square" lIns="89069" tIns="44534" rIns="89069" bIns="44534" numCol="1" anchor="t" anchorCtr="0" compatLnSpc="1">
            <a:prstTxWarp prst="textNoShape">
              <a:avLst/>
            </a:prstTxWarp>
          </a:bodyPr>
          <a:lstStyle/>
          <a:p>
            <a:pPr marL="0" marR="0" lvl="0" indent="0" algn="l" defTabSz="890580" rtl="0" eaLnBrk="1" fontAlgn="auto" latinLnBrk="0" hangingPunct="1">
              <a:lnSpc>
                <a:spcPct val="100000"/>
              </a:lnSpc>
              <a:spcBef>
                <a:spcPts val="0"/>
              </a:spcBef>
              <a:spcAft>
                <a:spcPts val="0"/>
              </a:spcAft>
              <a:buClrTx/>
              <a:buSzTx/>
              <a:buFontTx/>
              <a:buNone/>
              <a:tabLst/>
              <a:defRPr/>
            </a:pPr>
            <a:endParaRPr kumimoji="0" lang="en-US" sz="1559"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endParaRPr>
          </a:p>
        </p:txBody>
      </p:sp>
      <p:sp>
        <p:nvSpPr>
          <p:cNvPr id="27" name="Rectangle 26"/>
          <p:cNvSpPr>
            <a:spLocks noChangeAspect="1"/>
          </p:cNvSpPr>
          <p:nvPr/>
        </p:nvSpPr>
        <p:spPr bwMode="auto">
          <a:xfrm>
            <a:off x="739925" y="6313833"/>
            <a:ext cx="2452307" cy="500958"/>
          </a:xfrm>
          <a:prstGeom prst="rect">
            <a:avLst/>
          </a:prstGeom>
          <a:noFill/>
          <a:ln w="10795" cap="flat" cmpd="sng" algn="ctr">
            <a:noFill/>
            <a:prstDash val="solid"/>
            <a:headEnd type="none" w="med" len="med"/>
            <a:tailEnd type="none" w="med" len="med"/>
          </a:ln>
          <a:effectLst/>
        </p:spPr>
        <p:txBody>
          <a:bodyPr vert="horz" wrap="square" lIns="137160" tIns="9144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Segoe UI Semibold" charset="0"/>
                <a:ea typeface="Segoe UI Semibold" charset="0"/>
                <a:cs typeface="Segoe UI Semibold" charset="0"/>
              </a:rPr>
              <a:t>Learns &amp; adapts</a:t>
            </a:r>
          </a:p>
        </p:txBody>
      </p:sp>
      <p:sp>
        <p:nvSpPr>
          <p:cNvPr id="28" name="Pentagon 27"/>
          <p:cNvSpPr/>
          <p:nvPr/>
        </p:nvSpPr>
        <p:spPr bwMode="auto">
          <a:xfrm>
            <a:off x="0" y="6245274"/>
            <a:ext cx="192024" cy="481395"/>
          </a:xfrm>
          <a:prstGeom prst="homePlate">
            <a:avLst>
              <a:gd name="adj" fmla="val 23545"/>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TextBox 15"/>
          <p:cNvSpPr txBox="1">
            <a:spLocks noChangeAspect="1"/>
          </p:cNvSpPr>
          <p:nvPr/>
        </p:nvSpPr>
        <p:spPr>
          <a:xfrm>
            <a:off x="7037888" y="4051868"/>
            <a:ext cx="2531915" cy="1752457"/>
          </a:xfrm>
          <a:prstGeom prst="rect">
            <a:avLst/>
          </a:prstGeom>
          <a:noFill/>
        </p:spPr>
        <p:txBody>
          <a:bodyPr wrap="square" numCol="1" rtlCol="0">
            <a:noAutofit/>
          </a:bodyPr>
          <a:lstStyle/>
          <a:p>
            <a:pPr marL="0" marR="0" lvl="0" indent="0" algn="ctr" defTabSz="932742" rtl="0" eaLnBrk="1" fontAlgn="auto" latinLnBrk="0" hangingPunct="1">
              <a:lnSpc>
                <a:spcPct val="100000"/>
              </a:lnSpc>
              <a:spcBef>
                <a:spcPts val="0"/>
              </a:spcBef>
              <a:spcAft>
                <a:spcPts val="80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Infrastructure maintenance</a:t>
            </a:r>
          </a:p>
          <a:p>
            <a:pPr marL="0" marR="0" lvl="0" indent="0" algn="ctr" defTabSz="932742" rtl="0" eaLnBrk="1" fontAlgn="auto" latinLnBrk="0" hangingPunct="1">
              <a:lnSpc>
                <a:spcPct val="100000"/>
              </a:lnSpc>
              <a:spcBef>
                <a:spcPts val="0"/>
              </a:spcBef>
              <a:spcAft>
                <a:spcPts val="80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Security and</a:t>
            </a:r>
            <a:br>
              <a:rPr kumimoji="0" lang="en-US" sz="1200" b="0" i="0" u="none" strike="noStrike" kern="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br>
            <a:r>
              <a:rPr kumimoji="0" lang="en-US" sz="1200" b="0" i="0" u="none" strike="noStrike" kern="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software patches</a:t>
            </a:r>
          </a:p>
          <a:p>
            <a:pPr marL="0" marR="0" lvl="0" indent="0" algn="ctr" defTabSz="932742" rtl="0" eaLnBrk="1" fontAlgn="auto" latinLnBrk="0" hangingPunct="1">
              <a:lnSpc>
                <a:spcPct val="100000"/>
              </a:lnSpc>
              <a:spcBef>
                <a:spcPts val="0"/>
              </a:spcBef>
              <a:spcAft>
                <a:spcPts val="80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Feature updates</a:t>
            </a:r>
          </a:p>
          <a:p>
            <a:pPr marL="0" marR="0" lvl="0" indent="0" algn="ctr" defTabSz="932742" rtl="0" eaLnBrk="1" fontAlgn="auto" latinLnBrk="0" hangingPunct="1">
              <a:lnSpc>
                <a:spcPct val="100000"/>
              </a:lnSpc>
              <a:spcBef>
                <a:spcPts val="0"/>
              </a:spcBef>
              <a:spcAft>
                <a:spcPts val="80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Disaster recovery failover </a:t>
            </a:r>
          </a:p>
          <a:p>
            <a:pPr marL="0" marR="0" lvl="0" indent="0" algn="ctr" defTabSz="932742" rtl="0" eaLnBrk="1" fontAlgn="auto" latinLnBrk="0" hangingPunct="1">
              <a:lnSpc>
                <a:spcPct val="100000"/>
              </a:lnSpc>
              <a:spcBef>
                <a:spcPts val="0"/>
              </a:spcBef>
              <a:spcAft>
                <a:spcPts val="80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Automatic back-ups </a:t>
            </a:r>
            <a:endParaRPr kumimoji="0" lang="en-US" sz="12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8878711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Freeform 54"/>
          <p:cNvSpPr>
            <a:spLocks noChangeAspect="1"/>
          </p:cNvSpPr>
          <p:nvPr/>
        </p:nvSpPr>
        <p:spPr bwMode="auto">
          <a:xfrm>
            <a:off x="6573712" y="3324379"/>
            <a:ext cx="3282758" cy="210439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24" name="Freeform 23"/>
          <p:cNvSpPr>
            <a:spLocks noChangeAspect="1"/>
          </p:cNvSpPr>
          <p:nvPr/>
        </p:nvSpPr>
        <p:spPr bwMode="auto">
          <a:xfrm>
            <a:off x="9810794" y="3309210"/>
            <a:ext cx="1957702" cy="125497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44" name="Freeform 43"/>
          <p:cNvSpPr>
            <a:spLocks noChangeAspect="1"/>
          </p:cNvSpPr>
          <p:nvPr/>
        </p:nvSpPr>
        <p:spPr bwMode="auto">
          <a:xfrm>
            <a:off x="5222089" y="2904540"/>
            <a:ext cx="1651632" cy="1058770"/>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2" name="Title 1"/>
          <p:cNvSpPr>
            <a:spLocks noGrp="1"/>
          </p:cNvSpPr>
          <p:nvPr>
            <p:ph type="title"/>
          </p:nvPr>
        </p:nvSpPr>
        <p:spPr>
          <a:xfrm>
            <a:off x="274638" y="112778"/>
            <a:ext cx="11642721" cy="1316945"/>
          </a:xfrm>
        </p:spPr>
        <p:txBody>
          <a:bodyPr>
            <a:normAutofit/>
          </a:bodyPr>
          <a:lstStyle/>
          <a:p>
            <a:r>
              <a:rPr lang="en-US" sz="3200" cap="all" spc="500" dirty="0">
                <a:ln w="3175">
                  <a:noFill/>
                </a:ln>
                <a:solidFill>
                  <a:srgbClr val="0078D7"/>
                </a:solidFill>
                <a:latin typeface="Segoe UI Semilight" charset="0"/>
                <a:ea typeface="+mn-ea"/>
                <a:cs typeface="Segoe UI Semilight" charset="0"/>
              </a:rPr>
              <a:t>Threat and anomaly detection</a:t>
            </a:r>
            <a:br>
              <a:rPr lang="en-US" sz="4800" dirty="0"/>
            </a:br>
            <a:r>
              <a:rPr lang="en-US" sz="2400" cap="all" dirty="0">
                <a:solidFill>
                  <a:srgbClr val="0078D7"/>
                </a:solidFill>
              </a:rPr>
              <a:t>Advanced security and compliance</a:t>
            </a:r>
          </a:p>
        </p:txBody>
      </p:sp>
      <p:sp>
        <p:nvSpPr>
          <p:cNvPr id="4" name="Content Placeholder 2"/>
          <p:cNvSpPr>
            <a:spLocks noGrp="1"/>
          </p:cNvSpPr>
          <p:nvPr>
            <p:ph type="body" sz="quarter" idx="10"/>
          </p:nvPr>
        </p:nvSpPr>
        <p:spPr>
          <a:xfrm>
            <a:off x="274638" y="2357133"/>
            <a:ext cx="4512762" cy="3434786"/>
          </a:xfrm>
        </p:spPr>
        <p:txBody>
          <a:bodyPr/>
          <a:lstStyle/>
          <a:p>
            <a:r>
              <a:rPr lang="en-US" sz="1800" dirty="0"/>
              <a:t>Intelligent threat detection</a:t>
            </a:r>
          </a:p>
          <a:p>
            <a:r>
              <a:rPr lang="en-US" sz="1800" dirty="0"/>
              <a:t>Built-in behavioral analysis</a:t>
            </a:r>
          </a:p>
          <a:p>
            <a:r>
              <a:rPr lang="en-US" sz="1800" dirty="0"/>
              <a:t>Real-time alerts</a:t>
            </a:r>
          </a:p>
          <a:p>
            <a:r>
              <a:rPr lang="en-US" sz="1800" dirty="0"/>
              <a:t>Explorable audit log</a:t>
            </a:r>
          </a:p>
          <a:p>
            <a:r>
              <a:rPr lang="en-US" sz="1800" dirty="0"/>
              <a:t>Unusual patterns are detected and fixed</a:t>
            </a:r>
          </a:p>
          <a:p>
            <a:r>
              <a:rPr lang="en-US" sz="1800" dirty="0"/>
              <a:t>Discover, track and remediate vulnerabilities</a:t>
            </a:r>
          </a:p>
        </p:txBody>
      </p:sp>
      <p:sp>
        <p:nvSpPr>
          <p:cNvPr id="39" name="TextBox 38"/>
          <p:cNvSpPr txBox="1"/>
          <p:nvPr/>
        </p:nvSpPr>
        <p:spPr>
          <a:xfrm>
            <a:off x="5242273" y="3596542"/>
            <a:ext cx="1611554" cy="350865"/>
          </a:xfrm>
          <a:prstGeom prst="rect">
            <a:avLst/>
          </a:prstGeom>
          <a:noFill/>
        </p:spPr>
        <p:txBody>
          <a:bodyPr wrap="square" lIns="91440" tIns="91440" rIns="91440" bIns="9144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SQL Threat Detection</a:t>
            </a:r>
          </a:p>
        </p:txBody>
      </p:sp>
      <p:sp>
        <p:nvSpPr>
          <p:cNvPr id="40" name="TextBox 39"/>
          <p:cNvSpPr txBox="1"/>
          <p:nvPr/>
        </p:nvSpPr>
        <p:spPr>
          <a:xfrm>
            <a:off x="7018696" y="4898125"/>
            <a:ext cx="1284706" cy="517065"/>
          </a:xfrm>
          <a:prstGeom prst="rect">
            <a:avLst/>
          </a:prstGeom>
          <a:noFill/>
        </p:spPr>
        <p:txBody>
          <a:bodyPr wrap="square" lIns="91440" tIns="91440" rIns="91440" bIns="9144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Azure </a:t>
            </a:r>
            <a:r>
              <a:rPr kumimoji="0" lang="en-US" sz="1200" b="0" i="0" u="none" strike="noStrike" kern="1200" cap="none" spc="0" normalizeH="0" baseline="0" noProof="0">
                <a:ln>
                  <a:noFill/>
                </a:ln>
                <a:solidFill>
                  <a:srgbClr val="FFFFFF"/>
                </a:solidFill>
                <a:effectLst/>
                <a:uLnTx/>
                <a:uFillTx/>
                <a:latin typeface="Segoe UI"/>
                <a:ea typeface="+mn-ea"/>
                <a:cs typeface="+mn-cs"/>
              </a:rPr>
              <a:t>SQL </a:t>
            </a:r>
            <a:br>
              <a:rPr kumimoji="0" lang="en-US" sz="1200" b="0" i="0" u="none" strike="noStrike" kern="1200" cap="none" spc="0" normalizeH="0" baseline="0" noProof="0">
                <a:ln>
                  <a:noFill/>
                </a:ln>
                <a:solidFill>
                  <a:srgbClr val="FFFFFF"/>
                </a:solidFill>
                <a:effectLst/>
                <a:uLnTx/>
                <a:uFillTx/>
                <a:latin typeface="Segoe UI"/>
                <a:ea typeface="+mn-ea"/>
                <a:cs typeface="+mn-cs"/>
              </a:rPr>
            </a:br>
            <a:r>
              <a:rPr kumimoji="0" lang="en-US" sz="1200" b="0" i="0" u="none" strike="noStrike" kern="1200" cap="none" spc="0" normalizeH="0" baseline="0" noProof="0">
                <a:ln>
                  <a:noFill/>
                </a:ln>
                <a:solidFill>
                  <a:srgbClr val="FFFFFF"/>
                </a:solidFill>
                <a:effectLst/>
                <a:uLnTx/>
                <a:uFillTx/>
                <a:latin typeface="Segoe UI"/>
                <a:ea typeface="+mn-ea"/>
                <a:cs typeface="+mn-cs"/>
              </a:rPr>
              <a:t>Database</a:t>
            </a:r>
            <a:endParaRPr kumimoji="0" lang="en-US" sz="12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5" name="Freeform 34"/>
          <p:cNvSpPr/>
          <p:nvPr/>
        </p:nvSpPr>
        <p:spPr bwMode="auto">
          <a:xfrm>
            <a:off x="8702471" y="4212545"/>
            <a:ext cx="699126" cy="699126"/>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41" name="TextBox 40"/>
          <p:cNvSpPr txBox="1"/>
          <p:nvPr/>
        </p:nvSpPr>
        <p:spPr>
          <a:xfrm>
            <a:off x="8543615" y="4898125"/>
            <a:ext cx="1008260" cy="350865"/>
          </a:xfrm>
          <a:prstGeom prst="rect">
            <a:avLst/>
          </a:prstGeom>
          <a:noFill/>
        </p:spPr>
        <p:txBody>
          <a:bodyPr wrap="square" lIns="91440" tIns="91440" rIns="91440" bIns="9144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Web app</a:t>
            </a:r>
          </a:p>
        </p:txBody>
      </p:sp>
      <p:cxnSp>
        <p:nvCxnSpPr>
          <p:cNvPr id="46" name="Straight Connector 45"/>
          <p:cNvCxnSpPr/>
          <p:nvPr/>
        </p:nvCxnSpPr>
        <p:spPr>
          <a:xfrm>
            <a:off x="8036147" y="4564184"/>
            <a:ext cx="494004" cy="0"/>
          </a:xfrm>
          <a:prstGeom prst="line">
            <a:avLst/>
          </a:prstGeom>
          <a:ln w="19050">
            <a:solidFill>
              <a:schemeClr val="bg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6374660" y="6193083"/>
            <a:ext cx="1806191" cy="46166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D83B01"/>
                </a:solidFill>
                <a:effectLst/>
                <a:uLnTx/>
                <a:uFillTx/>
                <a:latin typeface="Segoe UI"/>
                <a:ea typeface="+mn-ea"/>
                <a:cs typeface="+mn-cs"/>
              </a:rPr>
              <a:t>External attacker / malicious insider </a:t>
            </a:r>
          </a:p>
        </p:txBody>
      </p:sp>
      <p:sp>
        <p:nvSpPr>
          <p:cNvPr id="67" name="TextBox 66"/>
          <p:cNvSpPr txBox="1"/>
          <p:nvPr/>
        </p:nvSpPr>
        <p:spPr>
          <a:xfrm>
            <a:off x="8268061" y="6193083"/>
            <a:ext cx="1963172" cy="46166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a:ea typeface="+mn-ea"/>
                <a:cs typeface="+mn-cs"/>
              </a:rPr>
              <a:t>End user experiencing errors &amp; issues</a:t>
            </a:r>
          </a:p>
        </p:txBody>
      </p:sp>
      <p:grpSp>
        <p:nvGrpSpPr>
          <p:cNvPr id="8" name="Group 7"/>
          <p:cNvGrpSpPr/>
          <p:nvPr/>
        </p:nvGrpSpPr>
        <p:grpSpPr>
          <a:xfrm>
            <a:off x="5822333" y="3150405"/>
            <a:ext cx="409720" cy="461226"/>
            <a:chOff x="1078282" y="2611596"/>
            <a:chExt cx="363788" cy="409518"/>
          </a:xfrm>
        </p:grpSpPr>
        <p:sp>
          <p:nvSpPr>
            <p:cNvPr id="7" name="Rectangle 6"/>
            <p:cNvSpPr/>
            <p:nvPr/>
          </p:nvSpPr>
          <p:spPr bwMode="auto">
            <a:xfrm>
              <a:off x="1168400" y="2699657"/>
              <a:ext cx="177800" cy="246743"/>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 name="Freeform 35"/>
            <p:cNvSpPr>
              <a:spLocks noChangeAspect="1"/>
            </p:cNvSpPr>
            <p:nvPr/>
          </p:nvSpPr>
          <p:spPr bwMode="auto">
            <a:xfrm>
              <a:off x="1078282" y="2611596"/>
              <a:ext cx="363788" cy="409518"/>
            </a:xfrm>
            <a:custGeom>
              <a:avLst/>
              <a:gdLst/>
              <a:ahLst/>
              <a:cxnLst/>
              <a:rect l="l" t="t" r="r" b="b"/>
              <a:pathLst>
                <a:path w="1407693" h="1585061">
                  <a:moveTo>
                    <a:pt x="727084" y="1101630"/>
                  </a:moveTo>
                  <a:lnTo>
                    <a:pt x="727305" y="1101630"/>
                  </a:lnTo>
                  <a:lnTo>
                    <a:pt x="727157" y="1101892"/>
                  </a:lnTo>
                  <a:close/>
                  <a:moveTo>
                    <a:pt x="671601" y="1101630"/>
                  </a:moveTo>
                  <a:lnTo>
                    <a:pt x="671822" y="1101630"/>
                  </a:lnTo>
                  <a:lnTo>
                    <a:pt x="671749" y="1101892"/>
                  </a:lnTo>
                  <a:close/>
                  <a:moveTo>
                    <a:pt x="707320" y="531266"/>
                  </a:moveTo>
                  <a:cubicBezTo>
                    <a:pt x="761703" y="531060"/>
                    <a:pt x="807433" y="592034"/>
                    <a:pt x="809287" y="623345"/>
                  </a:cubicBezTo>
                  <a:cubicBezTo>
                    <a:pt x="811106" y="654060"/>
                    <a:pt x="809356" y="690723"/>
                    <a:pt x="809313" y="724582"/>
                  </a:cubicBezTo>
                  <a:lnTo>
                    <a:pt x="596682" y="724582"/>
                  </a:lnTo>
                  <a:cubicBezTo>
                    <a:pt x="596639" y="691338"/>
                    <a:pt x="595085" y="670420"/>
                    <a:pt x="596701" y="623345"/>
                  </a:cubicBezTo>
                  <a:cubicBezTo>
                    <a:pt x="598349" y="575348"/>
                    <a:pt x="652938" y="531471"/>
                    <a:pt x="707320" y="531266"/>
                  </a:cubicBezTo>
                  <a:close/>
                  <a:moveTo>
                    <a:pt x="704848" y="461434"/>
                  </a:moveTo>
                  <a:cubicBezTo>
                    <a:pt x="617919" y="461846"/>
                    <a:pt x="529547" y="530648"/>
                    <a:pt x="529960" y="622727"/>
                  </a:cubicBezTo>
                  <a:lnTo>
                    <a:pt x="529960" y="725226"/>
                  </a:lnTo>
                  <a:cubicBezTo>
                    <a:pt x="496208" y="728119"/>
                    <a:pt x="469840" y="756526"/>
                    <a:pt x="469840" y="791091"/>
                  </a:cubicBezTo>
                  <a:lnTo>
                    <a:pt x="469840" y="1057120"/>
                  </a:lnTo>
                  <a:cubicBezTo>
                    <a:pt x="469840" y="1093852"/>
                    <a:pt x="499617" y="1123629"/>
                    <a:pt x="536349" y="1123629"/>
                  </a:cubicBezTo>
                  <a:lnTo>
                    <a:pt x="871343" y="1123629"/>
                  </a:lnTo>
                  <a:cubicBezTo>
                    <a:pt x="908075" y="1123629"/>
                    <a:pt x="937852" y="1093852"/>
                    <a:pt x="937852" y="1057120"/>
                  </a:cubicBezTo>
                  <a:lnTo>
                    <a:pt x="937852" y="791091"/>
                  </a:lnTo>
                  <a:cubicBezTo>
                    <a:pt x="937852" y="755520"/>
                    <a:pt x="909928" y="726472"/>
                    <a:pt x="874792" y="724930"/>
                  </a:cubicBezTo>
                  <a:cubicBezTo>
                    <a:pt x="874789" y="692087"/>
                    <a:pt x="874589" y="709210"/>
                    <a:pt x="874793" y="623345"/>
                  </a:cubicBezTo>
                  <a:cubicBezTo>
                    <a:pt x="874999" y="536621"/>
                    <a:pt x="791778" y="461022"/>
                    <a:pt x="704848" y="461434"/>
                  </a:cubicBezTo>
                  <a:close/>
                  <a:moveTo>
                    <a:pt x="695394" y="0"/>
                  </a:moveTo>
                  <a:cubicBezTo>
                    <a:pt x="895720" y="148883"/>
                    <a:pt x="1163791" y="186000"/>
                    <a:pt x="1407693" y="200525"/>
                  </a:cubicBezTo>
                  <a:cubicBezTo>
                    <a:pt x="1390747" y="285861"/>
                    <a:pt x="1461517" y="1376262"/>
                    <a:pt x="694708" y="1585061"/>
                  </a:cubicBezTo>
                  <a:cubicBezTo>
                    <a:pt x="23523" y="1327239"/>
                    <a:pt x="4842" y="669975"/>
                    <a:pt x="0" y="196090"/>
                  </a:cubicBezTo>
                  <a:cubicBezTo>
                    <a:pt x="235429" y="194275"/>
                    <a:pt x="456333" y="161593"/>
                    <a:pt x="695394" y="0"/>
                  </a:cubicBezTo>
                  <a:close/>
                </a:path>
              </a:pathLst>
            </a:cu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51" normalizeH="0" baseline="0" noProof="0" dirty="0" err="1">
                <a:ln>
                  <a:noFill/>
                </a:ln>
                <a:solidFill>
                  <a:srgbClr val="FFFFFF"/>
                </a:solidFill>
                <a:effectLst/>
                <a:uLnTx/>
                <a:uFillTx/>
                <a:latin typeface="Segoe UI Semilight"/>
                <a:ea typeface="Segoe UI" pitchFamily="34" charset="0"/>
                <a:cs typeface="Segoe UI" pitchFamily="34" charset="0"/>
              </a:endParaRPr>
            </a:p>
          </p:txBody>
        </p:sp>
      </p:grpSp>
      <p:sp>
        <p:nvSpPr>
          <p:cNvPr id="34" name="Freeform 33"/>
          <p:cNvSpPr/>
          <p:nvPr/>
        </p:nvSpPr>
        <p:spPr bwMode="auto">
          <a:xfrm>
            <a:off x="7391766" y="4205811"/>
            <a:ext cx="538566" cy="690740"/>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37" name="TextBox 36"/>
          <p:cNvSpPr txBox="1"/>
          <p:nvPr/>
        </p:nvSpPr>
        <p:spPr>
          <a:xfrm>
            <a:off x="8438067" y="2433826"/>
            <a:ext cx="995884" cy="590931"/>
          </a:xfrm>
          <a:prstGeom prst="rect">
            <a:avLst/>
          </a:prstGeom>
          <a:noFill/>
        </p:spPr>
        <p:txBody>
          <a:bodyPr wrap="square" lIns="91440" tIns="45720" rIns="91440" bIns="45720" rtlCol="0">
            <a:spAutoFit/>
          </a:bodyPr>
          <a:lstStyle/>
          <a:p>
            <a:pPr marL="0" marR="0" lvl="0" indent="0" algn="l" defTabSz="913154" rtl="0" eaLnBrk="1" fontAlgn="base" latinLnBrk="0" hangingPunct="1">
              <a:lnSpc>
                <a:spcPct val="90000"/>
              </a:lnSpc>
              <a:spcBef>
                <a:spcPct val="0"/>
              </a:spcBef>
              <a:spcAft>
                <a:spcPts val="588"/>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a:ea typeface="+mn-ea"/>
                <a:cs typeface="+mn-cs"/>
              </a:rPr>
              <a:t>Real-time threat alerts to admins</a:t>
            </a:r>
            <a:endParaRPr kumimoji="0" lang="en-US" sz="900" b="0" i="0" u="none" strike="noStrike" kern="0" cap="none" spc="0" normalizeH="0" baseline="0" noProof="0" dirty="0">
              <a:ln>
                <a:noFill/>
              </a:ln>
              <a:solidFill>
                <a:srgbClr val="0078D7"/>
              </a:solidFill>
              <a:effectLst/>
              <a:uLnTx/>
              <a:uFillTx/>
              <a:latin typeface="Segoe UI"/>
              <a:ea typeface="+mn-ea"/>
              <a:cs typeface="+mn-cs"/>
            </a:endParaRPr>
          </a:p>
        </p:txBody>
      </p:sp>
      <p:sp>
        <p:nvSpPr>
          <p:cNvPr id="38" name="Freeform 37"/>
          <p:cNvSpPr/>
          <p:nvPr/>
        </p:nvSpPr>
        <p:spPr>
          <a:xfrm>
            <a:off x="7855008" y="2395700"/>
            <a:ext cx="579302" cy="592110"/>
          </a:xfrm>
          <a:custGeom>
            <a:avLst/>
            <a:gdLst>
              <a:gd name="connsiteX0" fmla="*/ 144221 w 472986"/>
              <a:gd name="connsiteY0" fmla="*/ 268455 h 483444"/>
              <a:gd name="connsiteX1" fmla="*/ 161694 w 472986"/>
              <a:gd name="connsiteY1" fmla="*/ 269401 h 483444"/>
              <a:gd name="connsiteX2" fmla="*/ 174754 w 472986"/>
              <a:gd name="connsiteY2" fmla="*/ 283795 h 483444"/>
              <a:gd name="connsiteX3" fmla="*/ 198023 w 472986"/>
              <a:gd name="connsiteY3" fmla="*/ 339751 h 483444"/>
              <a:gd name="connsiteX4" fmla="*/ 199021 w 472986"/>
              <a:gd name="connsiteY4" fmla="*/ 359161 h 483444"/>
              <a:gd name="connsiteX5" fmla="*/ 191717 w 472986"/>
              <a:gd name="connsiteY5" fmla="*/ 367346 h 483444"/>
              <a:gd name="connsiteX6" fmla="*/ 159325 w 472986"/>
              <a:gd name="connsiteY6" fmla="*/ 289450 h 483444"/>
              <a:gd name="connsiteX7" fmla="*/ 150069 w 472986"/>
              <a:gd name="connsiteY7" fmla="*/ 284801 h 483444"/>
              <a:gd name="connsiteX8" fmla="*/ 20397 w 472986"/>
              <a:gd name="connsiteY8" fmla="*/ 338725 h 483444"/>
              <a:gd name="connsiteX9" fmla="*/ 17167 w 472986"/>
              <a:gd name="connsiteY9" fmla="*/ 348566 h 483444"/>
              <a:gd name="connsiteX10" fmla="*/ 49560 w 472986"/>
              <a:gd name="connsiteY10" fmla="*/ 426462 h 483444"/>
              <a:gd name="connsiteX11" fmla="*/ 38607 w 472986"/>
              <a:gd name="connsiteY11" fmla="*/ 425869 h 483444"/>
              <a:gd name="connsiteX12" fmla="*/ 25547 w 472986"/>
              <a:gd name="connsiteY12" fmla="*/ 411475 h 483444"/>
              <a:gd name="connsiteX13" fmla="*/ 2278 w 472986"/>
              <a:gd name="connsiteY13" fmla="*/ 355519 h 483444"/>
              <a:gd name="connsiteX14" fmla="*/ 12931 w 472986"/>
              <a:gd name="connsiteY14" fmla="*/ 323052 h 483444"/>
              <a:gd name="connsiteX15" fmla="*/ 351362 w 472986"/>
              <a:gd name="connsiteY15" fmla="*/ 210067 h 483444"/>
              <a:gd name="connsiteX16" fmla="*/ 386407 w 472986"/>
              <a:gd name="connsiteY16" fmla="*/ 214412 h 483444"/>
              <a:gd name="connsiteX17" fmla="*/ 472986 w 472986"/>
              <a:gd name="connsiteY17" fmla="*/ 464850 h 483444"/>
              <a:gd name="connsiteX18" fmla="*/ 319585 w 472986"/>
              <a:gd name="connsiteY18" fmla="*/ 471823 h 483444"/>
              <a:gd name="connsiteX19" fmla="*/ 368395 w 472986"/>
              <a:gd name="connsiteY19" fmla="*/ 355610 h 483444"/>
              <a:gd name="connsiteX20" fmla="*/ 342828 w 472986"/>
              <a:gd name="connsiteY20" fmla="*/ 348637 h 483444"/>
              <a:gd name="connsiteX21" fmla="*/ 284721 w 472986"/>
              <a:gd name="connsiteY21" fmla="*/ 478796 h 483444"/>
              <a:gd name="connsiteX22" fmla="*/ 84835 w 472986"/>
              <a:gd name="connsiteY22" fmla="*/ 483444 h 483444"/>
              <a:gd name="connsiteX23" fmla="*/ 89484 w 472986"/>
              <a:gd name="connsiteY23" fmla="*/ 406744 h 483444"/>
              <a:gd name="connsiteX24" fmla="*/ 212670 w 472986"/>
              <a:gd name="connsiteY24" fmla="*/ 395122 h 483444"/>
              <a:gd name="connsiteX25" fmla="*/ 254506 w 472986"/>
              <a:gd name="connsiteY25" fmla="*/ 264964 h 483444"/>
              <a:gd name="connsiteX26" fmla="*/ 351362 w 472986"/>
              <a:gd name="connsiteY26" fmla="*/ 210067 h 483444"/>
              <a:gd name="connsiteX27" fmla="*/ 287045 w 472986"/>
              <a:gd name="connsiteY27" fmla="*/ 0 h 483444"/>
              <a:gd name="connsiteX28" fmla="*/ 386988 w 472986"/>
              <a:gd name="connsiteY28" fmla="*/ 99943 h 483444"/>
              <a:gd name="connsiteX29" fmla="*/ 287045 w 472986"/>
              <a:gd name="connsiteY29" fmla="*/ 199886 h 483444"/>
              <a:gd name="connsiteX30" fmla="*/ 187102 w 472986"/>
              <a:gd name="connsiteY30" fmla="*/ 99943 h 483444"/>
              <a:gd name="connsiteX31" fmla="*/ 287045 w 472986"/>
              <a:gd name="connsiteY31" fmla="*/ 0 h 48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72986" h="483444">
                <a:moveTo>
                  <a:pt x="144221" y="268455"/>
                </a:moveTo>
                <a:cubicBezTo>
                  <a:pt x="149908" y="266090"/>
                  <a:pt x="156169" y="266625"/>
                  <a:pt x="161694" y="269401"/>
                </a:cubicBezTo>
                <a:cubicBezTo>
                  <a:pt x="167219" y="272177"/>
                  <a:pt x="172009" y="277194"/>
                  <a:pt x="174754" y="283795"/>
                </a:cubicBezTo>
                <a:lnTo>
                  <a:pt x="198023" y="339751"/>
                </a:lnTo>
                <a:cubicBezTo>
                  <a:pt x="200768" y="346351"/>
                  <a:pt x="200949" y="353286"/>
                  <a:pt x="199021" y="359161"/>
                </a:cubicBezTo>
                <a:lnTo>
                  <a:pt x="191717" y="367346"/>
                </a:lnTo>
                <a:lnTo>
                  <a:pt x="159325" y="289450"/>
                </a:lnTo>
                <a:cubicBezTo>
                  <a:pt x="157661" y="285449"/>
                  <a:pt x="153516" y="283367"/>
                  <a:pt x="150069" y="284801"/>
                </a:cubicBezTo>
                <a:lnTo>
                  <a:pt x="20397" y="338725"/>
                </a:lnTo>
                <a:cubicBezTo>
                  <a:pt x="16949" y="340158"/>
                  <a:pt x="15503" y="344565"/>
                  <a:pt x="17167" y="348566"/>
                </a:cubicBezTo>
                <a:lnTo>
                  <a:pt x="49560" y="426462"/>
                </a:lnTo>
                <a:lnTo>
                  <a:pt x="38607" y="425869"/>
                </a:lnTo>
                <a:cubicBezTo>
                  <a:pt x="33082" y="423092"/>
                  <a:pt x="28292" y="418076"/>
                  <a:pt x="25547" y="411475"/>
                </a:cubicBezTo>
                <a:lnTo>
                  <a:pt x="2278" y="355519"/>
                </a:lnTo>
                <a:cubicBezTo>
                  <a:pt x="-3212" y="342318"/>
                  <a:pt x="1558" y="327782"/>
                  <a:pt x="12931" y="323052"/>
                </a:cubicBezTo>
                <a:close/>
                <a:moveTo>
                  <a:pt x="351362" y="210067"/>
                </a:moveTo>
                <a:cubicBezTo>
                  <a:pt x="363286" y="210133"/>
                  <a:pt x="375125" y="211749"/>
                  <a:pt x="386407" y="214412"/>
                </a:cubicBezTo>
                <a:cubicBezTo>
                  <a:pt x="443739" y="245982"/>
                  <a:pt x="465239" y="262736"/>
                  <a:pt x="472986" y="464850"/>
                </a:cubicBezTo>
                <a:cubicBezTo>
                  <a:pt x="416623" y="468918"/>
                  <a:pt x="370719" y="469499"/>
                  <a:pt x="319585" y="471823"/>
                </a:cubicBezTo>
                <a:cubicBezTo>
                  <a:pt x="327139" y="445287"/>
                  <a:pt x="350382" y="394348"/>
                  <a:pt x="368395" y="355610"/>
                </a:cubicBezTo>
                <a:lnTo>
                  <a:pt x="342828" y="348637"/>
                </a:lnTo>
                <a:lnTo>
                  <a:pt x="284721" y="478796"/>
                </a:lnTo>
                <a:lnTo>
                  <a:pt x="84835" y="483444"/>
                </a:lnTo>
                <a:cubicBezTo>
                  <a:pt x="68372" y="474728"/>
                  <a:pt x="49004" y="431149"/>
                  <a:pt x="89484" y="406744"/>
                </a:cubicBezTo>
                <a:lnTo>
                  <a:pt x="212670" y="395122"/>
                </a:lnTo>
                <a:lnTo>
                  <a:pt x="254506" y="264964"/>
                </a:lnTo>
                <a:cubicBezTo>
                  <a:pt x="279056" y="223636"/>
                  <a:pt x="315590" y="209872"/>
                  <a:pt x="351362" y="210067"/>
                </a:cubicBezTo>
                <a:close/>
                <a:moveTo>
                  <a:pt x="287045" y="0"/>
                </a:moveTo>
                <a:cubicBezTo>
                  <a:pt x="342242" y="0"/>
                  <a:pt x="386988" y="44746"/>
                  <a:pt x="386988" y="99943"/>
                </a:cubicBezTo>
                <a:cubicBezTo>
                  <a:pt x="386988" y="155140"/>
                  <a:pt x="342242" y="199886"/>
                  <a:pt x="287045" y="199886"/>
                </a:cubicBezTo>
                <a:cubicBezTo>
                  <a:pt x="231848" y="199886"/>
                  <a:pt x="187102" y="155140"/>
                  <a:pt x="187102" y="99943"/>
                </a:cubicBezTo>
                <a:cubicBezTo>
                  <a:pt x="187102" y="44746"/>
                  <a:pt x="231848" y="0"/>
                  <a:pt x="287045" y="0"/>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prstClr val="white"/>
              </a:solidFill>
              <a:effectLst/>
              <a:uLnTx/>
              <a:uFillTx/>
              <a:latin typeface="Segoe UI"/>
              <a:ea typeface="+mn-ea"/>
              <a:cs typeface="+mn-cs"/>
            </a:endParaRPr>
          </a:p>
        </p:txBody>
      </p:sp>
      <p:sp>
        <p:nvSpPr>
          <p:cNvPr id="48" name="TextBox 47"/>
          <p:cNvSpPr txBox="1"/>
          <p:nvPr/>
        </p:nvSpPr>
        <p:spPr>
          <a:xfrm>
            <a:off x="10228056" y="4802563"/>
            <a:ext cx="1373394" cy="424732"/>
          </a:xfrm>
          <a:prstGeom prst="rect">
            <a:avLst/>
          </a:prstGeom>
          <a:noFill/>
        </p:spPr>
        <p:txBody>
          <a:bodyPr wrap="square" lIns="91440" tIns="45720" rIns="91440" bIns="45720" rtlCol="0">
            <a:spAutoFit/>
          </a:bodyPr>
          <a:lstStyle/>
          <a:p>
            <a:pPr marL="0" marR="0" lvl="0" indent="0" algn="ctr" defTabSz="913154" rtl="0" eaLnBrk="1" fontAlgn="base" latinLnBrk="0" hangingPunct="1">
              <a:lnSpc>
                <a:spcPct val="90000"/>
              </a:lnSpc>
              <a:spcBef>
                <a:spcPct val="0"/>
              </a:spcBef>
              <a:spcAft>
                <a:spcPts val="588"/>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a:ea typeface="+mn-ea"/>
                <a:cs typeface="+mn-cs"/>
              </a:rPr>
              <a:t>Real-time alerts </a:t>
            </a:r>
            <a:r>
              <a:rPr kumimoji="0" lang="en-US" sz="1200" b="0" i="0" u="none" strike="noStrike" kern="0" cap="none" spc="0" normalizeH="0" baseline="0" noProof="0" dirty="0">
                <a:ln>
                  <a:noFill/>
                </a:ln>
                <a:solidFill>
                  <a:srgbClr val="0078D7"/>
                </a:solidFill>
                <a:effectLst/>
                <a:uLnTx/>
                <a:uFillTx/>
                <a:latin typeface="Segoe UI"/>
                <a:ea typeface="+mn-ea"/>
                <a:cs typeface="+mn-cs"/>
              </a:rPr>
              <a:t>to developers</a:t>
            </a:r>
            <a:endParaRPr kumimoji="0" lang="en-US" sz="900" b="0" i="0" u="none" strike="noStrike" kern="0" cap="none" spc="0" normalizeH="0" baseline="0" noProof="0" dirty="0">
              <a:ln>
                <a:noFill/>
              </a:ln>
              <a:solidFill>
                <a:srgbClr val="0078D7"/>
              </a:solidFill>
              <a:effectLst/>
              <a:uLnTx/>
              <a:uFillTx/>
              <a:latin typeface="Segoe UI"/>
              <a:ea typeface="+mn-ea"/>
              <a:cs typeface="+mn-cs"/>
            </a:endParaRPr>
          </a:p>
        </p:txBody>
      </p:sp>
      <p:sp>
        <p:nvSpPr>
          <p:cNvPr id="51" name="Freeform 5"/>
          <p:cNvSpPr>
            <a:spLocks noEditPoints="1"/>
          </p:cNvSpPr>
          <p:nvPr/>
        </p:nvSpPr>
        <p:spPr bwMode="auto">
          <a:xfrm>
            <a:off x="7700355" y="2609133"/>
            <a:ext cx="257082" cy="212826"/>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53" name="Freeform 204"/>
          <p:cNvSpPr/>
          <p:nvPr/>
        </p:nvSpPr>
        <p:spPr>
          <a:xfrm>
            <a:off x="8936009" y="5504354"/>
            <a:ext cx="653356" cy="632156"/>
          </a:xfrm>
          <a:custGeom>
            <a:avLst/>
            <a:gdLst>
              <a:gd name="connsiteX0" fmla="*/ 304720 w 651383"/>
              <a:gd name="connsiteY0" fmla="*/ 452535 h 638603"/>
              <a:gd name="connsiteX1" fmla="*/ 346664 w 651383"/>
              <a:gd name="connsiteY1" fmla="*/ 452535 h 638603"/>
              <a:gd name="connsiteX2" fmla="*/ 357778 w 651383"/>
              <a:gd name="connsiteY2" fmla="*/ 501481 h 638603"/>
              <a:gd name="connsiteX3" fmla="*/ 325692 w 651383"/>
              <a:gd name="connsiteY3" fmla="*/ 560565 h 638603"/>
              <a:gd name="connsiteX4" fmla="*/ 293606 w 651383"/>
              <a:gd name="connsiteY4" fmla="*/ 501481 h 638603"/>
              <a:gd name="connsiteX5" fmla="*/ 300597 w 651383"/>
              <a:gd name="connsiteY5" fmla="*/ 391711 h 638603"/>
              <a:gd name="connsiteX6" fmla="*/ 350787 w 651383"/>
              <a:gd name="connsiteY6" fmla="*/ 391711 h 638603"/>
              <a:gd name="connsiteX7" fmla="*/ 357778 w 651383"/>
              <a:gd name="connsiteY7" fmla="*/ 398729 h 638603"/>
              <a:gd name="connsiteX8" fmla="*/ 347561 w 651383"/>
              <a:gd name="connsiteY8" fmla="*/ 442457 h 638603"/>
              <a:gd name="connsiteX9" fmla="*/ 303466 w 651383"/>
              <a:gd name="connsiteY9" fmla="*/ 442457 h 638603"/>
              <a:gd name="connsiteX10" fmla="*/ 293607 w 651383"/>
              <a:gd name="connsiteY10" fmla="*/ 398729 h 638603"/>
              <a:gd name="connsiteX11" fmla="*/ 300597 w 651383"/>
              <a:gd name="connsiteY11" fmla="*/ 391711 h 638603"/>
              <a:gd name="connsiteX12" fmla="*/ 215361 w 651383"/>
              <a:gd name="connsiteY12" fmla="*/ 349060 h 638603"/>
              <a:gd name="connsiteX13" fmla="*/ 293127 w 651383"/>
              <a:gd name="connsiteY13" fmla="*/ 562776 h 638603"/>
              <a:gd name="connsiteX14" fmla="*/ 325692 w 651383"/>
              <a:gd name="connsiteY14" fmla="*/ 615120 h 638603"/>
              <a:gd name="connsiteX15" fmla="*/ 358256 w 651383"/>
              <a:gd name="connsiteY15" fmla="*/ 562776 h 638603"/>
              <a:gd name="connsiteX16" fmla="*/ 436022 w 651383"/>
              <a:gd name="connsiteY16" fmla="*/ 349061 h 638603"/>
              <a:gd name="connsiteX17" fmla="*/ 437188 w 651383"/>
              <a:gd name="connsiteY17" fmla="*/ 349503 h 638603"/>
              <a:gd name="connsiteX18" fmla="*/ 437311 w 651383"/>
              <a:gd name="connsiteY18" fmla="*/ 349060 h 638603"/>
              <a:gd name="connsiteX19" fmla="*/ 650296 w 651383"/>
              <a:gd name="connsiteY19" fmla="*/ 594470 h 638603"/>
              <a:gd name="connsiteX20" fmla="*/ 437383 w 651383"/>
              <a:gd name="connsiteY20" fmla="*/ 636409 h 638603"/>
              <a:gd name="connsiteX21" fmla="*/ 332140 w 651383"/>
              <a:gd name="connsiteY21" fmla="*/ 638434 h 638603"/>
              <a:gd name="connsiteX22" fmla="*/ 328033 w 651383"/>
              <a:gd name="connsiteY22" fmla="*/ 638603 h 638603"/>
              <a:gd name="connsiteX23" fmla="*/ 325692 w 651383"/>
              <a:gd name="connsiteY23" fmla="*/ 638558 h 638603"/>
              <a:gd name="connsiteX24" fmla="*/ 323351 w 651383"/>
              <a:gd name="connsiteY24" fmla="*/ 638603 h 638603"/>
              <a:gd name="connsiteX25" fmla="*/ 319243 w 651383"/>
              <a:gd name="connsiteY25" fmla="*/ 638434 h 638603"/>
              <a:gd name="connsiteX26" fmla="*/ 214001 w 651383"/>
              <a:gd name="connsiteY26" fmla="*/ 636409 h 638603"/>
              <a:gd name="connsiteX27" fmla="*/ 1088 w 651383"/>
              <a:gd name="connsiteY27" fmla="*/ 594470 h 638603"/>
              <a:gd name="connsiteX28" fmla="*/ 214072 w 651383"/>
              <a:gd name="connsiteY28" fmla="*/ 349061 h 638603"/>
              <a:gd name="connsiteX29" fmla="*/ 214196 w 651383"/>
              <a:gd name="connsiteY29" fmla="*/ 349502 h 638603"/>
              <a:gd name="connsiteX30" fmla="*/ 325693 w 651383"/>
              <a:gd name="connsiteY30" fmla="*/ 0 h 638603"/>
              <a:gd name="connsiteX31" fmla="*/ 492060 w 651383"/>
              <a:gd name="connsiteY31" fmla="*/ 167016 h 638603"/>
              <a:gd name="connsiteX32" fmla="*/ 325693 w 651383"/>
              <a:gd name="connsiteY32" fmla="*/ 334032 h 638603"/>
              <a:gd name="connsiteX33" fmla="*/ 159326 w 651383"/>
              <a:gd name="connsiteY33" fmla="*/ 167016 h 638603"/>
              <a:gd name="connsiteX34" fmla="*/ 325693 w 651383"/>
              <a:gd name="connsiteY34" fmla="*/ 0 h 638603"/>
              <a:gd name="connsiteX0" fmla="*/ 304720 w 651383"/>
              <a:gd name="connsiteY0" fmla="*/ 452535 h 638603"/>
              <a:gd name="connsiteX1" fmla="*/ 346664 w 651383"/>
              <a:gd name="connsiteY1" fmla="*/ 452535 h 638603"/>
              <a:gd name="connsiteX2" fmla="*/ 357778 w 651383"/>
              <a:gd name="connsiteY2" fmla="*/ 501481 h 638603"/>
              <a:gd name="connsiteX3" fmla="*/ 325692 w 651383"/>
              <a:gd name="connsiteY3" fmla="*/ 560565 h 638603"/>
              <a:gd name="connsiteX4" fmla="*/ 293606 w 651383"/>
              <a:gd name="connsiteY4" fmla="*/ 501481 h 638603"/>
              <a:gd name="connsiteX5" fmla="*/ 304720 w 651383"/>
              <a:gd name="connsiteY5" fmla="*/ 452535 h 638603"/>
              <a:gd name="connsiteX6" fmla="*/ 300597 w 651383"/>
              <a:gd name="connsiteY6" fmla="*/ 391711 h 638603"/>
              <a:gd name="connsiteX7" fmla="*/ 350787 w 651383"/>
              <a:gd name="connsiteY7" fmla="*/ 391711 h 638603"/>
              <a:gd name="connsiteX8" fmla="*/ 357778 w 651383"/>
              <a:gd name="connsiteY8" fmla="*/ 398729 h 638603"/>
              <a:gd name="connsiteX9" fmla="*/ 347561 w 651383"/>
              <a:gd name="connsiteY9" fmla="*/ 442457 h 638603"/>
              <a:gd name="connsiteX10" fmla="*/ 303466 w 651383"/>
              <a:gd name="connsiteY10" fmla="*/ 442457 h 638603"/>
              <a:gd name="connsiteX11" fmla="*/ 293607 w 651383"/>
              <a:gd name="connsiteY11" fmla="*/ 398729 h 638603"/>
              <a:gd name="connsiteX12" fmla="*/ 300597 w 651383"/>
              <a:gd name="connsiteY12" fmla="*/ 391711 h 638603"/>
              <a:gd name="connsiteX13" fmla="*/ 215361 w 651383"/>
              <a:gd name="connsiteY13" fmla="*/ 349060 h 638603"/>
              <a:gd name="connsiteX14" fmla="*/ 293127 w 651383"/>
              <a:gd name="connsiteY14" fmla="*/ 562776 h 638603"/>
              <a:gd name="connsiteX15" fmla="*/ 325692 w 651383"/>
              <a:gd name="connsiteY15" fmla="*/ 615120 h 638603"/>
              <a:gd name="connsiteX16" fmla="*/ 358256 w 651383"/>
              <a:gd name="connsiteY16" fmla="*/ 562776 h 638603"/>
              <a:gd name="connsiteX17" fmla="*/ 436022 w 651383"/>
              <a:gd name="connsiteY17" fmla="*/ 349061 h 638603"/>
              <a:gd name="connsiteX18" fmla="*/ 437188 w 651383"/>
              <a:gd name="connsiteY18" fmla="*/ 349503 h 638603"/>
              <a:gd name="connsiteX19" fmla="*/ 437311 w 651383"/>
              <a:gd name="connsiteY19" fmla="*/ 349060 h 638603"/>
              <a:gd name="connsiteX20" fmla="*/ 650296 w 651383"/>
              <a:gd name="connsiteY20" fmla="*/ 594470 h 638603"/>
              <a:gd name="connsiteX21" fmla="*/ 437383 w 651383"/>
              <a:gd name="connsiteY21" fmla="*/ 636409 h 638603"/>
              <a:gd name="connsiteX22" fmla="*/ 332140 w 651383"/>
              <a:gd name="connsiteY22" fmla="*/ 638434 h 638603"/>
              <a:gd name="connsiteX23" fmla="*/ 328033 w 651383"/>
              <a:gd name="connsiteY23" fmla="*/ 638603 h 638603"/>
              <a:gd name="connsiteX24" fmla="*/ 325692 w 651383"/>
              <a:gd name="connsiteY24" fmla="*/ 638558 h 638603"/>
              <a:gd name="connsiteX25" fmla="*/ 323351 w 651383"/>
              <a:gd name="connsiteY25" fmla="*/ 638603 h 638603"/>
              <a:gd name="connsiteX26" fmla="*/ 319243 w 651383"/>
              <a:gd name="connsiteY26" fmla="*/ 638434 h 638603"/>
              <a:gd name="connsiteX27" fmla="*/ 1088 w 651383"/>
              <a:gd name="connsiteY27" fmla="*/ 594470 h 638603"/>
              <a:gd name="connsiteX28" fmla="*/ 214072 w 651383"/>
              <a:gd name="connsiteY28" fmla="*/ 349061 h 638603"/>
              <a:gd name="connsiteX29" fmla="*/ 214196 w 651383"/>
              <a:gd name="connsiteY29" fmla="*/ 349502 h 638603"/>
              <a:gd name="connsiteX30" fmla="*/ 215361 w 651383"/>
              <a:gd name="connsiteY30" fmla="*/ 349060 h 638603"/>
              <a:gd name="connsiteX31" fmla="*/ 325693 w 651383"/>
              <a:gd name="connsiteY31" fmla="*/ 0 h 638603"/>
              <a:gd name="connsiteX32" fmla="*/ 492060 w 651383"/>
              <a:gd name="connsiteY32" fmla="*/ 167016 h 638603"/>
              <a:gd name="connsiteX33" fmla="*/ 325693 w 651383"/>
              <a:gd name="connsiteY33" fmla="*/ 334032 h 638603"/>
              <a:gd name="connsiteX34" fmla="*/ 159326 w 651383"/>
              <a:gd name="connsiteY34" fmla="*/ 167016 h 638603"/>
              <a:gd name="connsiteX35" fmla="*/ 325693 w 651383"/>
              <a:gd name="connsiteY35" fmla="*/ 0 h 638603"/>
              <a:gd name="connsiteX0" fmla="*/ 304720 w 651383"/>
              <a:gd name="connsiteY0" fmla="*/ 452535 h 638603"/>
              <a:gd name="connsiteX1" fmla="*/ 346664 w 651383"/>
              <a:gd name="connsiteY1" fmla="*/ 452535 h 638603"/>
              <a:gd name="connsiteX2" fmla="*/ 357778 w 651383"/>
              <a:gd name="connsiteY2" fmla="*/ 501481 h 638603"/>
              <a:gd name="connsiteX3" fmla="*/ 325692 w 651383"/>
              <a:gd name="connsiteY3" fmla="*/ 560565 h 638603"/>
              <a:gd name="connsiteX4" fmla="*/ 293606 w 651383"/>
              <a:gd name="connsiteY4" fmla="*/ 501481 h 638603"/>
              <a:gd name="connsiteX5" fmla="*/ 304720 w 651383"/>
              <a:gd name="connsiteY5" fmla="*/ 452535 h 638603"/>
              <a:gd name="connsiteX6" fmla="*/ 300597 w 651383"/>
              <a:gd name="connsiteY6" fmla="*/ 391711 h 638603"/>
              <a:gd name="connsiteX7" fmla="*/ 350787 w 651383"/>
              <a:gd name="connsiteY7" fmla="*/ 391711 h 638603"/>
              <a:gd name="connsiteX8" fmla="*/ 357778 w 651383"/>
              <a:gd name="connsiteY8" fmla="*/ 398729 h 638603"/>
              <a:gd name="connsiteX9" fmla="*/ 347561 w 651383"/>
              <a:gd name="connsiteY9" fmla="*/ 442457 h 638603"/>
              <a:gd name="connsiteX10" fmla="*/ 303466 w 651383"/>
              <a:gd name="connsiteY10" fmla="*/ 442457 h 638603"/>
              <a:gd name="connsiteX11" fmla="*/ 293607 w 651383"/>
              <a:gd name="connsiteY11" fmla="*/ 398729 h 638603"/>
              <a:gd name="connsiteX12" fmla="*/ 300597 w 651383"/>
              <a:gd name="connsiteY12" fmla="*/ 391711 h 638603"/>
              <a:gd name="connsiteX13" fmla="*/ 215361 w 651383"/>
              <a:gd name="connsiteY13" fmla="*/ 349060 h 638603"/>
              <a:gd name="connsiteX14" fmla="*/ 293127 w 651383"/>
              <a:gd name="connsiteY14" fmla="*/ 562776 h 638603"/>
              <a:gd name="connsiteX15" fmla="*/ 325692 w 651383"/>
              <a:gd name="connsiteY15" fmla="*/ 615120 h 638603"/>
              <a:gd name="connsiteX16" fmla="*/ 358256 w 651383"/>
              <a:gd name="connsiteY16" fmla="*/ 562776 h 638603"/>
              <a:gd name="connsiteX17" fmla="*/ 436022 w 651383"/>
              <a:gd name="connsiteY17" fmla="*/ 349061 h 638603"/>
              <a:gd name="connsiteX18" fmla="*/ 437188 w 651383"/>
              <a:gd name="connsiteY18" fmla="*/ 349503 h 638603"/>
              <a:gd name="connsiteX19" fmla="*/ 437311 w 651383"/>
              <a:gd name="connsiteY19" fmla="*/ 349060 h 638603"/>
              <a:gd name="connsiteX20" fmla="*/ 650296 w 651383"/>
              <a:gd name="connsiteY20" fmla="*/ 594470 h 638603"/>
              <a:gd name="connsiteX21" fmla="*/ 332140 w 651383"/>
              <a:gd name="connsiteY21" fmla="*/ 638434 h 638603"/>
              <a:gd name="connsiteX22" fmla="*/ 328033 w 651383"/>
              <a:gd name="connsiteY22" fmla="*/ 638603 h 638603"/>
              <a:gd name="connsiteX23" fmla="*/ 325692 w 651383"/>
              <a:gd name="connsiteY23" fmla="*/ 638558 h 638603"/>
              <a:gd name="connsiteX24" fmla="*/ 323351 w 651383"/>
              <a:gd name="connsiteY24" fmla="*/ 638603 h 638603"/>
              <a:gd name="connsiteX25" fmla="*/ 319243 w 651383"/>
              <a:gd name="connsiteY25" fmla="*/ 638434 h 638603"/>
              <a:gd name="connsiteX26" fmla="*/ 1088 w 651383"/>
              <a:gd name="connsiteY26" fmla="*/ 594470 h 638603"/>
              <a:gd name="connsiteX27" fmla="*/ 214072 w 651383"/>
              <a:gd name="connsiteY27" fmla="*/ 349061 h 638603"/>
              <a:gd name="connsiteX28" fmla="*/ 214196 w 651383"/>
              <a:gd name="connsiteY28" fmla="*/ 349502 h 638603"/>
              <a:gd name="connsiteX29" fmla="*/ 215361 w 651383"/>
              <a:gd name="connsiteY29" fmla="*/ 349060 h 638603"/>
              <a:gd name="connsiteX30" fmla="*/ 325693 w 651383"/>
              <a:gd name="connsiteY30" fmla="*/ 0 h 638603"/>
              <a:gd name="connsiteX31" fmla="*/ 492060 w 651383"/>
              <a:gd name="connsiteY31" fmla="*/ 167016 h 638603"/>
              <a:gd name="connsiteX32" fmla="*/ 325693 w 651383"/>
              <a:gd name="connsiteY32" fmla="*/ 334032 h 638603"/>
              <a:gd name="connsiteX33" fmla="*/ 159326 w 651383"/>
              <a:gd name="connsiteY33" fmla="*/ 167016 h 638603"/>
              <a:gd name="connsiteX34" fmla="*/ 325693 w 651383"/>
              <a:gd name="connsiteY34" fmla="*/ 0 h 638603"/>
              <a:gd name="connsiteX0" fmla="*/ 304720 w 651383"/>
              <a:gd name="connsiteY0" fmla="*/ 452535 h 638603"/>
              <a:gd name="connsiteX1" fmla="*/ 346664 w 651383"/>
              <a:gd name="connsiteY1" fmla="*/ 452535 h 638603"/>
              <a:gd name="connsiteX2" fmla="*/ 357778 w 651383"/>
              <a:gd name="connsiteY2" fmla="*/ 501481 h 638603"/>
              <a:gd name="connsiteX3" fmla="*/ 325692 w 651383"/>
              <a:gd name="connsiteY3" fmla="*/ 560565 h 638603"/>
              <a:gd name="connsiteX4" fmla="*/ 293606 w 651383"/>
              <a:gd name="connsiteY4" fmla="*/ 501481 h 638603"/>
              <a:gd name="connsiteX5" fmla="*/ 304720 w 651383"/>
              <a:gd name="connsiteY5" fmla="*/ 452535 h 638603"/>
              <a:gd name="connsiteX6" fmla="*/ 300597 w 651383"/>
              <a:gd name="connsiteY6" fmla="*/ 391711 h 638603"/>
              <a:gd name="connsiteX7" fmla="*/ 350787 w 651383"/>
              <a:gd name="connsiteY7" fmla="*/ 391711 h 638603"/>
              <a:gd name="connsiteX8" fmla="*/ 357778 w 651383"/>
              <a:gd name="connsiteY8" fmla="*/ 398729 h 638603"/>
              <a:gd name="connsiteX9" fmla="*/ 347561 w 651383"/>
              <a:gd name="connsiteY9" fmla="*/ 442457 h 638603"/>
              <a:gd name="connsiteX10" fmla="*/ 303466 w 651383"/>
              <a:gd name="connsiteY10" fmla="*/ 442457 h 638603"/>
              <a:gd name="connsiteX11" fmla="*/ 293607 w 651383"/>
              <a:gd name="connsiteY11" fmla="*/ 398729 h 638603"/>
              <a:gd name="connsiteX12" fmla="*/ 300597 w 651383"/>
              <a:gd name="connsiteY12" fmla="*/ 391711 h 638603"/>
              <a:gd name="connsiteX13" fmla="*/ 215361 w 651383"/>
              <a:gd name="connsiteY13" fmla="*/ 349060 h 638603"/>
              <a:gd name="connsiteX14" fmla="*/ 293127 w 651383"/>
              <a:gd name="connsiteY14" fmla="*/ 562776 h 638603"/>
              <a:gd name="connsiteX15" fmla="*/ 325692 w 651383"/>
              <a:gd name="connsiteY15" fmla="*/ 615120 h 638603"/>
              <a:gd name="connsiteX16" fmla="*/ 358256 w 651383"/>
              <a:gd name="connsiteY16" fmla="*/ 562776 h 638603"/>
              <a:gd name="connsiteX17" fmla="*/ 436022 w 651383"/>
              <a:gd name="connsiteY17" fmla="*/ 349061 h 638603"/>
              <a:gd name="connsiteX18" fmla="*/ 437188 w 651383"/>
              <a:gd name="connsiteY18" fmla="*/ 349503 h 638603"/>
              <a:gd name="connsiteX19" fmla="*/ 437311 w 651383"/>
              <a:gd name="connsiteY19" fmla="*/ 349060 h 638603"/>
              <a:gd name="connsiteX20" fmla="*/ 650296 w 651383"/>
              <a:gd name="connsiteY20" fmla="*/ 594470 h 638603"/>
              <a:gd name="connsiteX21" fmla="*/ 328033 w 651383"/>
              <a:gd name="connsiteY21" fmla="*/ 638603 h 638603"/>
              <a:gd name="connsiteX22" fmla="*/ 325692 w 651383"/>
              <a:gd name="connsiteY22" fmla="*/ 638558 h 638603"/>
              <a:gd name="connsiteX23" fmla="*/ 323351 w 651383"/>
              <a:gd name="connsiteY23" fmla="*/ 638603 h 638603"/>
              <a:gd name="connsiteX24" fmla="*/ 319243 w 651383"/>
              <a:gd name="connsiteY24" fmla="*/ 638434 h 638603"/>
              <a:gd name="connsiteX25" fmla="*/ 1088 w 651383"/>
              <a:gd name="connsiteY25" fmla="*/ 594470 h 638603"/>
              <a:gd name="connsiteX26" fmla="*/ 214072 w 651383"/>
              <a:gd name="connsiteY26" fmla="*/ 349061 h 638603"/>
              <a:gd name="connsiteX27" fmla="*/ 214196 w 651383"/>
              <a:gd name="connsiteY27" fmla="*/ 349502 h 638603"/>
              <a:gd name="connsiteX28" fmla="*/ 215361 w 651383"/>
              <a:gd name="connsiteY28" fmla="*/ 349060 h 638603"/>
              <a:gd name="connsiteX29" fmla="*/ 325693 w 651383"/>
              <a:gd name="connsiteY29" fmla="*/ 0 h 638603"/>
              <a:gd name="connsiteX30" fmla="*/ 492060 w 651383"/>
              <a:gd name="connsiteY30" fmla="*/ 167016 h 638603"/>
              <a:gd name="connsiteX31" fmla="*/ 325693 w 651383"/>
              <a:gd name="connsiteY31" fmla="*/ 334032 h 638603"/>
              <a:gd name="connsiteX32" fmla="*/ 159326 w 651383"/>
              <a:gd name="connsiteY32" fmla="*/ 167016 h 638603"/>
              <a:gd name="connsiteX33" fmla="*/ 325693 w 651383"/>
              <a:gd name="connsiteY33" fmla="*/ 0 h 638603"/>
              <a:gd name="connsiteX0" fmla="*/ 304720 w 651383"/>
              <a:gd name="connsiteY0" fmla="*/ 452535 h 638603"/>
              <a:gd name="connsiteX1" fmla="*/ 346664 w 651383"/>
              <a:gd name="connsiteY1" fmla="*/ 452535 h 638603"/>
              <a:gd name="connsiteX2" fmla="*/ 357778 w 651383"/>
              <a:gd name="connsiteY2" fmla="*/ 501481 h 638603"/>
              <a:gd name="connsiteX3" fmla="*/ 325692 w 651383"/>
              <a:gd name="connsiteY3" fmla="*/ 560565 h 638603"/>
              <a:gd name="connsiteX4" fmla="*/ 293606 w 651383"/>
              <a:gd name="connsiteY4" fmla="*/ 501481 h 638603"/>
              <a:gd name="connsiteX5" fmla="*/ 304720 w 651383"/>
              <a:gd name="connsiteY5" fmla="*/ 452535 h 638603"/>
              <a:gd name="connsiteX6" fmla="*/ 300597 w 651383"/>
              <a:gd name="connsiteY6" fmla="*/ 391711 h 638603"/>
              <a:gd name="connsiteX7" fmla="*/ 350787 w 651383"/>
              <a:gd name="connsiteY7" fmla="*/ 391711 h 638603"/>
              <a:gd name="connsiteX8" fmla="*/ 357778 w 651383"/>
              <a:gd name="connsiteY8" fmla="*/ 398729 h 638603"/>
              <a:gd name="connsiteX9" fmla="*/ 347561 w 651383"/>
              <a:gd name="connsiteY9" fmla="*/ 442457 h 638603"/>
              <a:gd name="connsiteX10" fmla="*/ 303466 w 651383"/>
              <a:gd name="connsiteY10" fmla="*/ 442457 h 638603"/>
              <a:gd name="connsiteX11" fmla="*/ 293607 w 651383"/>
              <a:gd name="connsiteY11" fmla="*/ 398729 h 638603"/>
              <a:gd name="connsiteX12" fmla="*/ 300597 w 651383"/>
              <a:gd name="connsiteY12" fmla="*/ 391711 h 638603"/>
              <a:gd name="connsiteX13" fmla="*/ 215361 w 651383"/>
              <a:gd name="connsiteY13" fmla="*/ 349060 h 638603"/>
              <a:gd name="connsiteX14" fmla="*/ 293127 w 651383"/>
              <a:gd name="connsiteY14" fmla="*/ 562776 h 638603"/>
              <a:gd name="connsiteX15" fmla="*/ 325692 w 651383"/>
              <a:gd name="connsiteY15" fmla="*/ 615120 h 638603"/>
              <a:gd name="connsiteX16" fmla="*/ 358256 w 651383"/>
              <a:gd name="connsiteY16" fmla="*/ 562776 h 638603"/>
              <a:gd name="connsiteX17" fmla="*/ 436022 w 651383"/>
              <a:gd name="connsiteY17" fmla="*/ 349061 h 638603"/>
              <a:gd name="connsiteX18" fmla="*/ 437188 w 651383"/>
              <a:gd name="connsiteY18" fmla="*/ 349503 h 638603"/>
              <a:gd name="connsiteX19" fmla="*/ 437311 w 651383"/>
              <a:gd name="connsiteY19" fmla="*/ 349060 h 638603"/>
              <a:gd name="connsiteX20" fmla="*/ 650296 w 651383"/>
              <a:gd name="connsiteY20" fmla="*/ 594470 h 638603"/>
              <a:gd name="connsiteX21" fmla="*/ 325692 w 651383"/>
              <a:gd name="connsiteY21" fmla="*/ 638558 h 638603"/>
              <a:gd name="connsiteX22" fmla="*/ 323351 w 651383"/>
              <a:gd name="connsiteY22" fmla="*/ 638603 h 638603"/>
              <a:gd name="connsiteX23" fmla="*/ 319243 w 651383"/>
              <a:gd name="connsiteY23" fmla="*/ 638434 h 638603"/>
              <a:gd name="connsiteX24" fmla="*/ 1088 w 651383"/>
              <a:gd name="connsiteY24" fmla="*/ 594470 h 638603"/>
              <a:gd name="connsiteX25" fmla="*/ 214072 w 651383"/>
              <a:gd name="connsiteY25" fmla="*/ 349061 h 638603"/>
              <a:gd name="connsiteX26" fmla="*/ 214196 w 651383"/>
              <a:gd name="connsiteY26" fmla="*/ 349502 h 638603"/>
              <a:gd name="connsiteX27" fmla="*/ 215361 w 651383"/>
              <a:gd name="connsiteY27" fmla="*/ 349060 h 638603"/>
              <a:gd name="connsiteX28" fmla="*/ 325693 w 651383"/>
              <a:gd name="connsiteY28" fmla="*/ 0 h 638603"/>
              <a:gd name="connsiteX29" fmla="*/ 492060 w 651383"/>
              <a:gd name="connsiteY29" fmla="*/ 167016 h 638603"/>
              <a:gd name="connsiteX30" fmla="*/ 325693 w 651383"/>
              <a:gd name="connsiteY30" fmla="*/ 334032 h 638603"/>
              <a:gd name="connsiteX31" fmla="*/ 159326 w 651383"/>
              <a:gd name="connsiteY31" fmla="*/ 167016 h 638603"/>
              <a:gd name="connsiteX32" fmla="*/ 325693 w 651383"/>
              <a:gd name="connsiteY32" fmla="*/ 0 h 638603"/>
              <a:gd name="connsiteX0" fmla="*/ 304720 w 651383"/>
              <a:gd name="connsiteY0" fmla="*/ 452535 h 638603"/>
              <a:gd name="connsiteX1" fmla="*/ 346664 w 651383"/>
              <a:gd name="connsiteY1" fmla="*/ 452535 h 638603"/>
              <a:gd name="connsiteX2" fmla="*/ 357778 w 651383"/>
              <a:gd name="connsiteY2" fmla="*/ 501481 h 638603"/>
              <a:gd name="connsiteX3" fmla="*/ 325692 w 651383"/>
              <a:gd name="connsiteY3" fmla="*/ 560565 h 638603"/>
              <a:gd name="connsiteX4" fmla="*/ 293606 w 651383"/>
              <a:gd name="connsiteY4" fmla="*/ 501481 h 638603"/>
              <a:gd name="connsiteX5" fmla="*/ 304720 w 651383"/>
              <a:gd name="connsiteY5" fmla="*/ 452535 h 638603"/>
              <a:gd name="connsiteX6" fmla="*/ 300597 w 651383"/>
              <a:gd name="connsiteY6" fmla="*/ 391711 h 638603"/>
              <a:gd name="connsiteX7" fmla="*/ 350787 w 651383"/>
              <a:gd name="connsiteY7" fmla="*/ 391711 h 638603"/>
              <a:gd name="connsiteX8" fmla="*/ 357778 w 651383"/>
              <a:gd name="connsiteY8" fmla="*/ 398729 h 638603"/>
              <a:gd name="connsiteX9" fmla="*/ 347561 w 651383"/>
              <a:gd name="connsiteY9" fmla="*/ 442457 h 638603"/>
              <a:gd name="connsiteX10" fmla="*/ 303466 w 651383"/>
              <a:gd name="connsiteY10" fmla="*/ 442457 h 638603"/>
              <a:gd name="connsiteX11" fmla="*/ 293607 w 651383"/>
              <a:gd name="connsiteY11" fmla="*/ 398729 h 638603"/>
              <a:gd name="connsiteX12" fmla="*/ 300597 w 651383"/>
              <a:gd name="connsiteY12" fmla="*/ 391711 h 638603"/>
              <a:gd name="connsiteX13" fmla="*/ 215361 w 651383"/>
              <a:gd name="connsiteY13" fmla="*/ 349060 h 638603"/>
              <a:gd name="connsiteX14" fmla="*/ 293127 w 651383"/>
              <a:gd name="connsiteY14" fmla="*/ 562776 h 638603"/>
              <a:gd name="connsiteX15" fmla="*/ 325692 w 651383"/>
              <a:gd name="connsiteY15" fmla="*/ 615120 h 638603"/>
              <a:gd name="connsiteX16" fmla="*/ 358256 w 651383"/>
              <a:gd name="connsiteY16" fmla="*/ 562776 h 638603"/>
              <a:gd name="connsiteX17" fmla="*/ 436022 w 651383"/>
              <a:gd name="connsiteY17" fmla="*/ 349061 h 638603"/>
              <a:gd name="connsiteX18" fmla="*/ 437188 w 651383"/>
              <a:gd name="connsiteY18" fmla="*/ 349503 h 638603"/>
              <a:gd name="connsiteX19" fmla="*/ 437311 w 651383"/>
              <a:gd name="connsiteY19" fmla="*/ 349060 h 638603"/>
              <a:gd name="connsiteX20" fmla="*/ 650296 w 651383"/>
              <a:gd name="connsiteY20" fmla="*/ 594470 h 638603"/>
              <a:gd name="connsiteX21" fmla="*/ 325692 w 651383"/>
              <a:gd name="connsiteY21" fmla="*/ 638558 h 638603"/>
              <a:gd name="connsiteX22" fmla="*/ 323351 w 651383"/>
              <a:gd name="connsiteY22" fmla="*/ 638603 h 638603"/>
              <a:gd name="connsiteX23" fmla="*/ 1088 w 651383"/>
              <a:gd name="connsiteY23" fmla="*/ 594470 h 638603"/>
              <a:gd name="connsiteX24" fmla="*/ 214072 w 651383"/>
              <a:gd name="connsiteY24" fmla="*/ 349061 h 638603"/>
              <a:gd name="connsiteX25" fmla="*/ 214196 w 651383"/>
              <a:gd name="connsiteY25" fmla="*/ 349502 h 638603"/>
              <a:gd name="connsiteX26" fmla="*/ 215361 w 651383"/>
              <a:gd name="connsiteY26" fmla="*/ 349060 h 638603"/>
              <a:gd name="connsiteX27" fmla="*/ 325693 w 651383"/>
              <a:gd name="connsiteY27" fmla="*/ 0 h 638603"/>
              <a:gd name="connsiteX28" fmla="*/ 492060 w 651383"/>
              <a:gd name="connsiteY28" fmla="*/ 167016 h 638603"/>
              <a:gd name="connsiteX29" fmla="*/ 325693 w 651383"/>
              <a:gd name="connsiteY29" fmla="*/ 334032 h 638603"/>
              <a:gd name="connsiteX30" fmla="*/ 159326 w 651383"/>
              <a:gd name="connsiteY30" fmla="*/ 167016 h 638603"/>
              <a:gd name="connsiteX31" fmla="*/ 325693 w 651383"/>
              <a:gd name="connsiteY31" fmla="*/ 0 h 638603"/>
              <a:gd name="connsiteX0" fmla="*/ 304720 w 651383"/>
              <a:gd name="connsiteY0" fmla="*/ 452535 h 638558"/>
              <a:gd name="connsiteX1" fmla="*/ 346664 w 651383"/>
              <a:gd name="connsiteY1" fmla="*/ 452535 h 638558"/>
              <a:gd name="connsiteX2" fmla="*/ 357778 w 651383"/>
              <a:gd name="connsiteY2" fmla="*/ 501481 h 638558"/>
              <a:gd name="connsiteX3" fmla="*/ 325692 w 651383"/>
              <a:gd name="connsiteY3" fmla="*/ 560565 h 638558"/>
              <a:gd name="connsiteX4" fmla="*/ 293606 w 651383"/>
              <a:gd name="connsiteY4" fmla="*/ 501481 h 638558"/>
              <a:gd name="connsiteX5" fmla="*/ 304720 w 651383"/>
              <a:gd name="connsiteY5" fmla="*/ 452535 h 638558"/>
              <a:gd name="connsiteX6" fmla="*/ 300597 w 651383"/>
              <a:gd name="connsiteY6" fmla="*/ 391711 h 638558"/>
              <a:gd name="connsiteX7" fmla="*/ 350787 w 651383"/>
              <a:gd name="connsiteY7" fmla="*/ 391711 h 638558"/>
              <a:gd name="connsiteX8" fmla="*/ 357778 w 651383"/>
              <a:gd name="connsiteY8" fmla="*/ 398729 h 638558"/>
              <a:gd name="connsiteX9" fmla="*/ 347561 w 651383"/>
              <a:gd name="connsiteY9" fmla="*/ 442457 h 638558"/>
              <a:gd name="connsiteX10" fmla="*/ 303466 w 651383"/>
              <a:gd name="connsiteY10" fmla="*/ 442457 h 638558"/>
              <a:gd name="connsiteX11" fmla="*/ 293607 w 651383"/>
              <a:gd name="connsiteY11" fmla="*/ 398729 h 638558"/>
              <a:gd name="connsiteX12" fmla="*/ 300597 w 651383"/>
              <a:gd name="connsiteY12" fmla="*/ 391711 h 638558"/>
              <a:gd name="connsiteX13" fmla="*/ 215361 w 651383"/>
              <a:gd name="connsiteY13" fmla="*/ 349060 h 638558"/>
              <a:gd name="connsiteX14" fmla="*/ 293127 w 651383"/>
              <a:gd name="connsiteY14" fmla="*/ 562776 h 638558"/>
              <a:gd name="connsiteX15" fmla="*/ 325692 w 651383"/>
              <a:gd name="connsiteY15" fmla="*/ 615120 h 638558"/>
              <a:gd name="connsiteX16" fmla="*/ 358256 w 651383"/>
              <a:gd name="connsiteY16" fmla="*/ 562776 h 638558"/>
              <a:gd name="connsiteX17" fmla="*/ 436022 w 651383"/>
              <a:gd name="connsiteY17" fmla="*/ 349061 h 638558"/>
              <a:gd name="connsiteX18" fmla="*/ 437188 w 651383"/>
              <a:gd name="connsiteY18" fmla="*/ 349503 h 638558"/>
              <a:gd name="connsiteX19" fmla="*/ 437311 w 651383"/>
              <a:gd name="connsiteY19" fmla="*/ 349060 h 638558"/>
              <a:gd name="connsiteX20" fmla="*/ 650296 w 651383"/>
              <a:gd name="connsiteY20" fmla="*/ 594470 h 638558"/>
              <a:gd name="connsiteX21" fmla="*/ 325692 w 651383"/>
              <a:gd name="connsiteY21" fmla="*/ 638558 h 638558"/>
              <a:gd name="connsiteX22" fmla="*/ 1088 w 651383"/>
              <a:gd name="connsiteY22" fmla="*/ 594470 h 638558"/>
              <a:gd name="connsiteX23" fmla="*/ 214072 w 651383"/>
              <a:gd name="connsiteY23" fmla="*/ 349061 h 638558"/>
              <a:gd name="connsiteX24" fmla="*/ 214196 w 651383"/>
              <a:gd name="connsiteY24" fmla="*/ 349502 h 638558"/>
              <a:gd name="connsiteX25" fmla="*/ 215361 w 651383"/>
              <a:gd name="connsiteY25" fmla="*/ 349060 h 638558"/>
              <a:gd name="connsiteX26" fmla="*/ 325693 w 651383"/>
              <a:gd name="connsiteY26" fmla="*/ 0 h 638558"/>
              <a:gd name="connsiteX27" fmla="*/ 492060 w 651383"/>
              <a:gd name="connsiteY27" fmla="*/ 167016 h 638558"/>
              <a:gd name="connsiteX28" fmla="*/ 325693 w 651383"/>
              <a:gd name="connsiteY28" fmla="*/ 334032 h 638558"/>
              <a:gd name="connsiteX29" fmla="*/ 159326 w 651383"/>
              <a:gd name="connsiteY29" fmla="*/ 167016 h 638558"/>
              <a:gd name="connsiteX30" fmla="*/ 325693 w 651383"/>
              <a:gd name="connsiteY30" fmla="*/ 0 h 638558"/>
              <a:gd name="connsiteX0" fmla="*/ 304720 w 651383"/>
              <a:gd name="connsiteY0" fmla="*/ 452535 h 641576"/>
              <a:gd name="connsiteX1" fmla="*/ 346664 w 651383"/>
              <a:gd name="connsiteY1" fmla="*/ 452535 h 641576"/>
              <a:gd name="connsiteX2" fmla="*/ 357778 w 651383"/>
              <a:gd name="connsiteY2" fmla="*/ 501481 h 641576"/>
              <a:gd name="connsiteX3" fmla="*/ 325692 w 651383"/>
              <a:gd name="connsiteY3" fmla="*/ 560565 h 641576"/>
              <a:gd name="connsiteX4" fmla="*/ 293606 w 651383"/>
              <a:gd name="connsiteY4" fmla="*/ 501481 h 641576"/>
              <a:gd name="connsiteX5" fmla="*/ 304720 w 651383"/>
              <a:gd name="connsiteY5" fmla="*/ 452535 h 641576"/>
              <a:gd name="connsiteX6" fmla="*/ 300597 w 651383"/>
              <a:gd name="connsiteY6" fmla="*/ 391711 h 641576"/>
              <a:gd name="connsiteX7" fmla="*/ 350787 w 651383"/>
              <a:gd name="connsiteY7" fmla="*/ 391711 h 641576"/>
              <a:gd name="connsiteX8" fmla="*/ 357778 w 651383"/>
              <a:gd name="connsiteY8" fmla="*/ 398729 h 641576"/>
              <a:gd name="connsiteX9" fmla="*/ 347561 w 651383"/>
              <a:gd name="connsiteY9" fmla="*/ 442457 h 641576"/>
              <a:gd name="connsiteX10" fmla="*/ 303466 w 651383"/>
              <a:gd name="connsiteY10" fmla="*/ 442457 h 641576"/>
              <a:gd name="connsiteX11" fmla="*/ 293607 w 651383"/>
              <a:gd name="connsiteY11" fmla="*/ 398729 h 641576"/>
              <a:gd name="connsiteX12" fmla="*/ 300597 w 651383"/>
              <a:gd name="connsiteY12" fmla="*/ 391711 h 641576"/>
              <a:gd name="connsiteX13" fmla="*/ 215361 w 651383"/>
              <a:gd name="connsiteY13" fmla="*/ 349060 h 641576"/>
              <a:gd name="connsiteX14" fmla="*/ 293127 w 651383"/>
              <a:gd name="connsiteY14" fmla="*/ 562776 h 641576"/>
              <a:gd name="connsiteX15" fmla="*/ 325692 w 651383"/>
              <a:gd name="connsiteY15" fmla="*/ 615120 h 641576"/>
              <a:gd name="connsiteX16" fmla="*/ 358256 w 651383"/>
              <a:gd name="connsiteY16" fmla="*/ 562776 h 641576"/>
              <a:gd name="connsiteX17" fmla="*/ 436022 w 651383"/>
              <a:gd name="connsiteY17" fmla="*/ 349061 h 641576"/>
              <a:gd name="connsiteX18" fmla="*/ 437188 w 651383"/>
              <a:gd name="connsiteY18" fmla="*/ 349503 h 641576"/>
              <a:gd name="connsiteX19" fmla="*/ 437311 w 651383"/>
              <a:gd name="connsiteY19" fmla="*/ 349060 h 641576"/>
              <a:gd name="connsiteX20" fmla="*/ 650296 w 651383"/>
              <a:gd name="connsiteY20" fmla="*/ 594470 h 641576"/>
              <a:gd name="connsiteX21" fmla="*/ 325692 w 651383"/>
              <a:gd name="connsiteY21" fmla="*/ 638558 h 641576"/>
              <a:gd name="connsiteX22" fmla="*/ 1088 w 651383"/>
              <a:gd name="connsiteY22" fmla="*/ 594470 h 641576"/>
              <a:gd name="connsiteX23" fmla="*/ 214072 w 651383"/>
              <a:gd name="connsiteY23" fmla="*/ 349061 h 641576"/>
              <a:gd name="connsiteX24" fmla="*/ 214196 w 651383"/>
              <a:gd name="connsiteY24" fmla="*/ 349502 h 641576"/>
              <a:gd name="connsiteX25" fmla="*/ 215361 w 651383"/>
              <a:gd name="connsiteY25" fmla="*/ 349060 h 641576"/>
              <a:gd name="connsiteX26" fmla="*/ 325693 w 651383"/>
              <a:gd name="connsiteY26" fmla="*/ 0 h 641576"/>
              <a:gd name="connsiteX27" fmla="*/ 492060 w 651383"/>
              <a:gd name="connsiteY27" fmla="*/ 167016 h 641576"/>
              <a:gd name="connsiteX28" fmla="*/ 325693 w 651383"/>
              <a:gd name="connsiteY28" fmla="*/ 334032 h 641576"/>
              <a:gd name="connsiteX29" fmla="*/ 159326 w 651383"/>
              <a:gd name="connsiteY29" fmla="*/ 167016 h 641576"/>
              <a:gd name="connsiteX30" fmla="*/ 325693 w 651383"/>
              <a:gd name="connsiteY30" fmla="*/ 0 h 641576"/>
              <a:gd name="connsiteX0" fmla="*/ 304720 w 651383"/>
              <a:gd name="connsiteY0" fmla="*/ 452535 h 644698"/>
              <a:gd name="connsiteX1" fmla="*/ 346664 w 651383"/>
              <a:gd name="connsiteY1" fmla="*/ 452535 h 644698"/>
              <a:gd name="connsiteX2" fmla="*/ 357778 w 651383"/>
              <a:gd name="connsiteY2" fmla="*/ 501481 h 644698"/>
              <a:gd name="connsiteX3" fmla="*/ 325692 w 651383"/>
              <a:gd name="connsiteY3" fmla="*/ 560565 h 644698"/>
              <a:gd name="connsiteX4" fmla="*/ 293606 w 651383"/>
              <a:gd name="connsiteY4" fmla="*/ 501481 h 644698"/>
              <a:gd name="connsiteX5" fmla="*/ 304720 w 651383"/>
              <a:gd name="connsiteY5" fmla="*/ 452535 h 644698"/>
              <a:gd name="connsiteX6" fmla="*/ 300597 w 651383"/>
              <a:gd name="connsiteY6" fmla="*/ 391711 h 644698"/>
              <a:gd name="connsiteX7" fmla="*/ 350787 w 651383"/>
              <a:gd name="connsiteY7" fmla="*/ 391711 h 644698"/>
              <a:gd name="connsiteX8" fmla="*/ 357778 w 651383"/>
              <a:gd name="connsiteY8" fmla="*/ 398729 h 644698"/>
              <a:gd name="connsiteX9" fmla="*/ 347561 w 651383"/>
              <a:gd name="connsiteY9" fmla="*/ 442457 h 644698"/>
              <a:gd name="connsiteX10" fmla="*/ 303466 w 651383"/>
              <a:gd name="connsiteY10" fmla="*/ 442457 h 644698"/>
              <a:gd name="connsiteX11" fmla="*/ 293607 w 651383"/>
              <a:gd name="connsiteY11" fmla="*/ 398729 h 644698"/>
              <a:gd name="connsiteX12" fmla="*/ 300597 w 651383"/>
              <a:gd name="connsiteY12" fmla="*/ 391711 h 644698"/>
              <a:gd name="connsiteX13" fmla="*/ 215361 w 651383"/>
              <a:gd name="connsiteY13" fmla="*/ 349060 h 644698"/>
              <a:gd name="connsiteX14" fmla="*/ 293127 w 651383"/>
              <a:gd name="connsiteY14" fmla="*/ 562776 h 644698"/>
              <a:gd name="connsiteX15" fmla="*/ 325692 w 651383"/>
              <a:gd name="connsiteY15" fmla="*/ 615120 h 644698"/>
              <a:gd name="connsiteX16" fmla="*/ 358256 w 651383"/>
              <a:gd name="connsiteY16" fmla="*/ 562776 h 644698"/>
              <a:gd name="connsiteX17" fmla="*/ 436022 w 651383"/>
              <a:gd name="connsiteY17" fmla="*/ 349061 h 644698"/>
              <a:gd name="connsiteX18" fmla="*/ 437188 w 651383"/>
              <a:gd name="connsiteY18" fmla="*/ 349503 h 644698"/>
              <a:gd name="connsiteX19" fmla="*/ 437311 w 651383"/>
              <a:gd name="connsiteY19" fmla="*/ 349060 h 644698"/>
              <a:gd name="connsiteX20" fmla="*/ 650296 w 651383"/>
              <a:gd name="connsiteY20" fmla="*/ 594470 h 644698"/>
              <a:gd name="connsiteX21" fmla="*/ 325692 w 651383"/>
              <a:gd name="connsiteY21" fmla="*/ 638558 h 644698"/>
              <a:gd name="connsiteX22" fmla="*/ 1088 w 651383"/>
              <a:gd name="connsiteY22" fmla="*/ 594470 h 644698"/>
              <a:gd name="connsiteX23" fmla="*/ 214072 w 651383"/>
              <a:gd name="connsiteY23" fmla="*/ 349061 h 644698"/>
              <a:gd name="connsiteX24" fmla="*/ 214196 w 651383"/>
              <a:gd name="connsiteY24" fmla="*/ 349502 h 644698"/>
              <a:gd name="connsiteX25" fmla="*/ 215361 w 651383"/>
              <a:gd name="connsiteY25" fmla="*/ 349060 h 644698"/>
              <a:gd name="connsiteX26" fmla="*/ 325693 w 651383"/>
              <a:gd name="connsiteY26" fmla="*/ 0 h 644698"/>
              <a:gd name="connsiteX27" fmla="*/ 492060 w 651383"/>
              <a:gd name="connsiteY27" fmla="*/ 167016 h 644698"/>
              <a:gd name="connsiteX28" fmla="*/ 325693 w 651383"/>
              <a:gd name="connsiteY28" fmla="*/ 334032 h 644698"/>
              <a:gd name="connsiteX29" fmla="*/ 159326 w 651383"/>
              <a:gd name="connsiteY29" fmla="*/ 167016 h 644698"/>
              <a:gd name="connsiteX30" fmla="*/ 325693 w 651383"/>
              <a:gd name="connsiteY30" fmla="*/ 0 h 644698"/>
              <a:gd name="connsiteX0" fmla="*/ 304720 w 651383"/>
              <a:gd name="connsiteY0" fmla="*/ 452535 h 639468"/>
              <a:gd name="connsiteX1" fmla="*/ 346664 w 651383"/>
              <a:gd name="connsiteY1" fmla="*/ 452535 h 639468"/>
              <a:gd name="connsiteX2" fmla="*/ 357778 w 651383"/>
              <a:gd name="connsiteY2" fmla="*/ 501481 h 639468"/>
              <a:gd name="connsiteX3" fmla="*/ 325692 w 651383"/>
              <a:gd name="connsiteY3" fmla="*/ 560565 h 639468"/>
              <a:gd name="connsiteX4" fmla="*/ 293606 w 651383"/>
              <a:gd name="connsiteY4" fmla="*/ 501481 h 639468"/>
              <a:gd name="connsiteX5" fmla="*/ 304720 w 651383"/>
              <a:gd name="connsiteY5" fmla="*/ 452535 h 639468"/>
              <a:gd name="connsiteX6" fmla="*/ 300597 w 651383"/>
              <a:gd name="connsiteY6" fmla="*/ 391711 h 639468"/>
              <a:gd name="connsiteX7" fmla="*/ 350787 w 651383"/>
              <a:gd name="connsiteY7" fmla="*/ 391711 h 639468"/>
              <a:gd name="connsiteX8" fmla="*/ 357778 w 651383"/>
              <a:gd name="connsiteY8" fmla="*/ 398729 h 639468"/>
              <a:gd name="connsiteX9" fmla="*/ 347561 w 651383"/>
              <a:gd name="connsiteY9" fmla="*/ 442457 h 639468"/>
              <a:gd name="connsiteX10" fmla="*/ 303466 w 651383"/>
              <a:gd name="connsiteY10" fmla="*/ 442457 h 639468"/>
              <a:gd name="connsiteX11" fmla="*/ 293607 w 651383"/>
              <a:gd name="connsiteY11" fmla="*/ 398729 h 639468"/>
              <a:gd name="connsiteX12" fmla="*/ 300597 w 651383"/>
              <a:gd name="connsiteY12" fmla="*/ 391711 h 639468"/>
              <a:gd name="connsiteX13" fmla="*/ 215361 w 651383"/>
              <a:gd name="connsiteY13" fmla="*/ 349060 h 639468"/>
              <a:gd name="connsiteX14" fmla="*/ 293127 w 651383"/>
              <a:gd name="connsiteY14" fmla="*/ 562776 h 639468"/>
              <a:gd name="connsiteX15" fmla="*/ 325692 w 651383"/>
              <a:gd name="connsiteY15" fmla="*/ 615120 h 639468"/>
              <a:gd name="connsiteX16" fmla="*/ 358256 w 651383"/>
              <a:gd name="connsiteY16" fmla="*/ 562776 h 639468"/>
              <a:gd name="connsiteX17" fmla="*/ 436022 w 651383"/>
              <a:gd name="connsiteY17" fmla="*/ 349061 h 639468"/>
              <a:gd name="connsiteX18" fmla="*/ 437188 w 651383"/>
              <a:gd name="connsiteY18" fmla="*/ 349503 h 639468"/>
              <a:gd name="connsiteX19" fmla="*/ 437311 w 651383"/>
              <a:gd name="connsiteY19" fmla="*/ 349060 h 639468"/>
              <a:gd name="connsiteX20" fmla="*/ 650296 w 651383"/>
              <a:gd name="connsiteY20" fmla="*/ 594470 h 639468"/>
              <a:gd name="connsiteX21" fmla="*/ 325692 w 651383"/>
              <a:gd name="connsiteY21" fmla="*/ 638558 h 639468"/>
              <a:gd name="connsiteX22" fmla="*/ 1088 w 651383"/>
              <a:gd name="connsiteY22" fmla="*/ 594470 h 639468"/>
              <a:gd name="connsiteX23" fmla="*/ 214072 w 651383"/>
              <a:gd name="connsiteY23" fmla="*/ 349061 h 639468"/>
              <a:gd name="connsiteX24" fmla="*/ 214196 w 651383"/>
              <a:gd name="connsiteY24" fmla="*/ 349502 h 639468"/>
              <a:gd name="connsiteX25" fmla="*/ 215361 w 651383"/>
              <a:gd name="connsiteY25" fmla="*/ 349060 h 639468"/>
              <a:gd name="connsiteX26" fmla="*/ 325693 w 651383"/>
              <a:gd name="connsiteY26" fmla="*/ 0 h 639468"/>
              <a:gd name="connsiteX27" fmla="*/ 492060 w 651383"/>
              <a:gd name="connsiteY27" fmla="*/ 167016 h 639468"/>
              <a:gd name="connsiteX28" fmla="*/ 325693 w 651383"/>
              <a:gd name="connsiteY28" fmla="*/ 334032 h 639468"/>
              <a:gd name="connsiteX29" fmla="*/ 159326 w 651383"/>
              <a:gd name="connsiteY29" fmla="*/ 167016 h 639468"/>
              <a:gd name="connsiteX30" fmla="*/ 325693 w 651383"/>
              <a:gd name="connsiteY30" fmla="*/ 0 h 639468"/>
              <a:gd name="connsiteX0" fmla="*/ 304720 w 651383"/>
              <a:gd name="connsiteY0" fmla="*/ 452535 h 639264"/>
              <a:gd name="connsiteX1" fmla="*/ 346664 w 651383"/>
              <a:gd name="connsiteY1" fmla="*/ 452535 h 639264"/>
              <a:gd name="connsiteX2" fmla="*/ 357778 w 651383"/>
              <a:gd name="connsiteY2" fmla="*/ 501481 h 639264"/>
              <a:gd name="connsiteX3" fmla="*/ 325692 w 651383"/>
              <a:gd name="connsiteY3" fmla="*/ 560565 h 639264"/>
              <a:gd name="connsiteX4" fmla="*/ 293606 w 651383"/>
              <a:gd name="connsiteY4" fmla="*/ 501481 h 639264"/>
              <a:gd name="connsiteX5" fmla="*/ 304720 w 651383"/>
              <a:gd name="connsiteY5" fmla="*/ 452535 h 639264"/>
              <a:gd name="connsiteX6" fmla="*/ 300597 w 651383"/>
              <a:gd name="connsiteY6" fmla="*/ 391711 h 639264"/>
              <a:gd name="connsiteX7" fmla="*/ 350787 w 651383"/>
              <a:gd name="connsiteY7" fmla="*/ 391711 h 639264"/>
              <a:gd name="connsiteX8" fmla="*/ 357778 w 651383"/>
              <a:gd name="connsiteY8" fmla="*/ 398729 h 639264"/>
              <a:gd name="connsiteX9" fmla="*/ 347561 w 651383"/>
              <a:gd name="connsiteY9" fmla="*/ 442457 h 639264"/>
              <a:gd name="connsiteX10" fmla="*/ 303466 w 651383"/>
              <a:gd name="connsiteY10" fmla="*/ 442457 h 639264"/>
              <a:gd name="connsiteX11" fmla="*/ 293607 w 651383"/>
              <a:gd name="connsiteY11" fmla="*/ 398729 h 639264"/>
              <a:gd name="connsiteX12" fmla="*/ 300597 w 651383"/>
              <a:gd name="connsiteY12" fmla="*/ 391711 h 639264"/>
              <a:gd name="connsiteX13" fmla="*/ 215361 w 651383"/>
              <a:gd name="connsiteY13" fmla="*/ 349060 h 639264"/>
              <a:gd name="connsiteX14" fmla="*/ 293127 w 651383"/>
              <a:gd name="connsiteY14" fmla="*/ 562776 h 639264"/>
              <a:gd name="connsiteX15" fmla="*/ 325692 w 651383"/>
              <a:gd name="connsiteY15" fmla="*/ 615120 h 639264"/>
              <a:gd name="connsiteX16" fmla="*/ 358256 w 651383"/>
              <a:gd name="connsiteY16" fmla="*/ 562776 h 639264"/>
              <a:gd name="connsiteX17" fmla="*/ 436022 w 651383"/>
              <a:gd name="connsiteY17" fmla="*/ 349061 h 639264"/>
              <a:gd name="connsiteX18" fmla="*/ 437188 w 651383"/>
              <a:gd name="connsiteY18" fmla="*/ 349503 h 639264"/>
              <a:gd name="connsiteX19" fmla="*/ 437311 w 651383"/>
              <a:gd name="connsiteY19" fmla="*/ 349060 h 639264"/>
              <a:gd name="connsiteX20" fmla="*/ 650296 w 651383"/>
              <a:gd name="connsiteY20" fmla="*/ 594470 h 639264"/>
              <a:gd name="connsiteX21" fmla="*/ 326614 w 651383"/>
              <a:gd name="connsiteY21" fmla="*/ 638328 h 639264"/>
              <a:gd name="connsiteX22" fmla="*/ 1088 w 651383"/>
              <a:gd name="connsiteY22" fmla="*/ 594470 h 639264"/>
              <a:gd name="connsiteX23" fmla="*/ 214072 w 651383"/>
              <a:gd name="connsiteY23" fmla="*/ 349061 h 639264"/>
              <a:gd name="connsiteX24" fmla="*/ 214196 w 651383"/>
              <a:gd name="connsiteY24" fmla="*/ 349502 h 639264"/>
              <a:gd name="connsiteX25" fmla="*/ 215361 w 651383"/>
              <a:gd name="connsiteY25" fmla="*/ 349060 h 639264"/>
              <a:gd name="connsiteX26" fmla="*/ 325693 w 651383"/>
              <a:gd name="connsiteY26" fmla="*/ 0 h 639264"/>
              <a:gd name="connsiteX27" fmla="*/ 492060 w 651383"/>
              <a:gd name="connsiteY27" fmla="*/ 167016 h 639264"/>
              <a:gd name="connsiteX28" fmla="*/ 325693 w 651383"/>
              <a:gd name="connsiteY28" fmla="*/ 334032 h 639264"/>
              <a:gd name="connsiteX29" fmla="*/ 159326 w 651383"/>
              <a:gd name="connsiteY29" fmla="*/ 167016 h 639264"/>
              <a:gd name="connsiteX30" fmla="*/ 325693 w 651383"/>
              <a:gd name="connsiteY30" fmla="*/ 0 h 639264"/>
              <a:gd name="connsiteX0" fmla="*/ 304720 w 651383"/>
              <a:gd name="connsiteY0" fmla="*/ 452535 h 639630"/>
              <a:gd name="connsiteX1" fmla="*/ 346664 w 651383"/>
              <a:gd name="connsiteY1" fmla="*/ 452535 h 639630"/>
              <a:gd name="connsiteX2" fmla="*/ 357778 w 651383"/>
              <a:gd name="connsiteY2" fmla="*/ 501481 h 639630"/>
              <a:gd name="connsiteX3" fmla="*/ 325692 w 651383"/>
              <a:gd name="connsiteY3" fmla="*/ 560565 h 639630"/>
              <a:gd name="connsiteX4" fmla="*/ 293606 w 651383"/>
              <a:gd name="connsiteY4" fmla="*/ 501481 h 639630"/>
              <a:gd name="connsiteX5" fmla="*/ 304720 w 651383"/>
              <a:gd name="connsiteY5" fmla="*/ 452535 h 639630"/>
              <a:gd name="connsiteX6" fmla="*/ 300597 w 651383"/>
              <a:gd name="connsiteY6" fmla="*/ 391711 h 639630"/>
              <a:gd name="connsiteX7" fmla="*/ 350787 w 651383"/>
              <a:gd name="connsiteY7" fmla="*/ 391711 h 639630"/>
              <a:gd name="connsiteX8" fmla="*/ 357778 w 651383"/>
              <a:gd name="connsiteY8" fmla="*/ 398729 h 639630"/>
              <a:gd name="connsiteX9" fmla="*/ 347561 w 651383"/>
              <a:gd name="connsiteY9" fmla="*/ 442457 h 639630"/>
              <a:gd name="connsiteX10" fmla="*/ 303466 w 651383"/>
              <a:gd name="connsiteY10" fmla="*/ 442457 h 639630"/>
              <a:gd name="connsiteX11" fmla="*/ 293607 w 651383"/>
              <a:gd name="connsiteY11" fmla="*/ 398729 h 639630"/>
              <a:gd name="connsiteX12" fmla="*/ 300597 w 651383"/>
              <a:gd name="connsiteY12" fmla="*/ 391711 h 639630"/>
              <a:gd name="connsiteX13" fmla="*/ 215361 w 651383"/>
              <a:gd name="connsiteY13" fmla="*/ 349060 h 639630"/>
              <a:gd name="connsiteX14" fmla="*/ 293127 w 651383"/>
              <a:gd name="connsiteY14" fmla="*/ 562776 h 639630"/>
              <a:gd name="connsiteX15" fmla="*/ 325692 w 651383"/>
              <a:gd name="connsiteY15" fmla="*/ 615120 h 639630"/>
              <a:gd name="connsiteX16" fmla="*/ 358256 w 651383"/>
              <a:gd name="connsiteY16" fmla="*/ 562776 h 639630"/>
              <a:gd name="connsiteX17" fmla="*/ 436022 w 651383"/>
              <a:gd name="connsiteY17" fmla="*/ 349061 h 639630"/>
              <a:gd name="connsiteX18" fmla="*/ 437188 w 651383"/>
              <a:gd name="connsiteY18" fmla="*/ 349503 h 639630"/>
              <a:gd name="connsiteX19" fmla="*/ 437311 w 651383"/>
              <a:gd name="connsiteY19" fmla="*/ 349060 h 639630"/>
              <a:gd name="connsiteX20" fmla="*/ 650296 w 651383"/>
              <a:gd name="connsiteY20" fmla="*/ 594470 h 639630"/>
              <a:gd name="connsiteX21" fmla="*/ 326614 w 651383"/>
              <a:gd name="connsiteY21" fmla="*/ 638328 h 639630"/>
              <a:gd name="connsiteX22" fmla="*/ 1088 w 651383"/>
              <a:gd name="connsiteY22" fmla="*/ 594470 h 639630"/>
              <a:gd name="connsiteX23" fmla="*/ 214072 w 651383"/>
              <a:gd name="connsiteY23" fmla="*/ 349061 h 639630"/>
              <a:gd name="connsiteX24" fmla="*/ 214196 w 651383"/>
              <a:gd name="connsiteY24" fmla="*/ 349502 h 639630"/>
              <a:gd name="connsiteX25" fmla="*/ 215361 w 651383"/>
              <a:gd name="connsiteY25" fmla="*/ 349060 h 639630"/>
              <a:gd name="connsiteX26" fmla="*/ 325693 w 651383"/>
              <a:gd name="connsiteY26" fmla="*/ 0 h 639630"/>
              <a:gd name="connsiteX27" fmla="*/ 492060 w 651383"/>
              <a:gd name="connsiteY27" fmla="*/ 167016 h 639630"/>
              <a:gd name="connsiteX28" fmla="*/ 325693 w 651383"/>
              <a:gd name="connsiteY28" fmla="*/ 334032 h 639630"/>
              <a:gd name="connsiteX29" fmla="*/ 159326 w 651383"/>
              <a:gd name="connsiteY29" fmla="*/ 167016 h 639630"/>
              <a:gd name="connsiteX30" fmla="*/ 325693 w 651383"/>
              <a:gd name="connsiteY30" fmla="*/ 0 h 639630"/>
              <a:gd name="connsiteX0" fmla="*/ 308997 w 655660"/>
              <a:gd name="connsiteY0" fmla="*/ 452535 h 639630"/>
              <a:gd name="connsiteX1" fmla="*/ 350941 w 655660"/>
              <a:gd name="connsiteY1" fmla="*/ 452535 h 639630"/>
              <a:gd name="connsiteX2" fmla="*/ 362055 w 655660"/>
              <a:gd name="connsiteY2" fmla="*/ 501481 h 639630"/>
              <a:gd name="connsiteX3" fmla="*/ 329969 w 655660"/>
              <a:gd name="connsiteY3" fmla="*/ 560565 h 639630"/>
              <a:gd name="connsiteX4" fmla="*/ 297883 w 655660"/>
              <a:gd name="connsiteY4" fmla="*/ 501481 h 639630"/>
              <a:gd name="connsiteX5" fmla="*/ 308997 w 655660"/>
              <a:gd name="connsiteY5" fmla="*/ 452535 h 639630"/>
              <a:gd name="connsiteX6" fmla="*/ 304874 w 655660"/>
              <a:gd name="connsiteY6" fmla="*/ 391711 h 639630"/>
              <a:gd name="connsiteX7" fmla="*/ 355064 w 655660"/>
              <a:gd name="connsiteY7" fmla="*/ 391711 h 639630"/>
              <a:gd name="connsiteX8" fmla="*/ 362055 w 655660"/>
              <a:gd name="connsiteY8" fmla="*/ 398729 h 639630"/>
              <a:gd name="connsiteX9" fmla="*/ 351838 w 655660"/>
              <a:gd name="connsiteY9" fmla="*/ 442457 h 639630"/>
              <a:gd name="connsiteX10" fmla="*/ 307743 w 655660"/>
              <a:gd name="connsiteY10" fmla="*/ 442457 h 639630"/>
              <a:gd name="connsiteX11" fmla="*/ 297884 w 655660"/>
              <a:gd name="connsiteY11" fmla="*/ 398729 h 639630"/>
              <a:gd name="connsiteX12" fmla="*/ 304874 w 655660"/>
              <a:gd name="connsiteY12" fmla="*/ 391711 h 639630"/>
              <a:gd name="connsiteX13" fmla="*/ 219638 w 655660"/>
              <a:gd name="connsiteY13" fmla="*/ 349060 h 639630"/>
              <a:gd name="connsiteX14" fmla="*/ 297404 w 655660"/>
              <a:gd name="connsiteY14" fmla="*/ 562776 h 639630"/>
              <a:gd name="connsiteX15" fmla="*/ 329969 w 655660"/>
              <a:gd name="connsiteY15" fmla="*/ 615120 h 639630"/>
              <a:gd name="connsiteX16" fmla="*/ 362533 w 655660"/>
              <a:gd name="connsiteY16" fmla="*/ 562776 h 639630"/>
              <a:gd name="connsiteX17" fmla="*/ 440299 w 655660"/>
              <a:gd name="connsiteY17" fmla="*/ 349061 h 639630"/>
              <a:gd name="connsiteX18" fmla="*/ 441465 w 655660"/>
              <a:gd name="connsiteY18" fmla="*/ 349503 h 639630"/>
              <a:gd name="connsiteX19" fmla="*/ 441588 w 655660"/>
              <a:gd name="connsiteY19" fmla="*/ 349060 h 639630"/>
              <a:gd name="connsiteX20" fmla="*/ 654573 w 655660"/>
              <a:gd name="connsiteY20" fmla="*/ 594470 h 639630"/>
              <a:gd name="connsiteX21" fmla="*/ 330891 w 655660"/>
              <a:gd name="connsiteY21" fmla="*/ 638328 h 639630"/>
              <a:gd name="connsiteX22" fmla="*/ 5365 w 655660"/>
              <a:gd name="connsiteY22" fmla="*/ 594470 h 639630"/>
              <a:gd name="connsiteX23" fmla="*/ 218349 w 655660"/>
              <a:gd name="connsiteY23" fmla="*/ 349061 h 639630"/>
              <a:gd name="connsiteX24" fmla="*/ 218473 w 655660"/>
              <a:gd name="connsiteY24" fmla="*/ 349502 h 639630"/>
              <a:gd name="connsiteX25" fmla="*/ 219638 w 655660"/>
              <a:gd name="connsiteY25" fmla="*/ 349060 h 639630"/>
              <a:gd name="connsiteX26" fmla="*/ 329970 w 655660"/>
              <a:gd name="connsiteY26" fmla="*/ 0 h 639630"/>
              <a:gd name="connsiteX27" fmla="*/ 496337 w 655660"/>
              <a:gd name="connsiteY27" fmla="*/ 167016 h 639630"/>
              <a:gd name="connsiteX28" fmla="*/ 329970 w 655660"/>
              <a:gd name="connsiteY28" fmla="*/ 334032 h 639630"/>
              <a:gd name="connsiteX29" fmla="*/ 163603 w 655660"/>
              <a:gd name="connsiteY29" fmla="*/ 167016 h 639630"/>
              <a:gd name="connsiteX30" fmla="*/ 329970 w 655660"/>
              <a:gd name="connsiteY30" fmla="*/ 0 h 639630"/>
              <a:gd name="connsiteX0" fmla="*/ 308997 w 659738"/>
              <a:gd name="connsiteY0" fmla="*/ 452535 h 639630"/>
              <a:gd name="connsiteX1" fmla="*/ 350941 w 659738"/>
              <a:gd name="connsiteY1" fmla="*/ 452535 h 639630"/>
              <a:gd name="connsiteX2" fmla="*/ 362055 w 659738"/>
              <a:gd name="connsiteY2" fmla="*/ 501481 h 639630"/>
              <a:gd name="connsiteX3" fmla="*/ 329969 w 659738"/>
              <a:gd name="connsiteY3" fmla="*/ 560565 h 639630"/>
              <a:gd name="connsiteX4" fmla="*/ 297883 w 659738"/>
              <a:gd name="connsiteY4" fmla="*/ 501481 h 639630"/>
              <a:gd name="connsiteX5" fmla="*/ 308997 w 659738"/>
              <a:gd name="connsiteY5" fmla="*/ 452535 h 639630"/>
              <a:gd name="connsiteX6" fmla="*/ 304874 w 659738"/>
              <a:gd name="connsiteY6" fmla="*/ 391711 h 639630"/>
              <a:gd name="connsiteX7" fmla="*/ 355064 w 659738"/>
              <a:gd name="connsiteY7" fmla="*/ 391711 h 639630"/>
              <a:gd name="connsiteX8" fmla="*/ 362055 w 659738"/>
              <a:gd name="connsiteY8" fmla="*/ 398729 h 639630"/>
              <a:gd name="connsiteX9" fmla="*/ 351838 w 659738"/>
              <a:gd name="connsiteY9" fmla="*/ 442457 h 639630"/>
              <a:gd name="connsiteX10" fmla="*/ 307743 w 659738"/>
              <a:gd name="connsiteY10" fmla="*/ 442457 h 639630"/>
              <a:gd name="connsiteX11" fmla="*/ 297884 w 659738"/>
              <a:gd name="connsiteY11" fmla="*/ 398729 h 639630"/>
              <a:gd name="connsiteX12" fmla="*/ 304874 w 659738"/>
              <a:gd name="connsiteY12" fmla="*/ 391711 h 639630"/>
              <a:gd name="connsiteX13" fmla="*/ 219638 w 659738"/>
              <a:gd name="connsiteY13" fmla="*/ 349060 h 639630"/>
              <a:gd name="connsiteX14" fmla="*/ 297404 w 659738"/>
              <a:gd name="connsiteY14" fmla="*/ 562776 h 639630"/>
              <a:gd name="connsiteX15" fmla="*/ 329969 w 659738"/>
              <a:gd name="connsiteY15" fmla="*/ 615120 h 639630"/>
              <a:gd name="connsiteX16" fmla="*/ 362533 w 659738"/>
              <a:gd name="connsiteY16" fmla="*/ 562776 h 639630"/>
              <a:gd name="connsiteX17" fmla="*/ 440299 w 659738"/>
              <a:gd name="connsiteY17" fmla="*/ 349061 h 639630"/>
              <a:gd name="connsiteX18" fmla="*/ 441465 w 659738"/>
              <a:gd name="connsiteY18" fmla="*/ 349503 h 639630"/>
              <a:gd name="connsiteX19" fmla="*/ 441588 w 659738"/>
              <a:gd name="connsiteY19" fmla="*/ 349060 h 639630"/>
              <a:gd name="connsiteX20" fmla="*/ 654573 w 659738"/>
              <a:gd name="connsiteY20" fmla="*/ 594470 h 639630"/>
              <a:gd name="connsiteX21" fmla="*/ 330891 w 659738"/>
              <a:gd name="connsiteY21" fmla="*/ 638328 h 639630"/>
              <a:gd name="connsiteX22" fmla="*/ 5365 w 659738"/>
              <a:gd name="connsiteY22" fmla="*/ 594470 h 639630"/>
              <a:gd name="connsiteX23" fmla="*/ 218349 w 659738"/>
              <a:gd name="connsiteY23" fmla="*/ 349061 h 639630"/>
              <a:gd name="connsiteX24" fmla="*/ 218473 w 659738"/>
              <a:gd name="connsiteY24" fmla="*/ 349502 h 639630"/>
              <a:gd name="connsiteX25" fmla="*/ 219638 w 659738"/>
              <a:gd name="connsiteY25" fmla="*/ 349060 h 639630"/>
              <a:gd name="connsiteX26" fmla="*/ 329970 w 659738"/>
              <a:gd name="connsiteY26" fmla="*/ 0 h 639630"/>
              <a:gd name="connsiteX27" fmla="*/ 496337 w 659738"/>
              <a:gd name="connsiteY27" fmla="*/ 167016 h 639630"/>
              <a:gd name="connsiteX28" fmla="*/ 329970 w 659738"/>
              <a:gd name="connsiteY28" fmla="*/ 334032 h 639630"/>
              <a:gd name="connsiteX29" fmla="*/ 163603 w 659738"/>
              <a:gd name="connsiteY29" fmla="*/ 167016 h 639630"/>
              <a:gd name="connsiteX30" fmla="*/ 329970 w 659738"/>
              <a:gd name="connsiteY30" fmla="*/ 0 h 639630"/>
              <a:gd name="connsiteX0" fmla="*/ 308997 w 659738"/>
              <a:gd name="connsiteY0" fmla="*/ 452535 h 639630"/>
              <a:gd name="connsiteX1" fmla="*/ 350941 w 659738"/>
              <a:gd name="connsiteY1" fmla="*/ 452535 h 639630"/>
              <a:gd name="connsiteX2" fmla="*/ 362055 w 659738"/>
              <a:gd name="connsiteY2" fmla="*/ 501481 h 639630"/>
              <a:gd name="connsiteX3" fmla="*/ 329969 w 659738"/>
              <a:gd name="connsiteY3" fmla="*/ 560565 h 639630"/>
              <a:gd name="connsiteX4" fmla="*/ 297883 w 659738"/>
              <a:gd name="connsiteY4" fmla="*/ 501481 h 639630"/>
              <a:gd name="connsiteX5" fmla="*/ 308997 w 659738"/>
              <a:gd name="connsiteY5" fmla="*/ 452535 h 639630"/>
              <a:gd name="connsiteX6" fmla="*/ 304874 w 659738"/>
              <a:gd name="connsiteY6" fmla="*/ 391711 h 639630"/>
              <a:gd name="connsiteX7" fmla="*/ 355064 w 659738"/>
              <a:gd name="connsiteY7" fmla="*/ 391711 h 639630"/>
              <a:gd name="connsiteX8" fmla="*/ 362055 w 659738"/>
              <a:gd name="connsiteY8" fmla="*/ 398729 h 639630"/>
              <a:gd name="connsiteX9" fmla="*/ 351838 w 659738"/>
              <a:gd name="connsiteY9" fmla="*/ 442457 h 639630"/>
              <a:gd name="connsiteX10" fmla="*/ 307743 w 659738"/>
              <a:gd name="connsiteY10" fmla="*/ 442457 h 639630"/>
              <a:gd name="connsiteX11" fmla="*/ 297884 w 659738"/>
              <a:gd name="connsiteY11" fmla="*/ 398729 h 639630"/>
              <a:gd name="connsiteX12" fmla="*/ 304874 w 659738"/>
              <a:gd name="connsiteY12" fmla="*/ 391711 h 639630"/>
              <a:gd name="connsiteX13" fmla="*/ 219638 w 659738"/>
              <a:gd name="connsiteY13" fmla="*/ 349060 h 639630"/>
              <a:gd name="connsiteX14" fmla="*/ 297404 w 659738"/>
              <a:gd name="connsiteY14" fmla="*/ 562776 h 639630"/>
              <a:gd name="connsiteX15" fmla="*/ 329969 w 659738"/>
              <a:gd name="connsiteY15" fmla="*/ 615120 h 639630"/>
              <a:gd name="connsiteX16" fmla="*/ 362533 w 659738"/>
              <a:gd name="connsiteY16" fmla="*/ 562776 h 639630"/>
              <a:gd name="connsiteX17" fmla="*/ 440299 w 659738"/>
              <a:gd name="connsiteY17" fmla="*/ 349061 h 639630"/>
              <a:gd name="connsiteX18" fmla="*/ 441465 w 659738"/>
              <a:gd name="connsiteY18" fmla="*/ 349503 h 639630"/>
              <a:gd name="connsiteX19" fmla="*/ 441588 w 659738"/>
              <a:gd name="connsiteY19" fmla="*/ 349060 h 639630"/>
              <a:gd name="connsiteX20" fmla="*/ 654573 w 659738"/>
              <a:gd name="connsiteY20" fmla="*/ 594470 h 639630"/>
              <a:gd name="connsiteX21" fmla="*/ 330891 w 659738"/>
              <a:gd name="connsiteY21" fmla="*/ 638328 h 639630"/>
              <a:gd name="connsiteX22" fmla="*/ 5365 w 659738"/>
              <a:gd name="connsiteY22" fmla="*/ 594470 h 639630"/>
              <a:gd name="connsiteX23" fmla="*/ 218349 w 659738"/>
              <a:gd name="connsiteY23" fmla="*/ 349061 h 639630"/>
              <a:gd name="connsiteX24" fmla="*/ 218473 w 659738"/>
              <a:gd name="connsiteY24" fmla="*/ 349502 h 639630"/>
              <a:gd name="connsiteX25" fmla="*/ 219638 w 659738"/>
              <a:gd name="connsiteY25" fmla="*/ 349060 h 639630"/>
              <a:gd name="connsiteX26" fmla="*/ 329970 w 659738"/>
              <a:gd name="connsiteY26" fmla="*/ 0 h 639630"/>
              <a:gd name="connsiteX27" fmla="*/ 496337 w 659738"/>
              <a:gd name="connsiteY27" fmla="*/ 167016 h 639630"/>
              <a:gd name="connsiteX28" fmla="*/ 329970 w 659738"/>
              <a:gd name="connsiteY28" fmla="*/ 334032 h 639630"/>
              <a:gd name="connsiteX29" fmla="*/ 163603 w 659738"/>
              <a:gd name="connsiteY29" fmla="*/ 167016 h 639630"/>
              <a:gd name="connsiteX30" fmla="*/ 329970 w 659738"/>
              <a:gd name="connsiteY30" fmla="*/ 0 h 639630"/>
              <a:gd name="connsiteX0" fmla="*/ 308997 w 659738"/>
              <a:gd name="connsiteY0" fmla="*/ 452535 h 638612"/>
              <a:gd name="connsiteX1" fmla="*/ 350941 w 659738"/>
              <a:gd name="connsiteY1" fmla="*/ 452535 h 638612"/>
              <a:gd name="connsiteX2" fmla="*/ 362055 w 659738"/>
              <a:gd name="connsiteY2" fmla="*/ 501481 h 638612"/>
              <a:gd name="connsiteX3" fmla="*/ 329969 w 659738"/>
              <a:gd name="connsiteY3" fmla="*/ 560565 h 638612"/>
              <a:gd name="connsiteX4" fmla="*/ 297883 w 659738"/>
              <a:gd name="connsiteY4" fmla="*/ 501481 h 638612"/>
              <a:gd name="connsiteX5" fmla="*/ 308997 w 659738"/>
              <a:gd name="connsiteY5" fmla="*/ 452535 h 638612"/>
              <a:gd name="connsiteX6" fmla="*/ 304874 w 659738"/>
              <a:gd name="connsiteY6" fmla="*/ 391711 h 638612"/>
              <a:gd name="connsiteX7" fmla="*/ 355064 w 659738"/>
              <a:gd name="connsiteY7" fmla="*/ 391711 h 638612"/>
              <a:gd name="connsiteX8" fmla="*/ 362055 w 659738"/>
              <a:gd name="connsiteY8" fmla="*/ 398729 h 638612"/>
              <a:gd name="connsiteX9" fmla="*/ 351838 w 659738"/>
              <a:gd name="connsiteY9" fmla="*/ 442457 h 638612"/>
              <a:gd name="connsiteX10" fmla="*/ 307743 w 659738"/>
              <a:gd name="connsiteY10" fmla="*/ 442457 h 638612"/>
              <a:gd name="connsiteX11" fmla="*/ 297884 w 659738"/>
              <a:gd name="connsiteY11" fmla="*/ 398729 h 638612"/>
              <a:gd name="connsiteX12" fmla="*/ 304874 w 659738"/>
              <a:gd name="connsiteY12" fmla="*/ 391711 h 638612"/>
              <a:gd name="connsiteX13" fmla="*/ 219638 w 659738"/>
              <a:gd name="connsiteY13" fmla="*/ 349060 h 638612"/>
              <a:gd name="connsiteX14" fmla="*/ 297404 w 659738"/>
              <a:gd name="connsiteY14" fmla="*/ 562776 h 638612"/>
              <a:gd name="connsiteX15" fmla="*/ 329969 w 659738"/>
              <a:gd name="connsiteY15" fmla="*/ 615120 h 638612"/>
              <a:gd name="connsiteX16" fmla="*/ 362533 w 659738"/>
              <a:gd name="connsiteY16" fmla="*/ 562776 h 638612"/>
              <a:gd name="connsiteX17" fmla="*/ 440299 w 659738"/>
              <a:gd name="connsiteY17" fmla="*/ 349061 h 638612"/>
              <a:gd name="connsiteX18" fmla="*/ 441465 w 659738"/>
              <a:gd name="connsiteY18" fmla="*/ 349503 h 638612"/>
              <a:gd name="connsiteX19" fmla="*/ 441588 w 659738"/>
              <a:gd name="connsiteY19" fmla="*/ 349060 h 638612"/>
              <a:gd name="connsiteX20" fmla="*/ 654573 w 659738"/>
              <a:gd name="connsiteY20" fmla="*/ 594470 h 638612"/>
              <a:gd name="connsiteX21" fmla="*/ 330891 w 659738"/>
              <a:gd name="connsiteY21" fmla="*/ 638328 h 638612"/>
              <a:gd name="connsiteX22" fmla="*/ 5365 w 659738"/>
              <a:gd name="connsiteY22" fmla="*/ 594470 h 638612"/>
              <a:gd name="connsiteX23" fmla="*/ 218349 w 659738"/>
              <a:gd name="connsiteY23" fmla="*/ 349061 h 638612"/>
              <a:gd name="connsiteX24" fmla="*/ 218473 w 659738"/>
              <a:gd name="connsiteY24" fmla="*/ 349502 h 638612"/>
              <a:gd name="connsiteX25" fmla="*/ 219638 w 659738"/>
              <a:gd name="connsiteY25" fmla="*/ 349060 h 638612"/>
              <a:gd name="connsiteX26" fmla="*/ 329970 w 659738"/>
              <a:gd name="connsiteY26" fmla="*/ 0 h 638612"/>
              <a:gd name="connsiteX27" fmla="*/ 496337 w 659738"/>
              <a:gd name="connsiteY27" fmla="*/ 167016 h 638612"/>
              <a:gd name="connsiteX28" fmla="*/ 329970 w 659738"/>
              <a:gd name="connsiteY28" fmla="*/ 334032 h 638612"/>
              <a:gd name="connsiteX29" fmla="*/ 163603 w 659738"/>
              <a:gd name="connsiteY29" fmla="*/ 167016 h 638612"/>
              <a:gd name="connsiteX30" fmla="*/ 329970 w 659738"/>
              <a:gd name="connsiteY30" fmla="*/ 0 h 638612"/>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9638 w 659738"/>
              <a:gd name="connsiteY13" fmla="*/ 349060 h 638333"/>
              <a:gd name="connsiteX14" fmla="*/ 297404 w 659738"/>
              <a:gd name="connsiteY14" fmla="*/ 562776 h 638333"/>
              <a:gd name="connsiteX15" fmla="*/ 329969 w 659738"/>
              <a:gd name="connsiteY15" fmla="*/ 615120 h 638333"/>
              <a:gd name="connsiteX16" fmla="*/ 362533 w 659738"/>
              <a:gd name="connsiteY16" fmla="*/ 562776 h 638333"/>
              <a:gd name="connsiteX17" fmla="*/ 440299 w 659738"/>
              <a:gd name="connsiteY17" fmla="*/ 349061 h 638333"/>
              <a:gd name="connsiteX18" fmla="*/ 441465 w 659738"/>
              <a:gd name="connsiteY18" fmla="*/ 349503 h 638333"/>
              <a:gd name="connsiteX19" fmla="*/ 441588 w 659738"/>
              <a:gd name="connsiteY19" fmla="*/ 349060 h 638333"/>
              <a:gd name="connsiteX20" fmla="*/ 654573 w 659738"/>
              <a:gd name="connsiteY20" fmla="*/ 594470 h 638333"/>
              <a:gd name="connsiteX21" fmla="*/ 330891 w 659738"/>
              <a:gd name="connsiteY21" fmla="*/ 638328 h 638333"/>
              <a:gd name="connsiteX22" fmla="*/ 5365 w 659738"/>
              <a:gd name="connsiteY22" fmla="*/ 594470 h 638333"/>
              <a:gd name="connsiteX23" fmla="*/ 218349 w 659738"/>
              <a:gd name="connsiteY23" fmla="*/ 349061 h 638333"/>
              <a:gd name="connsiteX24" fmla="*/ 218473 w 659738"/>
              <a:gd name="connsiteY24" fmla="*/ 349502 h 638333"/>
              <a:gd name="connsiteX25" fmla="*/ 219638 w 659738"/>
              <a:gd name="connsiteY25" fmla="*/ 349060 h 638333"/>
              <a:gd name="connsiteX26" fmla="*/ 329970 w 659738"/>
              <a:gd name="connsiteY26" fmla="*/ 0 h 638333"/>
              <a:gd name="connsiteX27" fmla="*/ 496337 w 659738"/>
              <a:gd name="connsiteY27" fmla="*/ 167016 h 638333"/>
              <a:gd name="connsiteX28" fmla="*/ 329970 w 659738"/>
              <a:gd name="connsiteY28" fmla="*/ 334032 h 638333"/>
              <a:gd name="connsiteX29" fmla="*/ 163603 w 659738"/>
              <a:gd name="connsiteY29" fmla="*/ 167016 h 638333"/>
              <a:gd name="connsiteX30" fmla="*/ 329970 w 659738"/>
              <a:gd name="connsiteY30"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9638 w 659738"/>
              <a:gd name="connsiteY13" fmla="*/ 349060 h 638333"/>
              <a:gd name="connsiteX14" fmla="*/ 297404 w 659738"/>
              <a:gd name="connsiteY14" fmla="*/ 562776 h 638333"/>
              <a:gd name="connsiteX15" fmla="*/ 329969 w 659738"/>
              <a:gd name="connsiteY15" fmla="*/ 615120 h 638333"/>
              <a:gd name="connsiteX16" fmla="*/ 440299 w 659738"/>
              <a:gd name="connsiteY16" fmla="*/ 349061 h 638333"/>
              <a:gd name="connsiteX17" fmla="*/ 441465 w 659738"/>
              <a:gd name="connsiteY17" fmla="*/ 349503 h 638333"/>
              <a:gd name="connsiteX18" fmla="*/ 441588 w 659738"/>
              <a:gd name="connsiteY18" fmla="*/ 349060 h 638333"/>
              <a:gd name="connsiteX19" fmla="*/ 654573 w 659738"/>
              <a:gd name="connsiteY19" fmla="*/ 594470 h 638333"/>
              <a:gd name="connsiteX20" fmla="*/ 330891 w 659738"/>
              <a:gd name="connsiteY20" fmla="*/ 638328 h 638333"/>
              <a:gd name="connsiteX21" fmla="*/ 5365 w 659738"/>
              <a:gd name="connsiteY21" fmla="*/ 594470 h 638333"/>
              <a:gd name="connsiteX22" fmla="*/ 218349 w 659738"/>
              <a:gd name="connsiteY22" fmla="*/ 349061 h 638333"/>
              <a:gd name="connsiteX23" fmla="*/ 218473 w 659738"/>
              <a:gd name="connsiteY23" fmla="*/ 349502 h 638333"/>
              <a:gd name="connsiteX24" fmla="*/ 219638 w 659738"/>
              <a:gd name="connsiteY24" fmla="*/ 349060 h 638333"/>
              <a:gd name="connsiteX25" fmla="*/ 329970 w 659738"/>
              <a:gd name="connsiteY25" fmla="*/ 0 h 638333"/>
              <a:gd name="connsiteX26" fmla="*/ 496337 w 659738"/>
              <a:gd name="connsiteY26" fmla="*/ 167016 h 638333"/>
              <a:gd name="connsiteX27" fmla="*/ 329970 w 659738"/>
              <a:gd name="connsiteY27" fmla="*/ 334032 h 638333"/>
              <a:gd name="connsiteX28" fmla="*/ 163603 w 659738"/>
              <a:gd name="connsiteY28" fmla="*/ 167016 h 638333"/>
              <a:gd name="connsiteX29" fmla="*/ 329970 w 659738"/>
              <a:gd name="connsiteY29"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9638 w 659738"/>
              <a:gd name="connsiteY13" fmla="*/ 349060 h 638333"/>
              <a:gd name="connsiteX14" fmla="*/ 329969 w 659738"/>
              <a:gd name="connsiteY14" fmla="*/ 615120 h 638333"/>
              <a:gd name="connsiteX15" fmla="*/ 440299 w 659738"/>
              <a:gd name="connsiteY15" fmla="*/ 349061 h 638333"/>
              <a:gd name="connsiteX16" fmla="*/ 441465 w 659738"/>
              <a:gd name="connsiteY16" fmla="*/ 349503 h 638333"/>
              <a:gd name="connsiteX17" fmla="*/ 441588 w 659738"/>
              <a:gd name="connsiteY17" fmla="*/ 349060 h 638333"/>
              <a:gd name="connsiteX18" fmla="*/ 654573 w 659738"/>
              <a:gd name="connsiteY18" fmla="*/ 594470 h 638333"/>
              <a:gd name="connsiteX19" fmla="*/ 330891 w 659738"/>
              <a:gd name="connsiteY19" fmla="*/ 638328 h 638333"/>
              <a:gd name="connsiteX20" fmla="*/ 5365 w 659738"/>
              <a:gd name="connsiteY20" fmla="*/ 594470 h 638333"/>
              <a:gd name="connsiteX21" fmla="*/ 218349 w 659738"/>
              <a:gd name="connsiteY21" fmla="*/ 349061 h 638333"/>
              <a:gd name="connsiteX22" fmla="*/ 218473 w 659738"/>
              <a:gd name="connsiteY22" fmla="*/ 349502 h 638333"/>
              <a:gd name="connsiteX23" fmla="*/ 219638 w 659738"/>
              <a:gd name="connsiteY23" fmla="*/ 349060 h 638333"/>
              <a:gd name="connsiteX24" fmla="*/ 329970 w 659738"/>
              <a:gd name="connsiteY24" fmla="*/ 0 h 638333"/>
              <a:gd name="connsiteX25" fmla="*/ 496337 w 659738"/>
              <a:gd name="connsiteY25" fmla="*/ 167016 h 638333"/>
              <a:gd name="connsiteX26" fmla="*/ 329970 w 659738"/>
              <a:gd name="connsiteY26" fmla="*/ 334032 h 638333"/>
              <a:gd name="connsiteX27" fmla="*/ 163603 w 659738"/>
              <a:gd name="connsiteY27" fmla="*/ 167016 h 638333"/>
              <a:gd name="connsiteX28" fmla="*/ 329970 w 659738"/>
              <a:gd name="connsiteY28"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9638 w 659738"/>
              <a:gd name="connsiteY13" fmla="*/ 349060 h 638333"/>
              <a:gd name="connsiteX14" fmla="*/ 329969 w 659738"/>
              <a:gd name="connsiteY14" fmla="*/ 615120 h 638333"/>
              <a:gd name="connsiteX15" fmla="*/ 440299 w 659738"/>
              <a:gd name="connsiteY15" fmla="*/ 349061 h 638333"/>
              <a:gd name="connsiteX16" fmla="*/ 441465 w 659738"/>
              <a:gd name="connsiteY16" fmla="*/ 349503 h 638333"/>
              <a:gd name="connsiteX17" fmla="*/ 441588 w 659738"/>
              <a:gd name="connsiteY17" fmla="*/ 349060 h 638333"/>
              <a:gd name="connsiteX18" fmla="*/ 654573 w 659738"/>
              <a:gd name="connsiteY18" fmla="*/ 594470 h 638333"/>
              <a:gd name="connsiteX19" fmla="*/ 330891 w 659738"/>
              <a:gd name="connsiteY19" fmla="*/ 638328 h 638333"/>
              <a:gd name="connsiteX20" fmla="*/ 5365 w 659738"/>
              <a:gd name="connsiteY20" fmla="*/ 594470 h 638333"/>
              <a:gd name="connsiteX21" fmla="*/ 218349 w 659738"/>
              <a:gd name="connsiteY21" fmla="*/ 349061 h 638333"/>
              <a:gd name="connsiteX22" fmla="*/ 218473 w 659738"/>
              <a:gd name="connsiteY22" fmla="*/ 349502 h 638333"/>
              <a:gd name="connsiteX23" fmla="*/ 219638 w 659738"/>
              <a:gd name="connsiteY23" fmla="*/ 349060 h 638333"/>
              <a:gd name="connsiteX24" fmla="*/ 329970 w 659738"/>
              <a:gd name="connsiteY24" fmla="*/ 0 h 638333"/>
              <a:gd name="connsiteX25" fmla="*/ 496337 w 659738"/>
              <a:gd name="connsiteY25" fmla="*/ 167016 h 638333"/>
              <a:gd name="connsiteX26" fmla="*/ 329970 w 659738"/>
              <a:gd name="connsiteY26" fmla="*/ 334032 h 638333"/>
              <a:gd name="connsiteX27" fmla="*/ 163603 w 659738"/>
              <a:gd name="connsiteY27" fmla="*/ 167016 h 638333"/>
              <a:gd name="connsiteX28" fmla="*/ 329970 w 659738"/>
              <a:gd name="connsiteY28"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9638 w 659738"/>
              <a:gd name="connsiteY13" fmla="*/ 349060 h 638333"/>
              <a:gd name="connsiteX14" fmla="*/ 329969 w 659738"/>
              <a:gd name="connsiteY14" fmla="*/ 615120 h 638333"/>
              <a:gd name="connsiteX15" fmla="*/ 440299 w 659738"/>
              <a:gd name="connsiteY15" fmla="*/ 349061 h 638333"/>
              <a:gd name="connsiteX16" fmla="*/ 441465 w 659738"/>
              <a:gd name="connsiteY16" fmla="*/ 349503 h 638333"/>
              <a:gd name="connsiteX17" fmla="*/ 441588 w 659738"/>
              <a:gd name="connsiteY17" fmla="*/ 349060 h 638333"/>
              <a:gd name="connsiteX18" fmla="*/ 654573 w 659738"/>
              <a:gd name="connsiteY18" fmla="*/ 594470 h 638333"/>
              <a:gd name="connsiteX19" fmla="*/ 330891 w 659738"/>
              <a:gd name="connsiteY19" fmla="*/ 638328 h 638333"/>
              <a:gd name="connsiteX20" fmla="*/ 5365 w 659738"/>
              <a:gd name="connsiteY20" fmla="*/ 594470 h 638333"/>
              <a:gd name="connsiteX21" fmla="*/ 218349 w 659738"/>
              <a:gd name="connsiteY21" fmla="*/ 349061 h 638333"/>
              <a:gd name="connsiteX22" fmla="*/ 218473 w 659738"/>
              <a:gd name="connsiteY22" fmla="*/ 349502 h 638333"/>
              <a:gd name="connsiteX23" fmla="*/ 219638 w 659738"/>
              <a:gd name="connsiteY23" fmla="*/ 349060 h 638333"/>
              <a:gd name="connsiteX24" fmla="*/ 329970 w 659738"/>
              <a:gd name="connsiteY24" fmla="*/ 0 h 638333"/>
              <a:gd name="connsiteX25" fmla="*/ 496337 w 659738"/>
              <a:gd name="connsiteY25" fmla="*/ 167016 h 638333"/>
              <a:gd name="connsiteX26" fmla="*/ 329970 w 659738"/>
              <a:gd name="connsiteY26" fmla="*/ 334032 h 638333"/>
              <a:gd name="connsiteX27" fmla="*/ 163603 w 659738"/>
              <a:gd name="connsiteY27" fmla="*/ 167016 h 638333"/>
              <a:gd name="connsiteX28" fmla="*/ 329970 w 659738"/>
              <a:gd name="connsiteY28"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473 w 659738"/>
              <a:gd name="connsiteY13" fmla="*/ 349502 h 638333"/>
              <a:gd name="connsiteX14" fmla="*/ 329969 w 659738"/>
              <a:gd name="connsiteY14" fmla="*/ 615120 h 638333"/>
              <a:gd name="connsiteX15" fmla="*/ 440299 w 659738"/>
              <a:gd name="connsiteY15" fmla="*/ 349061 h 638333"/>
              <a:gd name="connsiteX16" fmla="*/ 441465 w 659738"/>
              <a:gd name="connsiteY16" fmla="*/ 349503 h 638333"/>
              <a:gd name="connsiteX17" fmla="*/ 441588 w 659738"/>
              <a:gd name="connsiteY17" fmla="*/ 349060 h 638333"/>
              <a:gd name="connsiteX18" fmla="*/ 654573 w 659738"/>
              <a:gd name="connsiteY18" fmla="*/ 594470 h 638333"/>
              <a:gd name="connsiteX19" fmla="*/ 330891 w 659738"/>
              <a:gd name="connsiteY19" fmla="*/ 638328 h 638333"/>
              <a:gd name="connsiteX20" fmla="*/ 5365 w 659738"/>
              <a:gd name="connsiteY20" fmla="*/ 594470 h 638333"/>
              <a:gd name="connsiteX21" fmla="*/ 218349 w 659738"/>
              <a:gd name="connsiteY21" fmla="*/ 349061 h 638333"/>
              <a:gd name="connsiteX22" fmla="*/ 218473 w 659738"/>
              <a:gd name="connsiteY22" fmla="*/ 349502 h 638333"/>
              <a:gd name="connsiteX23" fmla="*/ 329970 w 659738"/>
              <a:gd name="connsiteY23" fmla="*/ 0 h 638333"/>
              <a:gd name="connsiteX24" fmla="*/ 496337 w 659738"/>
              <a:gd name="connsiteY24" fmla="*/ 167016 h 638333"/>
              <a:gd name="connsiteX25" fmla="*/ 329970 w 659738"/>
              <a:gd name="connsiteY25" fmla="*/ 334032 h 638333"/>
              <a:gd name="connsiteX26" fmla="*/ 163603 w 659738"/>
              <a:gd name="connsiteY26" fmla="*/ 167016 h 638333"/>
              <a:gd name="connsiteX27" fmla="*/ 329970 w 659738"/>
              <a:gd name="connsiteY27"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0299 w 659738"/>
              <a:gd name="connsiteY15" fmla="*/ 349061 h 638333"/>
              <a:gd name="connsiteX16" fmla="*/ 441465 w 659738"/>
              <a:gd name="connsiteY16" fmla="*/ 349503 h 638333"/>
              <a:gd name="connsiteX17" fmla="*/ 441588 w 659738"/>
              <a:gd name="connsiteY17" fmla="*/ 349060 h 638333"/>
              <a:gd name="connsiteX18" fmla="*/ 654573 w 659738"/>
              <a:gd name="connsiteY18" fmla="*/ 594470 h 638333"/>
              <a:gd name="connsiteX19" fmla="*/ 330891 w 659738"/>
              <a:gd name="connsiteY19" fmla="*/ 638328 h 638333"/>
              <a:gd name="connsiteX20" fmla="*/ 5365 w 659738"/>
              <a:gd name="connsiteY20" fmla="*/ 594470 h 638333"/>
              <a:gd name="connsiteX21" fmla="*/ 218349 w 659738"/>
              <a:gd name="connsiteY21" fmla="*/ 349061 h 638333"/>
              <a:gd name="connsiteX22" fmla="*/ 329970 w 659738"/>
              <a:gd name="connsiteY22" fmla="*/ 0 h 638333"/>
              <a:gd name="connsiteX23" fmla="*/ 496337 w 659738"/>
              <a:gd name="connsiteY23" fmla="*/ 167016 h 638333"/>
              <a:gd name="connsiteX24" fmla="*/ 329970 w 659738"/>
              <a:gd name="connsiteY24" fmla="*/ 334032 h 638333"/>
              <a:gd name="connsiteX25" fmla="*/ 163603 w 659738"/>
              <a:gd name="connsiteY25" fmla="*/ 167016 h 638333"/>
              <a:gd name="connsiteX26" fmla="*/ 329970 w 659738"/>
              <a:gd name="connsiteY26"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465 w 659738"/>
              <a:gd name="connsiteY15" fmla="*/ 349503 h 638333"/>
              <a:gd name="connsiteX16" fmla="*/ 441588 w 659738"/>
              <a:gd name="connsiteY16" fmla="*/ 349060 h 638333"/>
              <a:gd name="connsiteX17" fmla="*/ 654573 w 659738"/>
              <a:gd name="connsiteY17" fmla="*/ 594470 h 638333"/>
              <a:gd name="connsiteX18" fmla="*/ 330891 w 659738"/>
              <a:gd name="connsiteY18" fmla="*/ 638328 h 638333"/>
              <a:gd name="connsiteX19" fmla="*/ 5365 w 659738"/>
              <a:gd name="connsiteY19" fmla="*/ 594470 h 638333"/>
              <a:gd name="connsiteX20" fmla="*/ 218349 w 659738"/>
              <a:gd name="connsiteY20" fmla="*/ 349061 h 638333"/>
              <a:gd name="connsiteX21" fmla="*/ 329970 w 659738"/>
              <a:gd name="connsiteY21" fmla="*/ 0 h 638333"/>
              <a:gd name="connsiteX22" fmla="*/ 496337 w 659738"/>
              <a:gd name="connsiteY22" fmla="*/ 167016 h 638333"/>
              <a:gd name="connsiteX23" fmla="*/ 329970 w 659738"/>
              <a:gd name="connsiteY23" fmla="*/ 334032 h 638333"/>
              <a:gd name="connsiteX24" fmla="*/ 163603 w 659738"/>
              <a:gd name="connsiteY24" fmla="*/ 167016 h 638333"/>
              <a:gd name="connsiteX25" fmla="*/ 329970 w 659738"/>
              <a:gd name="connsiteY25"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25788 w 659738"/>
              <a:gd name="connsiteY15" fmla="*/ 360876 h 638333"/>
              <a:gd name="connsiteX16" fmla="*/ 441588 w 659738"/>
              <a:gd name="connsiteY16" fmla="*/ 349060 h 638333"/>
              <a:gd name="connsiteX17" fmla="*/ 654573 w 659738"/>
              <a:gd name="connsiteY17" fmla="*/ 594470 h 638333"/>
              <a:gd name="connsiteX18" fmla="*/ 330891 w 659738"/>
              <a:gd name="connsiteY18" fmla="*/ 638328 h 638333"/>
              <a:gd name="connsiteX19" fmla="*/ 5365 w 659738"/>
              <a:gd name="connsiteY19" fmla="*/ 594470 h 638333"/>
              <a:gd name="connsiteX20" fmla="*/ 218349 w 659738"/>
              <a:gd name="connsiteY20" fmla="*/ 349061 h 638333"/>
              <a:gd name="connsiteX21" fmla="*/ 329970 w 659738"/>
              <a:gd name="connsiteY21" fmla="*/ 0 h 638333"/>
              <a:gd name="connsiteX22" fmla="*/ 496337 w 659738"/>
              <a:gd name="connsiteY22" fmla="*/ 167016 h 638333"/>
              <a:gd name="connsiteX23" fmla="*/ 329970 w 659738"/>
              <a:gd name="connsiteY23" fmla="*/ 334032 h 638333"/>
              <a:gd name="connsiteX24" fmla="*/ 163603 w 659738"/>
              <a:gd name="connsiteY24" fmla="*/ 167016 h 638333"/>
              <a:gd name="connsiteX25" fmla="*/ 329970 w 659738"/>
              <a:gd name="connsiteY25"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 name="connsiteX0" fmla="*/ 308997 w 659738"/>
              <a:gd name="connsiteY0" fmla="*/ 452535 h 638333"/>
              <a:gd name="connsiteX1" fmla="*/ 350941 w 659738"/>
              <a:gd name="connsiteY1" fmla="*/ 452535 h 638333"/>
              <a:gd name="connsiteX2" fmla="*/ 362055 w 659738"/>
              <a:gd name="connsiteY2" fmla="*/ 501481 h 638333"/>
              <a:gd name="connsiteX3" fmla="*/ 329969 w 659738"/>
              <a:gd name="connsiteY3" fmla="*/ 560565 h 638333"/>
              <a:gd name="connsiteX4" fmla="*/ 297883 w 659738"/>
              <a:gd name="connsiteY4" fmla="*/ 501481 h 638333"/>
              <a:gd name="connsiteX5" fmla="*/ 308997 w 659738"/>
              <a:gd name="connsiteY5" fmla="*/ 452535 h 638333"/>
              <a:gd name="connsiteX6" fmla="*/ 304874 w 659738"/>
              <a:gd name="connsiteY6" fmla="*/ 391711 h 638333"/>
              <a:gd name="connsiteX7" fmla="*/ 355064 w 659738"/>
              <a:gd name="connsiteY7" fmla="*/ 391711 h 638333"/>
              <a:gd name="connsiteX8" fmla="*/ 362055 w 659738"/>
              <a:gd name="connsiteY8" fmla="*/ 398729 h 638333"/>
              <a:gd name="connsiteX9" fmla="*/ 351838 w 659738"/>
              <a:gd name="connsiteY9" fmla="*/ 442457 h 638333"/>
              <a:gd name="connsiteX10" fmla="*/ 307743 w 659738"/>
              <a:gd name="connsiteY10" fmla="*/ 442457 h 638333"/>
              <a:gd name="connsiteX11" fmla="*/ 297884 w 659738"/>
              <a:gd name="connsiteY11" fmla="*/ 398729 h 638333"/>
              <a:gd name="connsiteX12" fmla="*/ 304874 w 659738"/>
              <a:gd name="connsiteY12" fmla="*/ 391711 h 638333"/>
              <a:gd name="connsiteX13" fmla="*/ 218349 w 659738"/>
              <a:gd name="connsiteY13" fmla="*/ 349061 h 638333"/>
              <a:gd name="connsiteX14" fmla="*/ 329969 w 659738"/>
              <a:gd name="connsiteY14" fmla="*/ 615120 h 638333"/>
              <a:gd name="connsiteX15" fmla="*/ 441588 w 659738"/>
              <a:gd name="connsiteY15" fmla="*/ 349060 h 638333"/>
              <a:gd name="connsiteX16" fmla="*/ 654573 w 659738"/>
              <a:gd name="connsiteY16" fmla="*/ 594470 h 638333"/>
              <a:gd name="connsiteX17" fmla="*/ 330891 w 659738"/>
              <a:gd name="connsiteY17" fmla="*/ 638328 h 638333"/>
              <a:gd name="connsiteX18" fmla="*/ 5365 w 659738"/>
              <a:gd name="connsiteY18" fmla="*/ 594470 h 638333"/>
              <a:gd name="connsiteX19" fmla="*/ 218349 w 659738"/>
              <a:gd name="connsiteY19" fmla="*/ 349061 h 638333"/>
              <a:gd name="connsiteX20" fmla="*/ 329970 w 659738"/>
              <a:gd name="connsiteY20" fmla="*/ 0 h 638333"/>
              <a:gd name="connsiteX21" fmla="*/ 496337 w 659738"/>
              <a:gd name="connsiteY21" fmla="*/ 167016 h 638333"/>
              <a:gd name="connsiteX22" fmla="*/ 329970 w 659738"/>
              <a:gd name="connsiteY22" fmla="*/ 334032 h 638333"/>
              <a:gd name="connsiteX23" fmla="*/ 163603 w 659738"/>
              <a:gd name="connsiteY23" fmla="*/ 167016 h 638333"/>
              <a:gd name="connsiteX24" fmla="*/ 329970 w 659738"/>
              <a:gd name="connsiteY24" fmla="*/ 0 h 63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59738" h="638333">
                <a:moveTo>
                  <a:pt x="308997" y="452535"/>
                </a:moveTo>
                <a:lnTo>
                  <a:pt x="350941" y="452535"/>
                </a:lnTo>
                <a:lnTo>
                  <a:pt x="362055" y="501481"/>
                </a:lnTo>
                <a:lnTo>
                  <a:pt x="329969" y="560565"/>
                </a:lnTo>
                <a:lnTo>
                  <a:pt x="297883" y="501481"/>
                </a:lnTo>
                <a:lnTo>
                  <a:pt x="308997" y="452535"/>
                </a:lnTo>
                <a:close/>
                <a:moveTo>
                  <a:pt x="304874" y="391711"/>
                </a:moveTo>
                <a:lnTo>
                  <a:pt x="355064" y="391711"/>
                </a:lnTo>
                <a:cubicBezTo>
                  <a:pt x="358925" y="391711"/>
                  <a:pt x="362055" y="394853"/>
                  <a:pt x="362055" y="398729"/>
                </a:cubicBezTo>
                <a:lnTo>
                  <a:pt x="351838" y="442457"/>
                </a:lnTo>
                <a:lnTo>
                  <a:pt x="307743" y="442457"/>
                </a:lnTo>
                <a:cubicBezTo>
                  <a:pt x="305383" y="433010"/>
                  <a:pt x="297884" y="407187"/>
                  <a:pt x="297884" y="398729"/>
                </a:cubicBezTo>
                <a:cubicBezTo>
                  <a:pt x="297884" y="394853"/>
                  <a:pt x="301014" y="391711"/>
                  <a:pt x="304874" y="391711"/>
                </a:cubicBezTo>
                <a:close/>
                <a:moveTo>
                  <a:pt x="218349" y="349061"/>
                </a:moveTo>
                <a:cubicBezTo>
                  <a:pt x="257081" y="529863"/>
                  <a:pt x="308960" y="576082"/>
                  <a:pt x="329969" y="615120"/>
                </a:cubicBezTo>
                <a:cubicBezTo>
                  <a:pt x="349655" y="575467"/>
                  <a:pt x="393941" y="542464"/>
                  <a:pt x="441588" y="349060"/>
                </a:cubicBezTo>
                <a:cubicBezTo>
                  <a:pt x="703339" y="414871"/>
                  <a:pt x="658201" y="579236"/>
                  <a:pt x="654573" y="594470"/>
                </a:cubicBezTo>
                <a:cubicBezTo>
                  <a:pt x="594704" y="617591"/>
                  <a:pt x="474595" y="638731"/>
                  <a:pt x="330891" y="638328"/>
                </a:cubicBezTo>
                <a:cubicBezTo>
                  <a:pt x="187187" y="637925"/>
                  <a:pt x="113335" y="617004"/>
                  <a:pt x="5365" y="594470"/>
                </a:cubicBezTo>
                <a:cubicBezTo>
                  <a:pt x="1275" y="572551"/>
                  <a:pt x="-43401" y="414872"/>
                  <a:pt x="218349" y="349061"/>
                </a:cubicBezTo>
                <a:close/>
                <a:moveTo>
                  <a:pt x="329970" y="0"/>
                </a:moveTo>
                <a:cubicBezTo>
                  <a:pt x="421852" y="0"/>
                  <a:pt x="496337" y="74776"/>
                  <a:pt x="496337" y="167016"/>
                </a:cubicBezTo>
                <a:cubicBezTo>
                  <a:pt x="496337" y="259256"/>
                  <a:pt x="421852" y="334032"/>
                  <a:pt x="329970" y="334032"/>
                </a:cubicBezTo>
                <a:cubicBezTo>
                  <a:pt x="238088" y="334032"/>
                  <a:pt x="163603" y="259256"/>
                  <a:pt x="163603" y="167016"/>
                </a:cubicBezTo>
                <a:cubicBezTo>
                  <a:pt x="163603" y="74776"/>
                  <a:pt x="238088" y="0"/>
                  <a:pt x="329970" y="0"/>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IN" sz="1836" b="1" i="0" u="none" strike="noStrike" kern="1200" cap="none" spc="0" normalizeH="0" baseline="0" noProof="0">
              <a:ln>
                <a:noFill/>
              </a:ln>
              <a:solidFill>
                <a:prstClr val="white"/>
              </a:solidFill>
              <a:effectLst/>
              <a:uLnTx/>
              <a:uFillTx/>
              <a:latin typeface="Segoe UI"/>
              <a:ea typeface="+mn-ea"/>
              <a:cs typeface="+mn-cs"/>
            </a:endParaRPr>
          </a:p>
        </p:txBody>
      </p:sp>
      <p:sp>
        <p:nvSpPr>
          <p:cNvPr id="71" name="Freeform: Shape 70"/>
          <p:cNvSpPr/>
          <p:nvPr/>
        </p:nvSpPr>
        <p:spPr bwMode="auto">
          <a:xfrm>
            <a:off x="6984876" y="5537056"/>
            <a:ext cx="585758" cy="566752"/>
          </a:xfrm>
          <a:custGeom>
            <a:avLst/>
            <a:gdLst>
              <a:gd name="connsiteX0" fmla="*/ 246286 w 525844"/>
              <a:gd name="connsiteY0" fmla="*/ 360693 h 508783"/>
              <a:gd name="connsiteX1" fmla="*/ 279718 w 525844"/>
              <a:gd name="connsiteY1" fmla="*/ 360693 h 508783"/>
              <a:gd name="connsiteX2" fmla="*/ 288576 w 525844"/>
              <a:gd name="connsiteY2" fmla="*/ 399705 h 508783"/>
              <a:gd name="connsiteX3" fmla="*/ 263002 w 525844"/>
              <a:gd name="connsiteY3" fmla="*/ 446798 h 508783"/>
              <a:gd name="connsiteX4" fmla="*/ 237428 w 525844"/>
              <a:gd name="connsiteY4" fmla="*/ 399705 h 508783"/>
              <a:gd name="connsiteX5" fmla="*/ 243000 w 525844"/>
              <a:gd name="connsiteY5" fmla="*/ 312213 h 508783"/>
              <a:gd name="connsiteX6" fmla="*/ 283004 w 525844"/>
              <a:gd name="connsiteY6" fmla="*/ 312213 h 508783"/>
              <a:gd name="connsiteX7" fmla="*/ 288576 w 525844"/>
              <a:gd name="connsiteY7" fmla="*/ 317807 h 508783"/>
              <a:gd name="connsiteX8" fmla="*/ 280433 w 525844"/>
              <a:gd name="connsiteY8" fmla="*/ 352660 h 508783"/>
              <a:gd name="connsiteX9" fmla="*/ 245287 w 525844"/>
              <a:gd name="connsiteY9" fmla="*/ 352660 h 508783"/>
              <a:gd name="connsiteX10" fmla="*/ 237429 w 525844"/>
              <a:gd name="connsiteY10" fmla="*/ 317807 h 508783"/>
              <a:gd name="connsiteX11" fmla="*/ 243000 w 525844"/>
              <a:gd name="connsiteY11" fmla="*/ 312213 h 508783"/>
              <a:gd name="connsiteX12" fmla="*/ 351968 w 525844"/>
              <a:gd name="connsiteY12" fmla="*/ 278218 h 508783"/>
              <a:gd name="connsiteX13" fmla="*/ 521727 w 525844"/>
              <a:gd name="connsiteY13" fmla="*/ 473822 h 508783"/>
              <a:gd name="connsiteX14" fmla="*/ 263737 w 525844"/>
              <a:gd name="connsiteY14" fmla="*/ 508779 h 508783"/>
              <a:gd name="connsiteX15" fmla="*/ 4276 w 525844"/>
              <a:gd name="connsiteY15" fmla="*/ 473822 h 508783"/>
              <a:gd name="connsiteX16" fmla="*/ 174035 w 525844"/>
              <a:gd name="connsiteY16" fmla="*/ 278219 h 508783"/>
              <a:gd name="connsiteX17" fmla="*/ 263002 w 525844"/>
              <a:gd name="connsiteY17" fmla="*/ 490281 h 508783"/>
              <a:gd name="connsiteX18" fmla="*/ 351968 w 525844"/>
              <a:gd name="connsiteY18" fmla="*/ 278218 h 508783"/>
              <a:gd name="connsiteX19" fmla="*/ 297848 w 525844"/>
              <a:gd name="connsiteY19" fmla="*/ 107722 h 508783"/>
              <a:gd name="connsiteX20" fmla="*/ 349509 w 525844"/>
              <a:gd name="connsiteY20" fmla="*/ 107722 h 508783"/>
              <a:gd name="connsiteX21" fmla="*/ 349509 w 525844"/>
              <a:gd name="connsiteY21" fmla="*/ 149062 h 508783"/>
              <a:gd name="connsiteX22" fmla="*/ 297848 w 525844"/>
              <a:gd name="connsiteY22" fmla="*/ 149062 h 508783"/>
              <a:gd name="connsiteX23" fmla="*/ 174243 w 525844"/>
              <a:gd name="connsiteY23" fmla="*/ 107722 h 508783"/>
              <a:gd name="connsiteX24" fmla="*/ 225904 w 525844"/>
              <a:gd name="connsiteY24" fmla="*/ 107722 h 508783"/>
              <a:gd name="connsiteX25" fmla="*/ 225904 w 525844"/>
              <a:gd name="connsiteY25" fmla="*/ 149062 h 508783"/>
              <a:gd name="connsiteX26" fmla="*/ 174243 w 525844"/>
              <a:gd name="connsiteY26" fmla="*/ 149062 h 508783"/>
              <a:gd name="connsiteX27" fmla="*/ 176497 w 525844"/>
              <a:gd name="connsiteY27" fmla="*/ 88908 h 508783"/>
              <a:gd name="connsiteX28" fmla="*/ 162301 w 525844"/>
              <a:gd name="connsiteY28" fmla="*/ 94812 h 508783"/>
              <a:gd name="connsiteX29" fmla="*/ 157914 w 525844"/>
              <a:gd name="connsiteY29" fmla="*/ 105444 h 508783"/>
              <a:gd name="connsiteX30" fmla="*/ 157914 w 525844"/>
              <a:gd name="connsiteY30" fmla="*/ 146923 h 508783"/>
              <a:gd name="connsiteX31" fmla="*/ 162301 w 525844"/>
              <a:gd name="connsiteY31" fmla="*/ 157555 h 508783"/>
              <a:gd name="connsiteX32" fmla="*/ 176497 w 525844"/>
              <a:gd name="connsiteY32" fmla="*/ 163458 h 508783"/>
              <a:gd name="connsiteX33" fmla="*/ 223804 w 525844"/>
              <a:gd name="connsiteY33" fmla="*/ 163458 h 508783"/>
              <a:gd name="connsiteX34" fmla="*/ 243882 w 525844"/>
              <a:gd name="connsiteY34" fmla="*/ 143302 h 508783"/>
              <a:gd name="connsiteX35" fmla="*/ 243882 w 525844"/>
              <a:gd name="connsiteY35" fmla="*/ 121190 h 508783"/>
              <a:gd name="connsiteX36" fmla="*/ 247501 w 525844"/>
              <a:gd name="connsiteY36" fmla="*/ 117275 h 508783"/>
              <a:gd name="connsiteX37" fmla="*/ 276620 w 525844"/>
              <a:gd name="connsiteY37" fmla="*/ 117151 h 508783"/>
              <a:gd name="connsiteX38" fmla="*/ 280469 w 525844"/>
              <a:gd name="connsiteY38" fmla="*/ 120852 h 508783"/>
              <a:gd name="connsiteX39" fmla="*/ 280469 w 525844"/>
              <a:gd name="connsiteY39" fmla="*/ 143302 h 508783"/>
              <a:gd name="connsiteX40" fmla="*/ 300547 w 525844"/>
              <a:gd name="connsiteY40" fmla="*/ 163458 h 508783"/>
              <a:gd name="connsiteX41" fmla="*/ 347853 w 525844"/>
              <a:gd name="connsiteY41" fmla="*/ 163458 h 508783"/>
              <a:gd name="connsiteX42" fmla="*/ 367931 w 525844"/>
              <a:gd name="connsiteY42" fmla="*/ 143302 h 508783"/>
              <a:gd name="connsiteX43" fmla="*/ 367931 w 525844"/>
              <a:gd name="connsiteY43" fmla="*/ 109065 h 508783"/>
              <a:gd name="connsiteX44" fmla="*/ 347853 w 525844"/>
              <a:gd name="connsiteY44" fmla="*/ 88908 h 508783"/>
              <a:gd name="connsiteX45" fmla="*/ 263003 w 525844"/>
              <a:gd name="connsiteY45" fmla="*/ 0 h 508783"/>
              <a:gd name="connsiteX46" fmla="*/ 395606 w 525844"/>
              <a:gd name="connsiteY46" fmla="*/ 133120 h 508783"/>
              <a:gd name="connsiteX47" fmla="*/ 263003 w 525844"/>
              <a:gd name="connsiteY47" fmla="*/ 266240 h 508783"/>
              <a:gd name="connsiteX48" fmla="*/ 130399 w 525844"/>
              <a:gd name="connsiteY48" fmla="*/ 133120 h 508783"/>
              <a:gd name="connsiteX49" fmla="*/ 263003 w 525844"/>
              <a:gd name="connsiteY49" fmla="*/ 0 h 508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5844" h="508783">
                <a:moveTo>
                  <a:pt x="246286" y="360693"/>
                </a:moveTo>
                <a:lnTo>
                  <a:pt x="279718" y="360693"/>
                </a:lnTo>
                <a:lnTo>
                  <a:pt x="288576" y="399705"/>
                </a:lnTo>
                <a:lnTo>
                  <a:pt x="263002" y="446798"/>
                </a:lnTo>
                <a:lnTo>
                  <a:pt x="237428" y="399705"/>
                </a:lnTo>
                <a:close/>
                <a:moveTo>
                  <a:pt x="243000" y="312213"/>
                </a:moveTo>
                <a:lnTo>
                  <a:pt x="283004" y="312213"/>
                </a:lnTo>
                <a:cubicBezTo>
                  <a:pt x="286081" y="312213"/>
                  <a:pt x="288576" y="314718"/>
                  <a:pt x="288576" y="317807"/>
                </a:cubicBezTo>
                <a:lnTo>
                  <a:pt x="280433" y="352660"/>
                </a:lnTo>
                <a:lnTo>
                  <a:pt x="245287" y="352660"/>
                </a:lnTo>
                <a:cubicBezTo>
                  <a:pt x="243406" y="345131"/>
                  <a:pt x="237429" y="324548"/>
                  <a:pt x="237429" y="317807"/>
                </a:cubicBezTo>
                <a:cubicBezTo>
                  <a:pt x="237429" y="314718"/>
                  <a:pt x="239923" y="312213"/>
                  <a:pt x="243000" y="312213"/>
                </a:cubicBezTo>
                <a:close/>
                <a:moveTo>
                  <a:pt x="351968" y="278218"/>
                </a:moveTo>
                <a:cubicBezTo>
                  <a:pt x="560596" y="330673"/>
                  <a:pt x="524619" y="461680"/>
                  <a:pt x="521727" y="473822"/>
                </a:cubicBezTo>
                <a:cubicBezTo>
                  <a:pt x="474009" y="492251"/>
                  <a:pt x="378276" y="509100"/>
                  <a:pt x="263737" y="508779"/>
                </a:cubicBezTo>
                <a:cubicBezTo>
                  <a:pt x="149197" y="508458"/>
                  <a:pt x="90333" y="491783"/>
                  <a:pt x="4276" y="473822"/>
                </a:cubicBezTo>
                <a:cubicBezTo>
                  <a:pt x="1016" y="456352"/>
                  <a:pt x="-34593" y="330674"/>
                  <a:pt x="174035" y="278219"/>
                </a:cubicBezTo>
                <a:cubicBezTo>
                  <a:pt x="204907" y="422327"/>
                  <a:pt x="246257" y="459166"/>
                  <a:pt x="263002" y="490281"/>
                </a:cubicBezTo>
                <a:cubicBezTo>
                  <a:pt x="278693" y="458676"/>
                  <a:pt x="313991" y="432371"/>
                  <a:pt x="351968" y="278218"/>
                </a:cubicBezTo>
                <a:close/>
                <a:moveTo>
                  <a:pt x="297848" y="107722"/>
                </a:moveTo>
                <a:lnTo>
                  <a:pt x="349509" y="107722"/>
                </a:lnTo>
                <a:lnTo>
                  <a:pt x="349509" y="149062"/>
                </a:lnTo>
                <a:lnTo>
                  <a:pt x="297848" y="149062"/>
                </a:lnTo>
                <a:close/>
                <a:moveTo>
                  <a:pt x="174243" y="107722"/>
                </a:moveTo>
                <a:lnTo>
                  <a:pt x="225904" y="107722"/>
                </a:lnTo>
                <a:lnTo>
                  <a:pt x="225904" y="149062"/>
                </a:lnTo>
                <a:lnTo>
                  <a:pt x="174243" y="149062"/>
                </a:lnTo>
                <a:close/>
                <a:moveTo>
                  <a:pt x="176497" y="88908"/>
                </a:moveTo>
                <a:cubicBezTo>
                  <a:pt x="170953" y="88908"/>
                  <a:pt x="165934" y="91164"/>
                  <a:pt x="162301" y="94812"/>
                </a:cubicBezTo>
                <a:lnTo>
                  <a:pt x="157914" y="105444"/>
                </a:lnTo>
                <a:lnTo>
                  <a:pt x="157914" y="146923"/>
                </a:lnTo>
                <a:lnTo>
                  <a:pt x="162301" y="157555"/>
                </a:lnTo>
                <a:cubicBezTo>
                  <a:pt x="165934" y="161202"/>
                  <a:pt x="170953" y="163458"/>
                  <a:pt x="176497" y="163458"/>
                </a:cubicBezTo>
                <a:lnTo>
                  <a:pt x="223804" y="163458"/>
                </a:lnTo>
                <a:cubicBezTo>
                  <a:pt x="234892" y="163458"/>
                  <a:pt x="243882" y="154434"/>
                  <a:pt x="243882" y="143302"/>
                </a:cubicBezTo>
                <a:lnTo>
                  <a:pt x="243882" y="121190"/>
                </a:lnTo>
                <a:lnTo>
                  <a:pt x="247501" y="117275"/>
                </a:lnTo>
                <a:cubicBezTo>
                  <a:pt x="255769" y="110056"/>
                  <a:pt x="267274" y="109635"/>
                  <a:pt x="276620" y="117151"/>
                </a:cubicBezTo>
                <a:lnTo>
                  <a:pt x="280469" y="120852"/>
                </a:lnTo>
                <a:lnTo>
                  <a:pt x="280469" y="143302"/>
                </a:lnTo>
                <a:cubicBezTo>
                  <a:pt x="280469" y="154434"/>
                  <a:pt x="289458" y="163458"/>
                  <a:pt x="300547" y="163458"/>
                </a:cubicBezTo>
                <a:lnTo>
                  <a:pt x="347853" y="163458"/>
                </a:lnTo>
                <a:cubicBezTo>
                  <a:pt x="358942" y="163458"/>
                  <a:pt x="367931" y="154434"/>
                  <a:pt x="367931" y="143302"/>
                </a:cubicBezTo>
                <a:lnTo>
                  <a:pt x="367931" y="109065"/>
                </a:lnTo>
                <a:cubicBezTo>
                  <a:pt x="367931" y="97933"/>
                  <a:pt x="358942" y="88908"/>
                  <a:pt x="347853" y="88908"/>
                </a:cubicBezTo>
                <a:close/>
                <a:moveTo>
                  <a:pt x="263003" y="0"/>
                </a:moveTo>
                <a:cubicBezTo>
                  <a:pt x="336237" y="0"/>
                  <a:pt x="395606" y="59600"/>
                  <a:pt x="395606" y="133120"/>
                </a:cubicBezTo>
                <a:cubicBezTo>
                  <a:pt x="395606" y="206640"/>
                  <a:pt x="336237" y="266240"/>
                  <a:pt x="263003" y="266240"/>
                </a:cubicBezTo>
                <a:cubicBezTo>
                  <a:pt x="189768" y="266240"/>
                  <a:pt x="130399" y="206640"/>
                  <a:pt x="130399" y="133120"/>
                </a:cubicBezTo>
                <a:cubicBezTo>
                  <a:pt x="130399" y="59600"/>
                  <a:pt x="189768" y="0"/>
                  <a:pt x="263003" y="0"/>
                </a:cubicBezTo>
                <a:close/>
              </a:path>
            </a:pathLst>
          </a:cu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3" name="Group 2"/>
          <p:cNvGrpSpPr/>
          <p:nvPr/>
        </p:nvGrpSpPr>
        <p:grpSpPr>
          <a:xfrm>
            <a:off x="10295770" y="3636158"/>
            <a:ext cx="1493706" cy="517065"/>
            <a:chOff x="6147445" y="2912246"/>
            <a:chExt cx="1493706" cy="517065"/>
          </a:xfrm>
        </p:grpSpPr>
        <p:sp>
          <p:nvSpPr>
            <p:cNvPr id="27" name="TextBox 26"/>
            <p:cNvSpPr txBox="1"/>
            <p:nvPr/>
          </p:nvSpPr>
          <p:spPr>
            <a:xfrm>
              <a:off x="6147445" y="2912246"/>
              <a:ext cx="1493706" cy="517065"/>
            </a:xfrm>
            <a:prstGeom prst="rect">
              <a:avLst/>
            </a:prstGeom>
            <a:noFill/>
          </p:spPr>
          <p:txBody>
            <a:bodyPr wrap="square" lIns="91440" tIns="91440" rIns="91440" bIns="9144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Machine </a:t>
              </a:r>
              <a:br>
                <a:rPr kumimoji="0" lang="en-US" sz="1200" b="0" i="0" u="none" strike="noStrike" kern="1200" cap="none" spc="0" normalizeH="0" baseline="0" noProof="0" dirty="0">
                  <a:ln>
                    <a:noFill/>
                  </a:ln>
                  <a:solidFill>
                    <a:srgbClr val="FFFFFF"/>
                  </a:solidFill>
                  <a:effectLst/>
                  <a:uLnTx/>
                  <a:uFillTx/>
                  <a:latin typeface="Segoe UI"/>
                  <a:ea typeface="+mn-ea"/>
                  <a:cs typeface="+mn-cs"/>
                </a:rPr>
              </a:br>
              <a:r>
                <a:rPr kumimoji="0" lang="en-US" sz="1200" b="0" i="0" u="none" strike="noStrike" kern="1200" cap="none" spc="0" normalizeH="0" baseline="0" noProof="0" dirty="0">
                  <a:ln>
                    <a:noFill/>
                  </a:ln>
                  <a:solidFill>
                    <a:srgbClr val="FFFFFF"/>
                  </a:solidFill>
                  <a:effectLst/>
                  <a:uLnTx/>
                  <a:uFillTx/>
                  <a:latin typeface="Segoe UI"/>
                  <a:ea typeface="+mn-ea"/>
                  <a:cs typeface="+mn-cs"/>
                </a:rPr>
                <a:t>Learning</a:t>
              </a:r>
            </a:p>
          </p:txBody>
        </p:sp>
        <p:sp>
          <p:nvSpPr>
            <p:cNvPr id="31" name="Freeform 30"/>
            <p:cNvSpPr/>
            <p:nvPr/>
          </p:nvSpPr>
          <p:spPr bwMode="auto">
            <a:xfrm>
              <a:off x="6202189" y="2955921"/>
              <a:ext cx="339991" cy="357842"/>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42" name="TextBox 41"/>
          <p:cNvSpPr txBox="1"/>
          <p:nvPr/>
        </p:nvSpPr>
        <p:spPr>
          <a:xfrm>
            <a:off x="10148303" y="4102565"/>
            <a:ext cx="1532901" cy="350865"/>
          </a:xfrm>
          <a:prstGeom prst="rect">
            <a:avLst/>
          </a:prstGeom>
          <a:noFill/>
        </p:spPr>
        <p:txBody>
          <a:bodyPr wrap="square" lIns="91440" tIns="91440" rIns="91440" bIns="9144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Anomaly detection</a:t>
            </a:r>
          </a:p>
        </p:txBody>
      </p:sp>
      <p:cxnSp>
        <p:nvCxnSpPr>
          <p:cNvPr id="10" name="Straight Arrow Connector 9">
            <a:extLst>
              <a:ext uri="{FF2B5EF4-FFF2-40B4-BE49-F238E27FC236}">
                <a16:creationId xmlns:a16="http://schemas.microsoft.com/office/drawing/2014/main" id="{7E6D67DC-26F6-4DDD-B436-8CEC403125CF}"/>
              </a:ext>
            </a:extLst>
          </p:cNvPr>
          <p:cNvCxnSpPr>
            <a:cxnSpLocks/>
          </p:cNvCxnSpPr>
          <p:nvPr/>
        </p:nvCxnSpPr>
        <p:spPr>
          <a:xfrm flipV="1">
            <a:off x="8247738" y="3063345"/>
            <a:ext cx="0" cy="245865"/>
          </a:xfrm>
          <a:prstGeom prst="straightConnector1">
            <a:avLst/>
          </a:prstGeom>
          <a:ln w="19050">
            <a:solidFill>
              <a:srgbClr val="0078D7"/>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4D5E4EE2-F8DC-4D98-99EB-BD01B0F9BAB4}"/>
              </a:ext>
            </a:extLst>
          </p:cNvPr>
          <p:cNvCxnSpPr/>
          <p:nvPr/>
        </p:nvCxnSpPr>
        <p:spPr>
          <a:xfrm flipV="1">
            <a:off x="7593589" y="5473094"/>
            <a:ext cx="508505" cy="383420"/>
          </a:xfrm>
          <a:prstGeom prst="bentConnector3">
            <a:avLst>
              <a:gd name="adj1" fmla="val 99950"/>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B1A16D7B-38E1-4C25-B456-AEC9F9FA210F}"/>
              </a:ext>
            </a:extLst>
          </p:cNvPr>
          <p:cNvCxnSpPr>
            <a:cxnSpLocks/>
          </p:cNvCxnSpPr>
          <p:nvPr/>
        </p:nvCxnSpPr>
        <p:spPr>
          <a:xfrm flipH="1" flipV="1">
            <a:off x="8343579" y="5473094"/>
            <a:ext cx="508505" cy="383420"/>
          </a:xfrm>
          <a:prstGeom prst="bentConnector3">
            <a:avLst>
              <a:gd name="adj1" fmla="val 99950"/>
            </a:avLst>
          </a:prstGeom>
          <a:ln w="19050">
            <a:solidFill>
              <a:srgbClr val="0078D7"/>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7" name="Freeform 18"/>
          <p:cNvSpPr>
            <a:spLocks noEditPoints="1"/>
          </p:cNvSpPr>
          <p:nvPr/>
        </p:nvSpPr>
        <p:spPr bwMode="black">
          <a:xfrm rot="17995606">
            <a:off x="340876" y="6284571"/>
            <a:ext cx="450812" cy="353994"/>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chemeClr val="bg1"/>
          </a:solidFill>
          <a:ln>
            <a:noFill/>
          </a:ln>
          <a:extLst/>
        </p:spPr>
        <p:txBody>
          <a:bodyPr vert="horz" wrap="square" lIns="89069" tIns="44534" rIns="89069" bIns="44534" numCol="1" anchor="t" anchorCtr="0" compatLnSpc="1">
            <a:prstTxWarp prst="textNoShape">
              <a:avLst/>
            </a:prstTxWarp>
          </a:bodyPr>
          <a:lstStyle/>
          <a:p>
            <a:pPr marL="0" marR="0" lvl="0" indent="0" algn="l" defTabSz="890580" rtl="0" eaLnBrk="1" fontAlgn="auto" latinLnBrk="0" hangingPunct="1">
              <a:lnSpc>
                <a:spcPct val="100000"/>
              </a:lnSpc>
              <a:spcBef>
                <a:spcPts val="0"/>
              </a:spcBef>
              <a:spcAft>
                <a:spcPts val="0"/>
              </a:spcAft>
              <a:buClrTx/>
              <a:buSzTx/>
              <a:buFontTx/>
              <a:buNone/>
              <a:tabLst/>
              <a:defRPr/>
            </a:pPr>
            <a:endParaRPr kumimoji="0" lang="en-US" sz="1559"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endParaRPr>
          </a:p>
        </p:txBody>
      </p:sp>
      <p:sp>
        <p:nvSpPr>
          <p:cNvPr id="50" name="Rectangle 49"/>
          <p:cNvSpPr>
            <a:spLocks noChangeAspect="1"/>
          </p:cNvSpPr>
          <p:nvPr/>
        </p:nvSpPr>
        <p:spPr bwMode="auto">
          <a:xfrm>
            <a:off x="739925" y="6313833"/>
            <a:ext cx="2452307" cy="500958"/>
          </a:xfrm>
          <a:prstGeom prst="rect">
            <a:avLst/>
          </a:prstGeom>
          <a:noFill/>
          <a:ln w="10795" cap="flat" cmpd="sng" algn="ctr">
            <a:noFill/>
            <a:prstDash val="solid"/>
            <a:headEnd type="none" w="med" len="med"/>
            <a:tailEnd type="none" w="med" len="med"/>
          </a:ln>
          <a:effectLst/>
        </p:spPr>
        <p:txBody>
          <a:bodyPr vert="horz" wrap="square" lIns="137160" tIns="9144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Segoe UI Semibold" charset="0"/>
                <a:ea typeface="Segoe UI Semibold" charset="0"/>
                <a:cs typeface="Segoe UI Semibold" charset="0"/>
              </a:rPr>
              <a:t>Learns &amp; adapts</a:t>
            </a:r>
          </a:p>
        </p:txBody>
      </p:sp>
      <p:sp>
        <p:nvSpPr>
          <p:cNvPr id="54" name="Pentagon 53"/>
          <p:cNvSpPr/>
          <p:nvPr/>
        </p:nvSpPr>
        <p:spPr bwMode="auto">
          <a:xfrm>
            <a:off x="0" y="6245274"/>
            <a:ext cx="192024" cy="481395"/>
          </a:xfrm>
          <a:prstGeom prst="homePlate">
            <a:avLst>
              <a:gd name="adj" fmla="val 23545"/>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0" name="Freeform 19"/>
          <p:cNvSpPr/>
          <p:nvPr/>
        </p:nvSpPr>
        <p:spPr>
          <a:xfrm>
            <a:off x="9062357" y="3837214"/>
            <a:ext cx="1233413" cy="310243"/>
          </a:xfrm>
          <a:custGeom>
            <a:avLst/>
            <a:gdLst>
              <a:gd name="connsiteX0" fmla="*/ 0 w 1069522"/>
              <a:gd name="connsiteY0" fmla="*/ 310243 h 310243"/>
              <a:gd name="connsiteX1" fmla="*/ 0 w 1069522"/>
              <a:gd name="connsiteY1" fmla="*/ 0 h 310243"/>
              <a:gd name="connsiteX2" fmla="*/ 1069522 w 1069522"/>
              <a:gd name="connsiteY2" fmla="*/ 0 h 310243"/>
            </a:gdLst>
            <a:ahLst/>
            <a:cxnLst>
              <a:cxn ang="0">
                <a:pos x="connsiteX0" y="connsiteY0"/>
              </a:cxn>
              <a:cxn ang="0">
                <a:pos x="connsiteX1" y="connsiteY1"/>
              </a:cxn>
              <a:cxn ang="0">
                <a:pos x="connsiteX2" y="connsiteY2"/>
              </a:cxn>
            </a:cxnLst>
            <a:rect l="l" t="t" r="r" b="b"/>
            <a:pathLst>
              <a:path w="1069522" h="310243">
                <a:moveTo>
                  <a:pt x="0" y="310243"/>
                </a:moveTo>
                <a:lnTo>
                  <a:pt x="0" y="0"/>
                </a:lnTo>
                <a:lnTo>
                  <a:pt x="1069522" y="0"/>
                </a:lnTo>
              </a:path>
            </a:pathLst>
          </a:custGeom>
          <a:noFill/>
          <a:ln w="19050">
            <a:solidFill>
              <a:schemeClr val="accent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55"/>
          <p:cNvSpPr/>
          <p:nvPr/>
        </p:nvSpPr>
        <p:spPr>
          <a:xfrm flipH="1">
            <a:off x="6882491" y="3608832"/>
            <a:ext cx="649860" cy="603713"/>
          </a:xfrm>
          <a:custGeom>
            <a:avLst/>
            <a:gdLst>
              <a:gd name="connsiteX0" fmla="*/ 0 w 1069522"/>
              <a:gd name="connsiteY0" fmla="*/ 310243 h 310243"/>
              <a:gd name="connsiteX1" fmla="*/ 0 w 1069522"/>
              <a:gd name="connsiteY1" fmla="*/ 0 h 310243"/>
              <a:gd name="connsiteX2" fmla="*/ 1069522 w 1069522"/>
              <a:gd name="connsiteY2" fmla="*/ 0 h 310243"/>
            </a:gdLst>
            <a:ahLst/>
            <a:cxnLst>
              <a:cxn ang="0">
                <a:pos x="connsiteX0" y="connsiteY0"/>
              </a:cxn>
              <a:cxn ang="0">
                <a:pos x="connsiteX1" y="connsiteY1"/>
              </a:cxn>
              <a:cxn ang="0">
                <a:pos x="connsiteX2" y="connsiteY2"/>
              </a:cxn>
            </a:cxnLst>
            <a:rect l="l" t="t" r="r" b="b"/>
            <a:pathLst>
              <a:path w="1069522" h="310243">
                <a:moveTo>
                  <a:pt x="0" y="310243"/>
                </a:moveTo>
                <a:lnTo>
                  <a:pt x="0" y="0"/>
                </a:lnTo>
                <a:lnTo>
                  <a:pt x="1069522" y="0"/>
                </a:lnTo>
              </a:path>
            </a:pathLst>
          </a:custGeom>
          <a:noFill/>
          <a:ln w="19050">
            <a:solidFill>
              <a:schemeClr val="accent2"/>
            </a:solidFill>
            <a:prstDash val="sysDash"/>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56"/>
          <p:cNvSpPr/>
          <p:nvPr/>
        </p:nvSpPr>
        <p:spPr>
          <a:xfrm>
            <a:off x="7761050" y="3608832"/>
            <a:ext cx="2404200" cy="603713"/>
          </a:xfrm>
          <a:custGeom>
            <a:avLst/>
            <a:gdLst>
              <a:gd name="connsiteX0" fmla="*/ 0 w 1069522"/>
              <a:gd name="connsiteY0" fmla="*/ 310243 h 310243"/>
              <a:gd name="connsiteX1" fmla="*/ 0 w 1069522"/>
              <a:gd name="connsiteY1" fmla="*/ 0 h 310243"/>
              <a:gd name="connsiteX2" fmla="*/ 1069522 w 1069522"/>
              <a:gd name="connsiteY2" fmla="*/ 0 h 310243"/>
            </a:gdLst>
            <a:ahLst/>
            <a:cxnLst>
              <a:cxn ang="0">
                <a:pos x="connsiteX0" y="connsiteY0"/>
              </a:cxn>
              <a:cxn ang="0">
                <a:pos x="connsiteX1" y="connsiteY1"/>
              </a:cxn>
              <a:cxn ang="0">
                <a:pos x="connsiteX2" y="connsiteY2"/>
              </a:cxn>
            </a:cxnLst>
            <a:rect l="l" t="t" r="r" b="b"/>
            <a:pathLst>
              <a:path w="1069522" h="310243">
                <a:moveTo>
                  <a:pt x="0" y="310243"/>
                </a:moveTo>
                <a:lnTo>
                  <a:pt x="0" y="0"/>
                </a:lnTo>
                <a:lnTo>
                  <a:pt x="1069522" y="0"/>
                </a:lnTo>
              </a:path>
            </a:pathLst>
          </a:custGeom>
          <a:noFill/>
          <a:ln w="19050">
            <a:solidFill>
              <a:schemeClr val="accent2"/>
            </a:solidFill>
            <a:prstDash val="sysDash"/>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57"/>
          <p:cNvSpPr/>
          <p:nvPr/>
        </p:nvSpPr>
        <p:spPr>
          <a:xfrm rot="10800000">
            <a:off x="9470569" y="4440926"/>
            <a:ext cx="1354909" cy="253351"/>
          </a:xfrm>
          <a:custGeom>
            <a:avLst/>
            <a:gdLst>
              <a:gd name="connsiteX0" fmla="*/ 0 w 1069522"/>
              <a:gd name="connsiteY0" fmla="*/ 310243 h 310243"/>
              <a:gd name="connsiteX1" fmla="*/ 0 w 1069522"/>
              <a:gd name="connsiteY1" fmla="*/ 0 h 310243"/>
              <a:gd name="connsiteX2" fmla="*/ 1069522 w 1069522"/>
              <a:gd name="connsiteY2" fmla="*/ 0 h 310243"/>
            </a:gdLst>
            <a:ahLst/>
            <a:cxnLst>
              <a:cxn ang="0">
                <a:pos x="connsiteX0" y="connsiteY0"/>
              </a:cxn>
              <a:cxn ang="0">
                <a:pos x="connsiteX1" y="connsiteY1"/>
              </a:cxn>
              <a:cxn ang="0">
                <a:pos x="connsiteX2" y="connsiteY2"/>
              </a:cxn>
            </a:cxnLst>
            <a:rect l="l" t="t" r="r" b="b"/>
            <a:pathLst>
              <a:path w="1069522" h="310243">
                <a:moveTo>
                  <a:pt x="0" y="310243"/>
                </a:moveTo>
                <a:lnTo>
                  <a:pt x="0" y="0"/>
                </a:lnTo>
                <a:lnTo>
                  <a:pt x="1069522" y="0"/>
                </a:lnTo>
              </a:path>
            </a:pathLst>
          </a:custGeom>
          <a:noFill/>
          <a:ln w="19050">
            <a:solidFill>
              <a:schemeClr val="accent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7966691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186598"/>
            <a:ext cx="11642721" cy="1316945"/>
          </a:xfrm>
        </p:spPr>
        <p:txBody>
          <a:bodyPr>
            <a:normAutofit/>
          </a:bodyPr>
          <a:lstStyle/>
          <a:p>
            <a:r>
              <a:rPr lang="en-US" sz="3200" cap="all" spc="500" dirty="0">
                <a:ln w="3175">
                  <a:noFill/>
                </a:ln>
                <a:solidFill>
                  <a:srgbClr val="0078D7"/>
                </a:solidFill>
                <a:latin typeface="Segoe UI Semilight" charset="0"/>
                <a:ea typeface="+mn-ea"/>
                <a:cs typeface="Segoe UI Semilight" charset="0"/>
              </a:rPr>
              <a:t>Self-tuning performance</a:t>
            </a:r>
            <a:br>
              <a:rPr lang="en-US" sz="3200" cap="all" spc="500" dirty="0">
                <a:ln w="3175">
                  <a:noFill/>
                </a:ln>
                <a:solidFill>
                  <a:srgbClr val="0078D7"/>
                </a:solidFill>
                <a:latin typeface="Segoe UI Semilight" charset="0"/>
                <a:ea typeface="+mn-ea"/>
                <a:cs typeface="Segoe UI Semilight" charset="0"/>
              </a:rPr>
            </a:br>
            <a:r>
              <a:rPr lang="en-US" sz="2400" cap="all" dirty="0">
                <a:solidFill>
                  <a:srgbClr val="0078D7"/>
                </a:solidFill>
              </a:rPr>
              <a:t>Database Advisor and adaptive query processing</a:t>
            </a:r>
          </a:p>
        </p:txBody>
      </p:sp>
      <p:sp>
        <p:nvSpPr>
          <p:cNvPr id="4" name="Content Placeholder 2"/>
          <p:cNvSpPr>
            <a:spLocks noGrp="1"/>
          </p:cNvSpPr>
          <p:nvPr>
            <p:ph type="body" sz="quarter" idx="10"/>
          </p:nvPr>
        </p:nvSpPr>
        <p:spPr/>
        <p:txBody>
          <a:bodyPr/>
          <a:lstStyle/>
          <a:p>
            <a:r>
              <a:rPr lang="en-US" sz="1800" dirty="0"/>
              <a:t>Manages indexes, tailored to the specific workload</a:t>
            </a:r>
          </a:p>
          <a:p>
            <a:r>
              <a:rPr lang="en-US" sz="1800" dirty="0"/>
              <a:t>Tests and validates actions, reverts if impact negative</a:t>
            </a:r>
          </a:p>
          <a:p>
            <a:r>
              <a:rPr lang="en-US" sz="1800" dirty="0"/>
              <a:t>Runs in full auto-mode, or in recommend/review mode</a:t>
            </a:r>
          </a:p>
          <a:p>
            <a:r>
              <a:rPr lang="en-US" sz="1800" dirty="0"/>
              <a:t>Continuously monitors query patterns and performance</a:t>
            </a:r>
          </a:p>
        </p:txBody>
      </p:sp>
      <p:sp>
        <p:nvSpPr>
          <p:cNvPr id="5" name="Freeform 4"/>
          <p:cNvSpPr>
            <a:spLocks noChangeAspect="1"/>
          </p:cNvSpPr>
          <p:nvPr/>
        </p:nvSpPr>
        <p:spPr bwMode="auto">
          <a:xfrm flipH="1">
            <a:off x="8671418" y="2358525"/>
            <a:ext cx="2523569" cy="161771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9" name="Freeform 128"/>
          <p:cNvSpPr>
            <a:spLocks noChangeAspect="1"/>
          </p:cNvSpPr>
          <p:nvPr/>
        </p:nvSpPr>
        <p:spPr bwMode="auto">
          <a:xfrm flipH="1">
            <a:off x="6091650" y="2433333"/>
            <a:ext cx="3586066" cy="198099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33333"/>
              </a:solidFill>
              <a:effectLst/>
              <a:uLnTx/>
              <a:uFillTx/>
              <a:latin typeface="Segoe UI"/>
              <a:ea typeface="+mn-ea"/>
              <a:cs typeface="+mn-cs"/>
            </a:endParaRPr>
          </a:p>
        </p:txBody>
      </p:sp>
      <p:sp>
        <p:nvSpPr>
          <p:cNvPr id="15" name="TextBox 14"/>
          <p:cNvSpPr txBox="1"/>
          <p:nvPr/>
        </p:nvSpPr>
        <p:spPr>
          <a:xfrm>
            <a:off x="9647233" y="2761552"/>
            <a:ext cx="1054186" cy="523220"/>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Tuning algorithms</a:t>
            </a:r>
          </a:p>
        </p:txBody>
      </p:sp>
      <p:sp>
        <p:nvSpPr>
          <p:cNvPr id="8" name="TextBox 7"/>
          <p:cNvSpPr txBox="1">
            <a:spLocks noChangeAspect="1"/>
          </p:cNvSpPr>
          <p:nvPr/>
        </p:nvSpPr>
        <p:spPr>
          <a:xfrm>
            <a:off x="6402196" y="3936506"/>
            <a:ext cx="1295995" cy="276999"/>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SQL Database</a:t>
            </a:r>
          </a:p>
        </p:txBody>
      </p:sp>
      <p:grpSp>
        <p:nvGrpSpPr>
          <p:cNvPr id="23" name="Group 22"/>
          <p:cNvGrpSpPr/>
          <p:nvPr/>
        </p:nvGrpSpPr>
        <p:grpSpPr>
          <a:xfrm>
            <a:off x="7864755" y="3284772"/>
            <a:ext cx="1335852" cy="931932"/>
            <a:chOff x="2572116" y="2647406"/>
            <a:chExt cx="1335852" cy="931932"/>
          </a:xfrm>
        </p:grpSpPr>
        <p:sp>
          <p:nvSpPr>
            <p:cNvPr id="21" name="Freeform 20"/>
            <p:cNvSpPr>
              <a:spLocks noChangeAspect="1"/>
            </p:cNvSpPr>
            <p:nvPr/>
          </p:nvSpPr>
          <p:spPr bwMode="auto">
            <a:xfrm>
              <a:off x="2778913" y="2647406"/>
              <a:ext cx="922257" cy="58402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2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2" name="TextBox 21"/>
            <p:cNvSpPr txBox="1">
              <a:spLocks noChangeAspect="1"/>
            </p:cNvSpPr>
            <p:nvPr/>
          </p:nvSpPr>
          <p:spPr>
            <a:xfrm>
              <a:off x="2572116" y="3302339"/>
              <a:ext cx="1335852" cy="276999"/>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Database advisor</a:t>
              </a:r>
            </a:p>
          </p:txBody>
        </p:sp>
      </p:grpSp>
      <p:cxnSp>
        <p:nvCxnSpPr>
          <p:cNvPr id="31" name="Straight Connector 30"/>
          <p:cNvCxnSpPr/>
          <p:nvPr/>
        </p:nvCxnSpPr>
        <p:spPr>
          <a:xfrm>
            <a:off x="7280179" y="3675007"/>
            <a:ext cx="836023" cy="0"/>
          </a:xfrm>
          <a:prstGeom prst="line">
            <a:avLst/>
          </a:prstGeom>
          <a:ln w="19050">
            <a:solidFill>
              <a:schemeClr val="bg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25" name="Freeform 24"/>
          <p:cNvSpPr/>
          <p:nvPr/>
        </p:nvSpPr>
        <p:spPr bwMode="auto">
          <a:xfrm>
            <a:off x="6775486" y="3174157"/>
            <a:ext cx="538566" cy="690740"/>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8" name="TextBox 17"/>
          <p:cNvSpPr txBox="1"/>
          <p:nvPr/>
        </p:nvSpPr>
        <p:spPr>
          <a:xfrm>
            <a:off x="6007052" y="5956758"/>
            <a:ext cx="1536867" cy="677290"/>
          </a:xfrm>
          <a:prstGeom prst="rect">
            <a:avLst/>
          </a:prstGeom>
          <a:noFill/>
        </p:spPr>
        <p:txBody>
          <a:bodyPr wrap="none" lIns="179183" tIns="143346" rIns="179183" bIns="143346" rtlCol="0">
            <a:spAutoFit/>
          </a:bodyPr>
          <a:lstStyle/>
          <a:p>
            <a:pPr marL="0" marR="0" lvl="0" indent="0" algn="ctr" defTabSz="913154" rtl="0" eaLnBrk="1" fontAlgn="base" latinLnBrk="0" hangingPunct="1">
              <a:lnSpc>
                <a:spcPct val="90000"/>
              </a:lnSpc>
              <a:spcBef>
                <a:spcPct val="0"/>
              </a:spcBef>
              <a:spcAft>
                <a:spcPts val="588"/>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a:ea typeface="+mn-ea"/>
                <a:cs typeface="+mn-cs"/>
              </a:rPr>
              <a:t>Developer</a:t>
            </a:r>
            <a:br>
              <a:rPr kumimoji="0" lang="en-US" sz="1400" b="0" i="0" u="none" strike="noStrike" kern="0" cap="none" spc="0" normalizeH="0" baseline="0" noProof="0" dirty="0">
                <a:ln>
                  <a:noFill/>
                </a:ln>
                <a:solidFill>
                  <a:srgbClr val="0078D7"/>
                </a:solidFill>
                <a:effectLst/>
                <a:uLnTx/>
                <a:uFillTx/>
                <a:latin typeface="Segoe UI"/>
                <a:ea typeface="+mn-ea"/>
                <a:cs typeface="+mn-cs"/>
              </a:rPr>
            </a:br>
            <a:r>
              <a:rPr kumimoji="0" lang="en-US" sz="1400" b="0" i="0" u="none" strike="noStrike" kern="0" cap="none" spc="0" normalizeH="0" baseline="0" noProof="0" dirty="0">
                <a:ln>
                  <a:noFill/>
                </a:ln>
                <a:solidFill>
                  <a:srgbClr val="0078D7"/>
                </a:solidFill>
                <a:effectLst/>
                <a:uLnTx/>
                <a:uFillTx/>
                <a:latin typeface="Segoe UI"/>
                <a:ea typeface="+mn-ea"/>
                <a:cs typeface="+mn-cs"/>
              </a:rPr>
              <a:t>no admin skills</a:t>
            </a:r>
            <a:endParaRPr kumimoji="0" lang="en-US" sz="1000" b="0" i="0" u="none" strike="noStrike" kern="0" cap="none" spc="0" normalizeH="0" baseline="0" noProof="0" dirty="0">
              <a:ln>
                <a:noFill/>
              </a:ln>
              <a:solidFill>
                <a:srgbClr val="0078D7"/>
              </a:solidFill>
              <a:effectLst/>
              <a:uLnTx/>
              <a:uFillTx/>
              <a:latin typeface="Segoe UI"/>
              <a:ea typeface="+mn-ea"/>
              <a:cs typeface="+mn-cs"/>
            </a:endParaRPr>
          </a:p>
        </p:txBody>
      </p:sp>
      <p:sp>
        <p:nvSpPr>
          <p:cNvPr id="24" name="Freeform 23"/>
          <p:cNvSpPr/>
          <p:nvPr/>
        </p:nvSpPr>
        <p:spPr>
          <a:xfrm flipH="1">
            <a:off x="6402721" y="5051390"/>
            <a:ext cx="916514" cy="936779"/>
          </a:xfrm>
          <a:custGeom>
            <a:avLst/>
            <a:gdLst>
              <a:gd name="connsiteX0" fmla="*/ 144221 w 472986"/>
              <a:gd name="connsiteY0" fmla="*/ 268455 h 483444"/>
              <a:gd name="connsiteX1" fmla="*/ 161694 w 472986"/>
              <a:gd name="connsiteY1" fmla="*/ 269401 h 483444"/>
              <a:gd name="connsiteX2" fmla="*/ 174754 w 472986"/>
              <a:gd name="connsiteY2" fmla="*/ 283795 h 483444"/>
              <a:gd name="connsiteX3" fmla="*/ 198023 w 472986"/>
              <a:gd name="connsiteY3" fmla="*/ 339751 h 483444"/>
              <a:gd name="connsiteX4" fmla="*/ 199021 w 472986"/>
              <a:gd name="connsiteY4" fmla="*/ 359161 h 483444"/>
              <a:gd name="connsiteX5" fmla="*/ 191717 w 472986"/>
              <a:gd name="connsiteY5" fmla="*/ 367346 h 483444"/>
              <a:gd name="connsiteX6" fmla="*/ 159325 w 472986"/>
              <a:gd name="connsiteY6" fmla="*/ 289450 h 483444"/>
              <a:gd name="connsiteX7" fmla="*/ 150069 w 472986"/>
              <a:gd name="connsiteY7" fmla="*/ 284801 h 483444"/>
              <a:gd name="connsiteX8" fmla="*/ 20397 w 472986"/>
              <a:gd name="connsiteY8" fmla="*/ 338725 h 483444"/>
              <a:gd name="connsiteX9" fmla="*/ 17167 w 472986"/>
              <a:gd name="connsiteY9" fmla="*/ 348566 h 483444"/>
              <a:gd name="connsiteX10" fmla="*/ 49560 w 472986"/>
              <a:gd name="connsiteY10" fmla="*/ 426462 h 483444"/>
              <a:gd name="connsiteX11" fmla="*/ 38607 w 472986"/>
              <a:gd name="connsiteY11" fmla="*/ 425869 h 483444"/>
              <a:gd name="connsiteX12" fmla="*/ 25547 w 472986"/>
              <a:gd name="connsiteY12" fmla="*/ 411475 h 483444"/>
              <a:gd name="connsiteX13" fmla="*/ 2278 w 472986"/>
              <a:gd name="connsiteY13" fmla="*/ 355519 h 483444"/>
              <a:gd name="connsiteX14" fmla="*/ 12931 w 472986"/>
              <a:gd name="connsiteY14" fmla="*/ 323052 h 483444"/>
              <a:gd name="connsiteX15" fmla="*/ 351362 w 472986"/>
              <a:gd name="connsiteY15" fmla="*/ 210067 h 483444"/>
              <a:gd name="connsiteX16" fmla="*/ 386407 w 472986"/>
              <a:gd name="connsiteY16" fmla="*/ 214412 h 483444"/>
              <a:gd name="connsiteX17" fmla="*/ 472986 w 472986"/>
              <a:gd name="connsiteY17" fmla="*/ 464850 h 483444"/>
              <a:gd name="connsiteX18" fmla="*/ 319585 w 472986"/>
              <a:gd name="connsiteY18" fmla="*/ 471823 h 483444"/>
              <a:gd name="connsiteX19" fmla="*/ 368395 w 472986"/>
              <a:gd name="connsiteY19" fmla="*/ 355610 h 483444"/>
              <a:gd name="connsiteX20" fmla="*/ 342828 w 472986"/>
              <a:gd name="connsiteY20" fmla="*/ 348637 h 483444"/>
              <a:gd name="connsiteX21" fmla="*/ 284721 w 472986"/>
              <a:gd name="connsiteY21" fmla="*/ 478796 h 483444"/>
              <a:gd name="connsiteX22" fmla="*/ 84835 w 472986"/>
              <a:gd name="connsiteY22" fmla="*/ 483444 h 483444"/>
              <a:gd name="connsiteX23" fmla="*/ 89484 w 472986"/>
              <a:gd name="connsiteY23" fmla="*/ 406744 h 483444"/>
              <a:gd name="connsiteX24" fmla="*/ 212670 w 472986"/>
              <a:gd name="connsiteY24" fmla="*/ 395122 h 483444"/>
              <a:gd name="connsiteX25" fmla="*/ 254506 w 472986"/>
              <a:gd name="connsiteY25" fmla="*/ 264964 h 483444"/>
              <a:gd name="connsiteX26" fmla="*/ 351362 w 472986"/>
              <a:gd name="connsiteY26" fmla="*/ 210067 h 483444"/>
              <a:gd name="connsiteX27" fmla="*/ 287045 w 472986"/>
              <a:gd name="connsiteY27" fmla="*/ 0 h 483444"/>
              <a:gd name="connsiteX28" fmla="*/ 386988 w 472986"/>
              <a:gd name="connsiteY28" fmla="*/ 99943 h 483444"/>
              <a:gd name="connsiteX29" fmla="*/ 287045 w 472986"/>
              <a:gd name="connsiteY29" fmla="*/ 199886 h 483444"/>
              <a:gd name="connsiteX30" fmla="*/ 187102 w 472986"/>
              <a:gd name="connsiteY30" fmla="*/ 99943 h 483444"/>
              <a:gd name="connsiteX31" fmla="*/ 287045 w 472986"/>
              <a:gd name="connsiteY31" fmla="*/ 0 h 48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72986" h="483444">
                <a:moveTo>
                  <a:pt x="144221" y="268455"/>
                </a:moveTo>
                <a:cubicBezTo>
                  <a:pt x="149908" y="266090"/>
                  <a:pt x="156169" y="266625"/>
                  <a:pt x="161694" y="269401"/>
                </a:cubicBezTo>
                <a:cubicBezTo>
                  <a:pt x="167219" y="272177"/>
                  <a:pt x="172009" y="277194"/>
                  <a:pt x="174754" y="283795"/>
                </a:cubicBezTo>
                <a:lnTo>
                  <a:pt x="198023" y="339751"/>
                </a:lnTo>
                <a:cubicBezTo>
                  <a:pt x="200768" y="346351"/>
                  <a:pt x="200949" y="353286"/>
                  <a:pt x="199021" y="359161"/>
                </a:cubicBezTo>
                <a:lnTo>
                  <a:pt x="191717" y="367346"/>
                </a:lnTo>
                <a:lnTo>
                  <a:pt x="159325" y="289450"/>
                </a:lnTo>
                <a:cubicBezTo>
                  <a:pt x="157661" y="285449"/>
                  <a:pt x="153516" y="283367"/>
                  <a:pt x="150069" y="284801"/>
                </a:cubicBezTo>
                <a:lnTo>
                  <a:pt x="20397" y="338725"/>
                </a:lnTo>
                <a:cubicBezTo>
                  <a:pt x="16949" y="340158"/>
                  <a:pt x="15503" y="344565"/>
                  <a:pt x="17167" y="348566"/>
                </a:cubicBezTo>
                <a:lnTo>
                  <a:pt x="49560" y="426462"/>
                </a:lnTo>
                <a:lnTo>
                  <a:pt x="38607" y="425869"/>
                </a:lnTo>
                <a:cubicBezTo>
                  <a:pt x="33082" y="423092"/>
                  <a:pt x="28292" y="418076"/>
                  <a:pt x="25547" y="411475"/>
                </a:cubicBezTo>
                <a:lnTo>
                  <a:pt x="2278" y="355519"/>
                </a:lnTo>
                <a:cubicBezTo>
                  <a:pt x="-3212" y="342318"/>
                  <a:pt x="1558" y="327782"/>
                  <a:pt x="12931" y="323052"/>
                </a:cubicBezTo>
                <a:close/>
                <a:moveTo>
                  <a:pt x="351362" y="210067"/>
                </a:moveTo>
                <a:cubicBezTo>
                  <a:pt x="363286" y="210133"/>
                  <a:pt x="375125" y="211749"/>
                  <a:pt x="386407" y="214412"/>
                </a:cubicBezTo>
                <a:cubicBezTo>
                  <a:pt x="443739" y="245982"/>
                  <a:pt x="465239" y="262736"/>
                  <a:pt x="472986" y="464850"/>
                </a:cubicBezTo>
                <a:cubicBezTo>
                  <a:pt x="416623" y="468918"/>
                  <a:pt x="370719" y="469499"/>
                  <a:pt x="319585" y="471823"/>
                </a:cubicBezTo>
                <a:cubicBezTo>
                  <a:pt x="327139" y="445287"/>
                  <a:pt x="350382" y="394348"/>
                  <a:pt x="368395" y="355610"/>
                </a:cubicBezTo>
                <a:lnTo>
                  <a:pt x="342828" y="348637"/>
                </a:lnTo>
                <a:lnTo>
                  <a:pt x="284721" y="478796"/>
                </a:lnTo>
                <a:lnTo>
                  <a:pt x="84835" y="483444"/>
                </a:lnTo>
                <a:cubicBezTo>
                  <a:pt x="68372" y="474728"/>
                  <a:pt x="49004" y="431149"/>
                  <a:pt x="89484" y="406744"/>
                </a:cubicBezTo>
                <a:lnTo>
                  <a:pt x="212670" y="395122"/>
                </a:lnTo>
                <a:lnTo>
                  <a:pt x="254506" y="264964"/>
                </a:lnTo>
                <a:cubicBezTo>
                  <a:pt x="279056" y="223636"/>
                  <a:pt x="315590" y="209872"/>
                  <a:pt x="351362" y="210067"/>
                </a:cubicBezTo>
                <a:close/>
                <a:moveTo>
                  <a:pt x="287045" y="0"/>
                </a:moveTo>
                <a:cubicBezTo>
                  <a:pt x="342242" y="0"/>
                  <a:pt x="386988" y="44746"/>
                  <a:pt x="386988" y="99943"/>
                </a:cubicBezTo>
                <a:cubicBezTo>
                  <a:pt x="386988" y="155140"/>
                  <a:pt x="342242" y="199886"/>
                  <a:pt x="287045" y="199886"/>
                </a:cubicBezTo>
                <a:cubicBezTo>
                  <a:pt x="231848" y="199886"/>
                  <a:pt x="187102" y="155140"/>
                  <a:pt x="187102" y="99943"/>
                </a:cubicBezTo>
                <a:cubicBezTo>
                  <a:pt x="187102" y="44746"/>
                  <a:pt x="231848" y="0"/>
                  <a:pt x="287045" y="0"/>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IN" sz="1836" b="0" i="0" u="none" strike="noStrike" kern="0" cap="none" spc="0" normalizeH="0" baseline="0" noProof="0">
              <a:ln>
                <a:noFill/>
              </a:ln>
              <a:solidFill>
                <a:prstClr val="white"/>
              </a:solidFill>
              <a:effectLst/>
              <a:uLnTx/>
              <a:uFillTx/>
              <a:latin typeface="Segoe UI"/>
              <a:ea typeface="+mn-ea"/>
              <a:cs typeface="+mn-cs"/>
            </a:endParaRPr>
          </a:p>
        </p:txBody>
      </p:sp>
      <p:sp>
        <p:nvSpPr>
          <p:cNvPr id="26" name="TextBox 25"/>
          <p:cNvSpPr txBox="1"/>
          <p:nvPr/>
        </p:nvSpPr>
        <p:spPr>
          <a:xfrm>
            <a:off x="9451421" y="5956758"/>
            <a:ext cx="1639460" cy="677290"/>
          </a:xfrm>
          <a:prstGeom prst="rect">
            <a:avLst/>
          </a:prstGeom>
          <a:noFill/>
        </p:spPr>
        <p:txBody>
          <a:bodyPr wrap="none" lIns="179183" tIns="143346" rIns="179183" bIns="143346" rtlCol="0">
            <a:spAutoFit/>
          </a:bodyPr>
          <a:lstStyle/>
          <a:p>
            <a:pPr marL="0" marR="0" lvl="0" indent="0" algn="ctr" defTabSz="913154" rtl="0" eaLnBrk="1" fontAlgn="base" latinLnBrk="0" hangingPunct="1">
              <a:lnSpc>
                <a:spcPct val="90000"/>
              </a:lnSpc>
              <a:spcBef>
                <a:spcPct val="0"/>
              </a:spcBef>
              <a:spcAft>
                <a:spcPts val="588"/>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a:ea typeface="+mn-ea"/>
                <a:cs typeface="+mn-cs"/>
              </a:rPr>
              <a:t>DBA of</a:t>
            </a:r>
            <a:br>
              <a:rPr kumimoji="0" lang="en-US" sz="1400" b="0" i="0" u="none" strike="noStrike" kern="0" cap="none" spc="0" normalizeH="0" baseline="0" noProof="0" dirty="0">
                <a:ln>
                  <a:noFill/>
                </a:ln>
                <a:solidFill>
                  <a:srgbClr val="0078D7"/>
                </a:solidFill>
                <a:effectLst/>
                <a:uLnTx/>
                <a:uFillTx/>
                <a:latin typeface="Segoe UI"/>
                <a:ea typeface="+mn-ea"/>
                <a:cs typeface="+mn-cs"/>
              </a:rPr>
            </a:br>
            <a:r>
              <a:rPr kumimoji="0" lang="en-US" sz="1400" b="0" i="0" u="none" strike="noStrike" kern="0" cap="none" spc="0" normalizeH="0" baseline="0" noProof="0" dirty="0">
                <a:ln>
                  <a:noFill/>
                </a:ln>
                <a:solidFill>
                  <a:srgbClr val="0078D7"/>
                </a:solidFill>
                <a:effectLst/>
                <a:uLnTx/>
                <a:uFillTx/>
                <a:latin typeface="Segoe UI"/>
                <a:ea typeface="+mn-ea"/>
                <a:cs typeface="+mn-cs"/>
              </a:rPr>
              <a:t>many databases</a:t>
            </a:r>
          </a:p>
        </p:txBody>
      </p:sp>
      <p:sp>
        <p:nvSpPr>
          <p:cNvPr id="27" name="Freeform 26"/>
          <p:cNvSpPr/>
          <p:nvPr/>
        </p:nvSpPr>
        <p:spPr>
          <a:xfrm>
            <a:off x="9738019" y="5051390"/>
            <a:ext cx="916514" cy="936779"/>
          </a:xfrm>
          <a:custGeom>
            <a:avLst/>
            <a:gdLst>
              <a:gd name="connsiteX0" fmla="*/ 144221 w 472986"/>
              <a:gd name="connsiteY0" fmla="*/ 268455 h 483444"/>
              <a:gd name="connsiteX1" fmla="*/ 161694 w 472986"/>
              <a:gd name="connsiteY1" fmla="*/ 269401 h 483444"/>
              <a:gd name="connsiteX2" fmla="*/ 174754 w 472986"/>
              <a:gd name="connsiteY2" fmla="*/ 283795 h 483444"/>
              <a:gd name="connsiteX3" fmla="*/ 198023 w 472986"/>
              <a:gd name="connsiteY3" fmla="*/ 339751 h 483444"/>
              <a:gd name="connsiteX4" fmla="*/ 199021 w 472986"/>
              <a:gd name="connsiteY4" fmla="*/ 359161 h 483444"/>
              <a:gd name="connsiteX5" fmla="*/ 191717 w 472986"/>
              <a:gd name="connsiteY5" fmla="*/ 367346 h 483444"/>
              <a:gd name="connsiteX6" fmla="*/ 159325 w 472986"/>
              <a:gd name="connsiteY6" fmla="*/ 289450 h 483444"/>
              <a:gd name="connsiteX7" fmla="*/ 150069 w 472986"/>
              <a:gd name="connsiteY7" fmla="*/ 284801 h 483444"/>
              <a:gd name="connsiteX8" fmla="*/ 20397 w 472986"/>
              <a:gd name="connsiteY8" fmla="*/ 338725 h 483444"/>
              <a:gd name="connsiteX9" fmla="*/ 17167 w 472986"/>
              <a:gd name="connsiteY9" fmla="*/ 348566 h 483444"/>
              <a:gd name="connsiteX10" fmla="*/ 49560 w 472986"/>
              <a:gd name="connsiteY10" fmla="*/ 426462 h 483444"/>
              <a:gd name="connsiteX11" fmla="*/ 38607 w 472986"/>
              <a:gd name="connsiteY11" fmla="*/ 425869 h 483444"/>
              <a:gd name="connsiteX12" fmla="*/ 25547 w 472986"/>
              <a:gd name="connsiteY12" fmla="*/ 411475 h 483444"/>
              <a:gd name="connsiteX13" fmla="*/ 2278 w 472986"/>
              <a:gd name="connsiteY13" fmla="*/ 355519 h 483444"/>
              <a:gd name="connsiteX14" fmla="*/ 12931 w 472986"/>
              <a:gd name="connsiteY14" fmla="*/ 323052 h 483444"/>
              <a:gd name="connsiteX15" fmla="*/ 351362 w 472986"/>
              <a:gd name="connsiteY15" fmla="*/ 210067 h 483444"/>
              <a:gd name="connsiteX16" fmla="*/ 386407 w 472986"/>
              <a:gd name="connsiteY16" fmla="*/ 214412 h 483444"/>
              <a:gd name="connsiteX17" fmla="*/ 472986 w 472986"/>
              <a:gd name="connsiteY17" fmla="*/ 464850 h 483444"/>
              <a:gd name="connsiteX18" fmla="*/ 319585 w 472986"/>
              <a:gd name="connsiteY18" fmla="*/ 471823 h 483444"/>
              <a:gd name="connsiteX19" fmla="*/ 368395 w 472986"/>
              <a:gd name="connsiteY19" fmla="*/ 355610 h 483444"/>
              <a:gd name="connsiteX20" fmla="*/ 342828 w 472986"/>
              <a:gd name="connsiteY20" fmla="*/ 348637 h 483444"/>
              <a:gd name="connsiteX21" fmla="*/ 284721 w 472986"/>
              <a:gd name="connsiteY21" fmla="*/ 478796 h 483444"/>
              <a:gd name="connsiteX22" fmla="*/ 84835 w 472986"/>
              <a:gd name="connsiteY22" fmla="*/ 483444 h 483444"/>
              <a:gd name="connsiteX23" fmla="*/ 89484 w 472986"/>
              <a:gd name="connsiteY23" fmla="*/ 406744 h 483444"/>
              <a:gd name="connsiteX24" fmla="*/ 212670 w 472986"/>
              <a:gd name="connsiteY24" fmla="*/ 395122 h 483444"/>
              <a:gd name="connsiteX25" fmla="*/ 254506 w 472986"/>
              <a:gd name="connsiteY25" fmla="*/ 264964 h 483444"/>
              <a:gd name="connsiteX26" fmla="*/ 351362 w 472986"/>
              <a:gd name="connsiteY26" fmla="*/ 210067 h 483444"/>
              <a:gd name="connsiteX27" fmla="*/ 287045 w 472986"/>
              <a:gd name="connsiteY27" fmla="*/ 0 h 483444"/>
              <a:gd name="connsiteX28" fmla="*/ 386988 w 472986"/>
              <a:gd name="connsiteY28" fmla="*/ 99943 h 483444"/>
              <a:gd name="connsiteX29" fmla="*/ 287045 w 472986"/>
              <a:gd name="connsiteY29" fmla="*/ 199886 h 483444"/>
              <a:gd name="connsiteX30" fmla="*/ 187102 w 472986"/>
              <a:gd name="connsiteY30" fmla="*/ 99943 h 483444"/>
              <a:gd name="connsiteX31" fmla="*/ 287045 w 472986"/>
              <a:gd name="connsiteY31" fmla="*/ 0 h 48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72986" h="483444">
                <a:moveTo>
                  <a:pt x="144221" y="268455"/>
                </a:moveTo>
                <a:cubicBezTo>
                  <a:pt x="149908" y="266090"/>
                  <a:pt x="156169" y="266625"/>
                  <a:pt x="161694" y="269401"/>
                </a:cubicBezTo>
                <a:cubicBezTo>
                  <a:pt x="167219" y="272177"/>
                  <a:pt x="172009" y="277194"/>
                  <a:pt x="174754" y="283795"/>
                </a:cubicBezTo>
                <a:lnTo>
                  <a:pt x="198023" y="339751"/>
                </a:lnTo>
                <a:cubicBezTo>
                  <a:pt x="200768" y="346351"/>
                  <a:pt x="200949" y="353286"/>
                  <a:pt x="199021" y="359161"/>
                </a:cubicBezTo>
                <a:lnTo>
                  <a:pt x="191717" y="367346"/>
                </a:lnTo>
                <a:lnTo>
                  <a:pt x="159325" y="289450"/>
                </a:lnTo>
                <a:cubicBezTo>
                  <a:pt x="157661" y="285449"/>
                  <a:pt x="153516" y="283367"/>
                  <a:pt x="150069" y="284801"/>
                </a:cubicBezTo>
                <a:lnTo>
                  <a:pt x="20397" y="338725"/>
                </a:lnTo>
                <a:cubicBezTo>
                  <a:pt x="16949" y="340158"/>
                  <a:pt x="15503" y="344565"/>
                  <a:pt x="17167" y="348566"/>
                </a:cubicBezTo>
                <a:lnTo>
                  <a:pt x="49560" y="426462"/>
                </a:lnTo>
                <a:lnTo>
                  <a:pt x="38607" y="425869"/>
                </a:lnTo>
                <a:cubicBezTo>
                  <a:pt x="33082" y="423092"/>
                  <a:pt x="28292" y="418076"/>
                  <a:pt x="25547" y="411475"/>
                </a:cubicBezTo>
                <a:lnTo>
                  <a:pt x="2278" y="355519"/>
                </a:lnTo>
                <a:cubicBezTo>
                  <a:pt x="-3212" y="342318"/>
                  <a:pt x="1558" y="327782"/>
                  <a:pt x="12931" y="323052"/>
                </a:cubicBezTo>
                <a:close/>
                <a:moveTo>
                  <a:pt x="351362" y="210067"/>
                </a:moveTo>
                <a:cubicBezTo>
                  <a:pt x="363286" y="210133"/>
                  <a:pt x="375125" y="211749"/>
                  <a:pt x="386407" y="214412"/>
                </a:cubicBezTo>
                <a:cubicBezTo>
                  <a:pt x="443739" y="245982"/>
                  <a:pt x="465239" y="262736"/>
                  <a:pt x="472986" y="464850"/>
                </a:cubicBezTo>
                <a:cubicBezTo>
                  <a:pt x="416623" y="468918"/>
                  <a:pt x="370719" y="469499"/>
                  <a:pt x="319585" y="471823"/>
                </a:cubicBezTo>
                <a:cubicBezTo>
                  <a:pt x="327139" y="445287"/>
                  <a:pt x="350382" y="394348"/>
                  <a:pt x="368395" y="355610"/>
                </a:cubicBezTo>
                <a:lnTo>
                  <a:pt x="342828" y="348637"/>
                </a:lnTo>
                <a:lnTo>
                  <a:pt x="284721" y="478796"/>
                </a:lnTo>
                <a:lnTo>
                  <a:pt x="84835" y="483444"/>
                </a:lnTo>
                <a:cubicBezTo>
                  <a:pt x="68372" y="474728"/>
                  <a:pt x="49004" y="431149"/>
                  <a:pt x="89484" y="406744"/>
                </a:cubicBezTo>
                <a:lnTo>
                  <a:pt x="212670" y="395122"/>
                </a:lnTo>
                <a:lnTo>
                  <a:pt x="254506" y="264964"/>
                </a:lnTo>
                <a:cubicBezTo>
                  <a:pt x="279056" y="223636"/>
                  <a:pt x="315590" y="209872"/>
                  <a:pt x="351362" y="210067"/>
                </a:cubicBezTo>
                <a:close/>
                <a:moveTo>
                  <a:pt x="287045" y="0"/>
                </a:moveTo>
                <a:cubicBezTo>
                  <a:pt x="342242" y="0"/>
                  <a:pt x="386988" y="44746"/>
                  <a:pt x="386988" y="99943"/>
                </a:cubicBezTo>
                <a:cubicBezTo>
                  <a:pt x="386988" y="155140"/>
                  <a:pt x="342242" y="199886"/>
                  <a:pt x="287045" y="199886"/>
                </a:cubicBezTo>
                <a:cubicBezTo>
                  <a:pt x="231848" y="199886"/>
                  <a:pt x="187102" y="155140"/>
                  <a:pt x="187102" y="99943"/>
                </a:cubicBezTo>
                <a:cubicBezTo>
                  <a:pt x="187102" y="44746"/>
                  <a:pt x="231848" y="0"/>
                  <a:pt x="287045" y="0"/>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IN" sz="1836" b="0" i="0" u="none" strike="noStrike" kern="0" cap="none" spc="0" normalizeH="0" baseline="0" noProof="0">
              <a:ln>
                <a:noFill/>
              </a:ln>
              <a:solidFill>
                <a:prstClr val="white"/>
              </a:solidFill>
              <a:effectLst/>
              <a:uLnTx/>
              <a:uFillTx/>
              <a:latin typeface="Segoe UI"/>
              <a:ea typeface="+mn-ea"/>
              <a:cs typeface="+mn-cs"/>
            </a:endParaRPr>
          </a:p>
        </p:txBody>
      </p:sp>
      <p:sp>
        <p:nvSpPr>
          <p:cNvPr id="3" name="Rectangle 2"/>
          <p:cNvSpPr/>
          <p:nvPr/>
        </p:nvSpPr>
        <p:spPr bwMode="auto">
          <a:xfrm>
            <a:off x="5141747" y="4420563"/>
            <a:ext cx="1075268" cy="905368"/>
          </a:xfrm>
          <a:prstGeom prst="rect">
            <a:avLst/>
          </a:prstGeom>
          <a:noFill/>
          <a:ln w="190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115888" marR="0" lvl="0" indent="-115888"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a:ea typeface="+mn-ea"/>
                <a:cs typeface="+mn-cs"/>
              </a:rPr>
              <a:t>“My app gets auto-tuned”</a:t>
            </a:r>
          </a:p>
        </p:txBody>
      </p:sp>
      <p:sp>
        <p:nvSpPr>
          <p:cNvPr id="30" name="Rectangle 29"/>
          <p:cNvSpPr/>
          <p:nvPr/>
        </p:nvSpPr>
        <p:spPr bwMode="auto">
          <a:xfrm>
            <a:off x="8772118" y="4651951"/>
            <a:ext cx="1075268" cy="905368"/>
          </a:xfrm>
          <a:prstGeom prst="rect">
            <a:avLst/>
          </a:prstGeom>
          <a:noFill/>
          <a:ln w="190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a:ea typeface="+mn-ea"/>
                <a:cs typeface="+mn-cs"/>
              </a:rPr>
              <a:t>“I can do more in less time”</a:t>
            </a:r>
          </a:p>
        </p:txBody>
      </p:sp>
      <p:cxnSp>
        <p:nvCxnSpPr>
          <p:cNvPr id="10" name="Connector: Elbow 9">
            <a:extLst>
              <a:ext uri="{FF2B5EF4-FFF2-40B4-BE49-F238E27FC236}">
                <a16:creationId xmlns:a16="http://schemas.microsoft.com/office/drawing/2014/main" id="{134F4A88-44B2-46CA-AF45-794CA5A36A36}"/>
              </a:ext>
            </a:extLst>
          </p:cNvPr>
          <p:cNvCxnSpPr>
            <a:cxnSpLocks/>
            <a:stCxn id="15" idx="2"/>
          </p:cNvCxnSpPr>
          <p:nvPr/>
        </p:nvCxnSpPr>
        <p:spPr>
          <a:xfrm rot="5400000">
            <a:off x="9411062" y="2966910"/>
            <a:ext cx="445402" cy="1081126"/>
          </a:xfrm>
          <a:prstGeom prst="bentConnector2">
            <a:avLst/>
          </a:prstGeom>
          <a:ln w="1905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F525687B-DF2C-4768-9338-6BFB7D9A20E6}"/>
              </a:ext>
            </a:extLst>
          </p:cNvPr>
          <p:cNvCxnSpPr>
            <a:cxnSpLocks/>
            <a:endCxn id="15" idx="1"/>
          </p:cNvCxnSpPr>
          <p:nvPr/>
        </p:nvCxnSpPr>
        <p:spPr>
          <a:xfrm flipV="1">
            <a:off x="8599714" y="3023162"/>
            <a:ext cx="1047519" cy="191752"/>
          </a:xfrm>
          <a:prstGeom prst="bentConnector3">
            <a:avLst>
              <a:gd name="adj1" fmla="val 119"/>
            </a:avLst>
          </a:prstGeom>
          <a:ln w="1905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6" name="Freeform 18"/>
          <p:cNvSpPr>
            <a:spLocks noEditPoints="1"/>
          </p:cNvSpPr>
          <p:nvPr/>
        </p:nvSpPr>
        <p:spPr bwMode="black">
          <a:xfrm rot="17995606">
            <a:off x="340876" y="6284571"/>
            <a:ext cx="450812" cy="353994"/>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chemeClr val="bg1"/>
          </a:solidFill>
          <a:ln>
            <a:noFill/>
          </a:ln>
          <a:extLst/>
        </p:spPr>
        <p:txBody>
          <a:bodyPr vert="horz" wrap="square" lIns="89069" tIns="44534" rIns="89069" bIns="44534" numCol="1" anchor="t" anchorCtr="0" compatLnSpc="1">
            <a:prstTxWarp prst="textNoShape">
              <a:avLst/>
            </a:prstTxWarp>
          </a:bodyPr>
          <a:lstStyle/>
          <a:p>
            <a:pPr marL="0" marR="0" lvl="0" indent="0" algn="l" defTabSz="890580" rtl="0" eaLnBrk="1" fontAlgn="auto" latinLnBrk="0" hangingPunct="1">
              <a:lnSpc>
                <a:spcPct val="100000"/>
              </a:lnSpc>
              <a:spcBef>
                <a:spcPts val="0"/>
              </a:spcBef>
              <a:spcAft>
                <a:spcPts val="0"/>
              </a:spcAft>
              <a:buClrTx/>
              <a:buSzTx/>
              <a:buFontTx/>
              <a:buNone/>
              <a:tabLst/>
              <a:defRPr/>
            </a:pPr>
            <a:endParaRPr kumimoji="0" lang="en-US" sz="1559"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endParaRPr>
          </a:p>
        </p:txBody>
      </p:sp>
      <p:sp>
        <p:nvSpPr>
          <p:cNvPr id="37" name="Rectangle 36"/>
          <p:cNvSpPr>
            <a:spLocks noChangeAspect="1"/>
          </p:cNvSpPr>
          <p:nvPr/>
        </p:nvSpPr>
        <p:spPr bwMode="auto">
          <a:xfrm>
            <a:off x="739925" y="6313833"/>
            <a:ext cx="2452307" cy="500958"/>
          </a:xfrm>
          <a:prstGeom prst="rect">
            <a:avLst/>
          </a:prstGeom>
          <a:noFill/>
          <a:ln w="10795" cap="flat" cmpd="sng" algn="ctr">
            <a:noFill/>
            <a:prstDash val="solid"/>
            <a:headEnd type="none" w="med" len="med"/>
            <a:tailEnd type="none" w="med" len="med"/>
          </a:ln>
          <a:effectLst/>
        </p:spPr>
        <p:txBody>
          <a:bodyPr vert="horz" wrap="square" lIns="137160" tIns="9144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Segoe UI Semibold" charset="0"/>
                <a:ea typeface="Segoe UI Semibold" charset="0"/>
                <a:cs typeface="Segoe UI Semibold" charset="0"/>
              </a:rPr>
              <a:t>Learns &amp; adapts</a:t>
            </a:r>
          </a:p>
        </p:txBody>
      </p:sp>
      <p:sp>
        <p:nvSpPr>
          <p:cNvPr id="38" name="Pentagon 37"/>
          <p:cNvSpPr/>
          <p:nvPr/>
        </p:nvSpPr>
        <p:spPr bwMode="auto">
          <a:xfrm>
            <a:off x="0" y="6245274"/>
            <a:ext cx="192024" cy="481395"/>
          </a:xfrm>
          <a:prstGeom prst="homePlate">
            <a:avLst>
              <a:gd name="adj" fmla="val 23545"/>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Freeform 5"/>
          <p:cNvSpPr/>
          <p:nvPr/>
        </p:nvSpPr>
        <p:spPr>
          <a:xfrm>
            <a:off x="5270617" y="4730399"/>
            <a:ext cx="989428" cy="595532"/>
          </a:xfrm>
          <a:custGeom>
            <a:avLst/>
            <a:gdLst>
              <a:gd name="connsiteX0" fmla="*/ 0 w 989428"/>
              <a:gd name="connsiteY0" fmla="*/ 407963 h 595532"/>
              <a:gd name="connsiteX1" fmla="*/ 595533 w 989428"/>
              <a:gd name="connsiteY1" fmla="*/ 407963 h 595532"/>
              <a:gd name="connsiteX2" fmla="*/ 783102 w 989428"/>
              <a:gd name="connsiteY2" fmla="*/ 595532 h 595532"/>
              <a:gd name="connsiteX3" fmla="*/ 783102 w 989428"/>
              <a:gd name="connsiteY3" fmla="*/ 407963 h 595532"/>
              <a:gd name="connsiteX4" fmla="*/ 989428 w 989428"/>
              <a:gd name="connsiteY4" fmla="*/ 407963 h 595532"/>
              <a:gd name="connsiteX5" fmla="*/ 989428 w 989428"/>
              <a:gd name="connsiteY5" fmla="*/ 0 h 59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9428" h="595532">
                <a:moveTo>
                  <a:pt x="0" y="407963"/>
                </a:moveTo>
                <a:lnTo>
                  <a:pt x="595533" y="407963"/>
                </a:lnTo>
                <a:lnTo>
                  <a:pt x="783102" y="595532"/>
                </a:lnTo>
                <a:lnTo>
                  <a:pt x="783102" y="407963"/>
                </a:lnTo>
                <a:lnTo>
                  <a:pt x="989428" y="407963"/>
                </a:lnTo>
                <a:lnTo>
                  <a:pt x="989428" y="0"/>
                </a:lnTo>
              </a:path>
            </a:pathLst>
          </a:custGeom>
          <a:no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38"/>
          <p:cNvSpPr/>
          <p:nvPr/>
        </p:nvSpPr>
        <p:spPr>
          <a:xfrm>
            <a:off x="8824970" y="4960718"/>
            <a:ext cx="1117019" cy="595532"/>
          </a:xfrm>
          <a:custGeom>
            <a:avLst/>
            <a:gdLst>
              <a:gd name="connsiteX0" fmla="*/ 0 w 989428"/>
              <a:gd name="connsiteY0" fmla="*/ 407963 h 595532"/>
              <a:gd name="connsiteX1" fmla="*/ 595533 w 989428"/>
              <a:gd name="connsiteY1" fmla="*/ 407963 h 595532"/>
              <a:gd name="connsiteX2" fmla="*/ 783102 w 989428"/>
              <a:gd name="connsiteY2" fmla="*/ 595532 h 595532"/>
              <a:gd name="connsiteX3" fmla="*/ 783102 w 989428"/>
              <a:gd name="connsiteY3" fmla="*/ 407963 h 595532"/>
              <a:gd name="connsiteX4" fmla="*/ 989428 w 989428"/>
              <a:gd name="connsiteY4" fmla="*/ 407963 h 595532"/>
              <a:gd name="connsiteX5" fmla="*/ 989428 w 989428"/>
              <a:gd name="connsiteY5" fmla="*/ 0 h 595532"/>
              <a:gd name="connsiteX0" fmla="*/ 0 w 1117019"/>
              <a:gd name="connsiteY0" fmla="*/ 407963 h 595532"/>
              <a:gd name="connsiteX1" fmla="*/ 723124 w 1117019"/>
              <a:gd name="connsiteY1" fmla="*/ 407963 h 595532"/>
              <a:gd name="connsiteX2" fmla="*/ 910693 w 1117019"/>
              <a:gd name="connsiteY2" fmla="*/ 595532 h 595532"/>
              <a:gd name="connsiteX3" fmla="*/ 910693 w 1117019"/>
              <a:gd name="connsiteY3" fmla="*/ 407963 h 595532"/>
              <a:gd name="connsiteX4" fmla="*/ 1117019 w 1117019"/>
              <a:gd name="connsiteY4" fmla="*/ 407963 h 595532"/>
              <a:gd name="connsiteX5" fmla="*/ 1117019 w 1117019"/>
              <a:gd name="connsiteY5" fmla="*/ 0 h 59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7019" h="595532">
                <a:moveTo>
                  <a:pt x="0" y="407963"/>
                </a:moveTo>
                <a:lnTo>
                  <a:pt x="723124" y="407963"/>
                </a:lnTo>
                <a:lnTo>
                  <a:pt x="910693" y="595532"/>
                </a:lnTo>
                <a:lnTo>
                  <a:pt x="910693" y="407963"/>
                </a:lnTo>
                <a:lnTo>
                  <a:pt x="1117019" y="407963"/>
                </a:lnTo>
                <a:lnTo>
                  <a:pt x="1117019" y="0"/>
                </a:lnTo>
              </a:path>
            </a:pathLst>
          </a:custGeom>
          <a:no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124284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153455"/>
            <a:ext cx="11642721" cy="1316945"/>
          </a:xfrm>
        </p:spPr>
        <p:txBody>
          <a:bodyPr>
            <a:normAutofit/>
          </a:bodyPr>
          <a:lstStyle/>
          <a:p>
            <a:r>
              <a:rPr lang="en-US" sz="3200" cap="all" spc="500" dirty="0">
                <a:ln w="3175">
                  <a:noFill/>
                </a:ln>
                <a:solidFill>
                  <a:srgbClr val="0078D7"/>
                </a:solidFill>
                <a:latin typeface="Segoe UI Semilight" charset="0"/>
                <a:ea typeface="+mn-ea"/>
                <a:cs typeface="Segoe UI Semilight" charset="0"/>
              </a:rPr>
              <a:t>On-the-fly scale</a:t>
            </a:r>
            <a:br>
              <a:rPr lang="en-US" sz="4800" dirty="0"/>
            </a:br>
            <a:r>
              <a:rPr lang="en-US" sz="2400" cap="all" dirty="0">
                <a:solidFill>
                  <a:srgbClr val="0078D7"/>
                </a:solidFill>
              </a:rPr>
              <a:t>Scale up or down with minimal app downtime</a:t>
            </a:r>
          </a:p>
        </p:txBody>
      </p:sp>
      <p:sp>
        <p:nvSpPr>
          <p:cNvPr id="297" name="Text Placeholder 3"/>
          <p:cNvSpPr>
            <a:spLocks noGrp="1"/>
          </p:cNvSpPr>
          <p:nvPr>
            <p:ph type="body" sz="quarter" idx="10"/>
          </p:nvPr>
        </p:nvSpPr>
        <p:spPr>
          <a:xfrm>
            <a:off x="274637" y="2357133"/>
            <a:ext cx="4170363" cy="3434786"/>
          </a:xfrm>
        </p:spPr>
        <p:txBody>
          <a:bodyPr/>
          <a:lstStyle/>
          <a:p>
            <a:r>
              <a:rPr lang="en-US" sz="1800" dirty="0"/>
              <a:t>Scale up with one click or a </a:t>
            </a:r>
            <a:br>
              <a:rPr lang="en-US" sz="1800" dirty="0"/>
            </a:br>
            <a:r>
              <a:rPr lang="en-US" sz="1800" dirty="0"/>
              <a:t>single API call </a:t>
            </a:r>
          </a:p>
          <a:p>
            <a:r>
              <a:rPr lang="en-US" sz="1800" dirty="0"/>
              <a:t>Accommodate growth and peak workloads</a:t>
            </a:r>
          </a:p>
          <a:p>
            <a:r>
              <a:rPr lang="en-US" sz="1800" dirty="0"/>
              <a:t>Remove the guess work and pay for what you need, when you need it</a:t>
            </a:r>
          </a:p>
          <a:p>
            <a:r>
              <a:rPr lang="en-US" sz="1800" dirty="0"/>
              <a:t>New Standard tiers for CPU-intensive workloads</a:t>
            </a:r>
            <a:r>
              <a:rPr lang="en-US" sz="1800" baseline="30000" dirty="0"/>
              <a:t>*</a:t>
            </a:r>
          </a:p>
        </p:txBody>
      </p:sp>
      <p:graphicFrame>
        <p:nvGraphicFramePr>
          <p:cNvPr id="12" name="Table 11"/>
          <p:cNvGraphicFramePr>
            <a:graphicFrameLocks noGrp="1"/>
          </p:cNvGraphicFramePr>
          <p:nvPr>
            <p:extLst/>
          </p:nvPr>
        </p:nvGraphicFramePr>
        <p:xfrm>
          <a:off x="6553439" y="4909531"/>
          <a:ext cx="4978210" cy="365760"/>
        </p:xfrm>
        <a:graphic>
          <a:graphicData uri="http://schemas.openxmlformats.org/drawingml/2006/table">
            <a:tbl>
              <a:tblPr>
                <a:tableStyleId>{5C22544A-7EE6-4342-B048-85BDC9FD1C3A}</a:tableStyleId>
              </a:tblPr>
              <a:tblGrid>
                <a:gridCol w="995642">
                  <a:extLst>
                    <a:ext uri="{9D8B030D-6E8A-4147-A177-3AD203B41FA5}">
                      <a16:colId xmlns:a16="http://schemas.microsoft.com/office/drawing/2014/main" val="2036244271"/>
                    </a:ext>
                  </a:extLst>
                </a:gridCol>
                <a:gridCol w="995642">
                  <a:extLst>
                    <a:ext uri="{9D8B030D-6E8A-4147-A177-3AD203B41FA5}">
                      <a16:colId xmlns:a16="http://schemas.microsoft.com/office/drawing/2014/main" val="20003"/>
                    </a:ext>
                  </a:extLst>
                </a:gridCol>
                <a:gridCol w="995642">
                  <a:extLst>
                    <a:ext uri="{9D8B030D-6E8A-4147-A177-3AD203B41FA5}">
                      <a16:colId xmlns:a16="http://schemas.microsoft.com/office/drawing/2014/main" val="20004"/>
                    </a:ext>
                  </a:extLst>
                </a:gridCol>
                <a:gridCol w="995642">
                  <a:extLst>
                    <a:ext uri="{9D8B030D-6E8A-4147-A177-3AD203B41FA5}">
                      <a16:colId xmlns:a16="http://schemas.microsoft.com/office/drawing/2014/main" val="2806863412"/>
                    </a:ext>
                  </a:extLst>
                </a:gridCol>
                <a:gridCol w="995642">
                  <a:extLst>
                    <a:ext uri="{9D8B030D-6E8A-4147-A177-3AD203B41FA5}">
                      <a16:colId xmlns:a16="http://schemas.microsoft.com/office/drawing/2014/main" val="1475134852"/>
                    </a:ext>
                  </a:extLst>
                </a:gridCol>
              </a:tblGrid>
              <a:tr h="355295">
                <a:tc>
                  <a:txBody>
                    <a:bodyPr/>
                    <a:lstStyle/>
                    <a:p>
                      <a:pPr algn="ctr"/>
                      <a:r>
                        <a:rPr lang="en-US" b="1" dirty="0">
                          <a:solidFill>
                            <a:srgbClr val="FFFFFF"/>
                          </a:solidFill>
                          <a:latin typeface="+mn-lt"/>
                        </a:rPr>
                        <a:t>1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0078D7"/>
                    </a:solidFill>
                  </a:tcPr>
                </a:tc>
                <a:tc>
                  <a:txBody>
                    <a:bodyPr/>
                    <a:lstStyle/>
                    <a:p>
                      <a:pPr algn="ctr"/>
                      <a:r>
                        <a:rPr lang="en-US" b="1" dirty="0">
                          <a:solidFill>
                            <a:srgbClr val="FFFFFF"/>
                          </a:solidFill>
                          <a:latin typeface="+mn-lt"/>
                        </a:rPr>
                        <a:t>5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0078D7"/>
                    </a:solidFill>
                  </a:tcPr>
                </a:tc>
                <a:tc>
                  <a:txBody>
                    <a:bodyPr/>
                    <a:lstStyle/>
                    <a:p>
                      <a:pPr algn="ctr"/>
                      <a:r>
                        <a:rPr lang="en-US" b="1" dirty="0">
                          <a:solidFill>
                            <a:srgbClr val="FFFFFF"/>
                          </a:solidFill>
                          <a:latin typeface="+mn-lt"/>
                        </a:rPr>
                        <a:t>200</a:t>
                      </a:r>
                      <a:r>
                        <a:rPr lang="en-US" sz="1800" b="1" kern="1200" baseline="30000" dirty="0">
                          <a:solidFill>
                            <a:srgbClr val="FFFFFF"/>
                          </a:solidFill>
                          <a:latin typeface="+mn-lt"/>
                          <a:ea typeface="+mn-ea"/>
                          <a:cs typeface="+mn-cs"/>
                        </a:rPr>
                        <a:t>*</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0078D7"/>
                    </a:solidFill>
                  </a:tcPr>
                </a:tc>
                <a:tc>
                  <a:txBody>
                    <a:bodyPr/>
                    <a:lstStyle/>
                    <a:p>
                      <a:pPr algn="ctr"/>
                      <a:r>
                        <a:rPr lang="en-US" sz="1800" b="1" kern="1200" dirty="0">
                          <a:solidFill>
                            <a:srgbClr val="FFFFFF"/>
                          </a:solidFill>
                          <a:latin typeface="+mn-lt"/>
                          <a:ea typeface="+mn-ea"/>
                          <a:cs typeface="+mn-cs"/>
                        </a:rPr>
                        <a:t>800</a:t>
                      </a:r>
                      <a:r>
                        <a:rPr lang="en-US" sz="1800" b="1" kern="1200" baseline="30000" dirty="0">
                          <a:solidFill>
                            <a:srgbClr val="FFFFFF"/>
                          </a:solidFill>
                          <a:latin typeface="+mn-lt"/>
                          <a:ea typeface="+mn-ea"/>
                          <a:cs typeface="+mn-cs"/>
                        </a:rPr>
                        <a:t>*</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0078D7"/>
                    </a:solidFill>
                  </a:tcPr>
                </a:tc>
                <a:tc>
                  <a:txBody>
                    <a:bodyPr/>
                    <a:lstStyle/>
                    <a:p>
                      <a:pPr algn="ctr"/>
                      <a:r>
                        <a:rPr lang="en-US" sz="1800" b="1" kern="1200" dirty="0">
                          <a:solidFill>
                            <a:srgbClr val="FFFFFF"/>
                          </a:solidFill>
                          <a:latin typeface="+mn-lt"/>
                          <a:ea typeface="+mn-ea"/>
                          <a:cs typeface="+mn-cs"/>
                        </a:rPr>
                        <a:t>3,000</a:t>
                      </a:r>
                      <a:r>
                        <a:rPr lang="en-US" sz="1800" b="1" kern="1200" baseline="30000" dirty="0">
                          <a:solidFill>
                            <a:srgbClr val="FFFFFF"/>
                          </a:solidFill>
                          <a:latin typeface="+mn-lt"/>
                          <a:ea typeface="+mn-ea"/>
                          <a:cs typeface="+mn-cs"/>
                        </a:rPr>
                        <a:t>*</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594647120"/>
                  </a:ext>
                </a:extLst>
              </a:tr>
            </a:tbl>
          </a:graphicData>
        </a:graphic>
      </p:graphicFrame>
      <p:sp>
        <p:nvSpPr>
          <p:cNvPr id="22" name="Rectangle 21"/>
          <p:cNvSpPr/>
          <p:nvPr/>
        </p:nvSpPr>
        <p:spPr>
          <a:xfrm>
            <a:off x="8620766" y="5835596"/>
            <a:ext cx="3008498" cy="258532"/>
          </a:xfrm>
          <a:prstGeom prst="rect">
            <a:avLst/>
          </a:prstGeom>
        </p:spPr>
        <p:txBody>
          <a:bodyPr wrap="square">
            <a:sp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lumMod val="50000"/>
                  </a:srgbClr>
                </a:solidFill>
                <a:effectLst/>
                <a:uLnTx/>
                <a:uFillTx/>
                <a:latin typeface="Segoe UI"/>
                <a:ea typeface="Segoe UI" panose="020B0502040204020203" pitchFamily="34" charset="0"/>
                <a:cs typeface="Segoe UI" panose="020B0502040204020203" pitchFamily="34" charset="0"/>
              </a:rPr>
              <a:t>Database transaction units (DTUs)</a:t>
            </a:r>
          </a:p>
        </p:txBody>
      </p:sp>
      <p:sp>
        <p:nvSpPr>
          <p:cNvPr id="80" name="Freeform 182">
            <a:extLst>
              <a:ext uri="{FF2B5EF4-FFF2-40B4-BE49-F238E27FC236}">
                <a16:creationId xmlns:a16="http://schemas.microsoft.com/office/drawing/2014/main" id="{F51A0B3F-5B21-4E68-8ADC-113DEFCE9181}"/>
              </a:ext>
            </a:extLst>
          </p:cNvPr>
          <p:cNvSpPr/>
          <p:nvPr/>
        </p:nvSpPr>
        <p:spPr bwMode="auto">
          <a:xfrm>
            <a:off x="6917760" y="3913891"/>
            <a:ext cx="275438" cy="35326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Freeform 182">
            <a:extLst>
              <a:ext uri="{FF2B5EF4-FFF2-40B4-BE49-F238E27FC236}">
                <a16:creationId xmlns:a16="http://schemas.microsoft.com/office/drawing/2014/main" id="{B14B3404-6E8A-474A-AE73-C38CFEAF727E}"/>
              </a:ext>
            </a:extLst>
          </p:cNvPr>
          <p:cNvSpPr/>
          <p:nvPr/>
        </p:nvSpPr>
        <p:spPr bwMode="auto">
          <a:xfrm>
            <a:off x="7809951" y="3728396"/>
            <a:ext cx="426942" cy="54757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Freeform 182">
            <a:extLst>
              <a:ext uri="{FF2B5EF4-FFF2-40B4-BE49-F238E27FC236}">
                <a16:creationId xmlns:a16="http://schemas.microsoft.com/office/drawing/2014/main" id="{B654B66E-A556-44CA-9211-C9881AD41033}"/>
              </a:ext>
            </a:extLst>
          </p:cNvPr>
          <p:cNvSpPr/>
          <p:nvPr/>
        </p:nvSpPr>
        <p:spPr bwMode="auto">
          <a:xfrm>
            <a:off x="8748381" y="3591778"/>
            <a:ext cx="540560" cy="693296"/>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Rectangle 27"/>
          <p:cNvSpPr>
            <a:spLocks noChangeAspect="1"/>
          </p:cNvSpPr>
          <p:nvPr/>
        </p:nvSpPr>
        <p:spPr bwMode="auto">
          <a:xfrm>
            <a:off x="883234" y="6311589"/>
            <a:ext cx="2452307" cy="500958"/>
          </a:xfrm>
          <a:prstGeom prst="rect">
            <a:avLst/>
          </a:prstGeom>
          <a:noFill/>
          <a:ln w="10795" cap="flat" cmpd="sng" algn="ctr">
            <a:noFill/>
            <a:prstDash val="solid"/>
            <a:headEnd type="none" w="med" len="med"/>
            <a:tailEnd type="none" w="med" len="med"/>
          </a:ln>
          <a:effectLst/>
        </p:spPr>
        <p:txBody>
          <a:bodyPr vert="horz" wrap="square" lIns="137160" tIns="9144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Segoe UI Semibold" charset="0"/>
                <a:ea typeface="Segoe UI Semibold" charset="0"/>
                <a:cs typeface="Segoe UI Semibold" charset="0"/>
              </a:rPr>
              <a:t>Scales on the fly</a:t>
            </a:r>
          </a:p>
        </p:txBody>
      </p:sp>
      <p:sp>
        <p:nvSpPr>
          <p:cNvPr id="65" name="Freeform 64"/>
          <p:cNvSpPr/>
          <p:nvPr/>
        </p:nvSpPr>
        <p:spPr>
          <a:xfrm>
            <a:off x="385884" y="6311589"/>
            <a:ext cx="567776" cy="359574"/>
          </a:xfrm>
          <a:custGeom>
            <a:avLst/>
            <a:gdLst>
              <a:gd name="connsiteX0" fmla="*/ 4419506 w 8133512"/>
              <a:gd name="connsiteY0" fmla="*/ 2801 h 5150985"/>
              <a:gd name="connsiteX1" fmla="*/ 4872800 w 8133512"/>
              <a:gd name="connsiteY1" fmla="*/ 26646 h 5150985"/>
              <a:gd name="connsiteX2" fmla="*/ 6973208 w 8133512"/>
              <a:gd name="connsiteY2" fmla="*/ 2694193 h 5150985"/>
              <a:gd name="connsiteX3" fmla="*/ 8133504 w 8133512"/>
              <a:gd name="connsiteY3" fmla="*/ 3917476 h 5150985"/>
              <a:gd name="connsiteX4" fmla="*/ 6923596 w 8133512"/>
              <a:gd name="connsiteY4" fmla="*/ 5150972 h 5150985"/>
              <a:gd name="connsiteX5" fmla="*/ 1764063 w 8133512"/>
              <a:gd name="connsiteY5" fmla="*/ 5150972 h 5150985"/>
              <a:gd name="connsiteX6" fmla="*/ 387 w 8133512"/>
              <a:gd name="connsiteY6" fmla="*/ 3352912 h 5150985"/>
              <a:gd name="connsiteX7" fmla="*/ 2262680 w 8133512"/>
              <a:gd name="connsiteY7" fmla="*/ 1636697 h 5150985"/>
              <a:gd name="connsiteX8" fmla="*/ 4419506 w 8133512"/>
              <a:gd name="connsiteY8" fmla="*/ 2801 h 5150985"/>
              <a:gd name="connsiteX9" fmla="*/ 5179892 w 8133512"/>
              <a:gd name="connsiteY9" fmla="*/ 1699213 h 5150985"/>
              <a:gd name="connsiteX10" fmla="*/ 4212779 w 8133512"/>
              <a:gd name="connsiteY10" fmla="*/ 1997072 h 5150985"/>
              <a:gd name="connsiteX11" fmla="*/ 4531286 w 8133512"/>
              <a:gd name="connsiteY11" fmla="*/ 2138683 h 5150985"/>
              <a:gd name="connsiteX12" fmla="*/ 1712867 w 8133512"/>
              <a:gd name="connsiteY12" fmla="*/ 3603125 h 5150985"/>
              <a:gd name="connsiteX13" fmla="*/ 5169689 w 8133512"/>
              <a:gd name="connsiteY13" fmla="*/ 2422519 h 5150985"/>
              <a:gd name="connsiteX14" fmla="*/ 5488196 w 8133512"/>
              <a:gd name="connsiteY14" fmla="*/ 2564130 h 5150985"/>
              <a:gd name="connsiteX15" fmla="*/ 5179892 w 8133512"/>
              <a:gd name="connsiteY15" fmla="*/ 1699213 h 5150985"/>
              <a:gd name="connsiteX16" fmla="*/ 1366939 w 8133512"/>
              <a:gd name="connsiteY16" fmla="*/ 3921497 h 5150985"/>
              <a:gd name="connsiteX17" fmla="*/ 1366939 w 8133512"/>
              <a:gd name="connsiteY17" fmla="*/ 4348309 h 5150985"/>
              <a:gd name="connsiteX18" fmla="*/ 1470489 w 8133512"/>
              <a:gd name="connsiteY18" fmla="*/ 4348309 h 5150985"/>
              <a:gd name="connsiteX19" fmla="*/ 1470489 w 8133512"/>
              <a:gd name="connsiteY19" fmla="*/ 3921497 h 5150985"/>
              <a:gd name="connsiteX20" fmla="*/ 1366939 w 8133512"/>
              <a:gd name="connsiteY20" fmla="*/ 3921497 h 5150985"/>
              <a:gd name="connsiteX21" fmla="*/ 2700997 w 8133512"/>
              <a:gd name="connsiteY21" fmla="*/ 3921497 h 5150985"/>
              <a:gd name="connsiteX22" fmla="*/ 2700997 w 8133512"/>
              <a:gd name="connsiteY22" fmla="*/ 4348309 h 5150985"/>
              <a:gd name="connsiteX23" fmla="*/ 2804547 w 8133512"/>
              <a:gd name="connsiteY23" fmla="*/ 4348309 h 5150985"/>
              <a:gd name="connsiteX24" fmla="*/ 2804547 w 8133512"/>
              <a:gd name="connsiteY24" fmla="*/ 3921497 h 5150985"/>
              <a:gd name="connsiteX25" fmla="*/ 2700997 w 8133512"/>
              <a:gd name="connsiteY25" fmla="*/ 3921497 h 5150985"/>
              <a:gd name="connsiteX26" fmla="*/ 4035055 w 8133512"/>
              <a:gd name="connsiteY26" fmla="*/ 3921497 h 5150985"/>
              <a:gd name="connsiteX27" fmla="*/ 4035055 w 8133512"/>
              <a:gd name="connsiteY27" fmla="*/ 4348309 h 5150985"/>
              <a:gd name="connsiteX28" fmla="*/ 4138605 w 8133512"/>
              <a:gd name="connsiteY28" fmla="*/ 4348309 h 5150985"/>
              <a:gd name="connsiteX29" fmla="*/ 4138605 w 8133512"/>
              <a:gd name="connsiteY29" fmla="*/ 3921497 h 5150985"/>
              <a:gd name="connsiteX30" fmla="*/ 4035055 w 8133512"/>
              <a:gd name="connsiteY30" fmla="*/ 3921497 h 5150985"/>
              <a:gd name="connsiteX31" fmla="*/ 5369113 w 8133512"/>
              <a:gd name="connsiteY31" fmla="*/ 3921497 h 5150985"/>
              <a:gd name="connsiteX32" fmla="*/ 5369113 w 8133512"/>
              <a:gd name="connsiteY32" fmla="*/ 4348309 h 5150985"/>
              <a:gd name="connsiteX33" fmla="*/ 5472663 w 8133512"/>
              <a:gd name="connsiteY33" fmla="*/ 4348309 h 5150985"/>
              <a:gd name="connsiteX34" fmla="*/ 5472663 w 8133512"/>
              <a:gd name="connsiteY34" fmla="*/ 3921497 h 5150985"/>
              <a:gd name="connsiteX35" fmla="*/ 5369113 w 8133512"/>
              <a:gd name="connsiteY35" fmla="*/ 3921497 h 5150985"/>
              <a:gd name="connsiteX36" fmla="*/ 6703169 w 8133512"/>
              <a:gd name="connsiteY36" fmla="*/ 3921497 h 5150985"/>
              <a:gd name="connsiteX37" fmla="*/ 6703169 w 8133512"/>
              <a:gd name="connsiteY37" fmla="*/ 4348309 h 5150985"/>
              <a:gd name="connsiteX38" fmla="*/ 6806719 w 8133512"/>
              <a:gd name="connsiteY38" fmla="*/ 4348309 h 5150985"/>
              <a:gd name="connsiteX39" fmla="*/ 6806719 w 8133512"/>
              <a:gd name="connsiteY39" fmla="*/ 3921497 h 5150985"/>
              <a:gd name="connsiteX40" fmla="*/ 6703169 w 8133512"/>
              <a:gd name="connsiteY40" fmla="*/ 3921497 h 5150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8133512" h="5150985">
                <a:moveTo>
                  <a:pt x="4419506" y="2801"/>
                </a:moveTo>
                <a:cubicBezTo>
                  <a:pt x="4568170" y="-4661"/>
                  <a:pt x="4719785" y="2617"/>
                  <a:pt x="4872800" y="26646"/>
                </a:cubicBezTo>
                <a:cubicBezTo>
                  <a:pt x="6147238" y="226775"/>
                  <a:pt x="7151483" y="1439768"/>
                  <a:pt x="6973208" y="2694193"/>
                </a:cubicBezTo>
                <a:cubicBezTo>
                  <a:pt x="7891061" y="2823418"/>
                  <a:pt x="8131847" y="3547028"/>
                  <a:pt x="8133504" y="3917476"/>
                </a:cubicBezTo>
                <a:cubicBezTo>
                  <a:pt x="8135690" y="4404820"/>
                  <a:pt x="7721889" y="5154682"/>
                  <a:pt x="6923596" y="5150972"/>
                </a:cubicBezTo>
                <a:lnTo>
                  <a:pt x="1764063" y="5150972"/>
                </a:lnTo>
                <a:cubicBezTo>
                  <a:pt x="714187" y="5144695"/>
                  <a:pt x="20999" y="4207126"/>
                  <a:pt x="387" y="3352912"/>
                </a:cubicBezTo>
                <a:cubicBezTo>
                  <a:pt x="-20225" y="2498699"/>
                  <a:pt x="782106" y="1166044"/>
                  <a:pt x="2262680" y="1636697"/>
                </a:cubicBezTo>
                <a:cubicBezTo>
                  <a:pt x="2482766" y="829523"/>
                  <a:pt x="3378856" y="55033"/>
                  <a:pt x="4419506" y="2801"/>
                </a:cubicBezTo>
                <a:close/>
                <a:moveTo>
                  <a:pt x="5179892" y="1699213"/>
                </a:moveTo>
                <a:lnTo>
                  <a:pt x="4212779" y="1997072"/>
                </a:lnTo>
                <a:lnTo>
                  <a:pt x="4531286" y="2138683"/>
                </a:lnTo>
                <a:cubicBezTo>
                  <a:pt x="4090064" y="3022616"/>
                  <a:pt x="2808743" y="3465182"/>
                  <a:pt x="1712867" y="3603125"/>
                </a:cubicBezTo>
                <a:cubicBezTo>
                  <a:pt x="2982526" y="3681560"/>
                  <a:pt x="4476646" y="3333607"/>
                  <a:pt x="5169689" y="2422519"/>
                </a:cubicBezTo>
                <a:lnTo>
                  <a:pt x="5488196" y="2564130"/>
                </a:lnTo>
                <a:lnTo>
                  <a:pt x="5179892" y="1699213"/>
                </a:lnTo>
                <a:close/>
                <a:moveTo>
                  <a:pt x="1366939" y="3921497"/>
                </a:moveTo>
                <a:lnTo>
                  <a:pt x="1366939" y="4348309"/>
                </a:lnTo>
                <a:lnTo>
                  <a:pt x="1470489" y="4348309"/>
                </a:lnTo>
                <a:lnTo>
                  <a:pt x="1470489" y="3921497"/>
                </a:lnTo>
                <a:lnTo>
                  <a:pt x="1366939" y="3921497"/>
                </a:lnTo>
                <a:close/>
                <a:moveTo>
                  <a:pt x="2700997" y="3921497"/>
                </a:moveTo>
                <a:lnTo>
                  <a:pt x="2700997" y="4348309"/>
                </a:lnTo>
                <a:lnTo>
                  <a:pt x="2804547" y="4348309"/>
                </a:lnTo>
                <a:lnTo>
                  <a:pt x="2804547" y="3921497"/>
                </a:lnTo>
                <a:lnTo>
                  <a:pt x="2700997" y="3921497"/>
                </a:lnTo>
                <a:close/>
                <a:moveTo>
                  <a:pt x="4035055" y="3921497"/>
                </a:moveTo>
                <a:lnTo>
                  <a:pt x="4035055" y="4348309"/>
                </a:lnTo>
                <a:lnTo>
                  <a:pt x="4138605" y="4348309"/>
                </a:lnTo>
                <a:lnTo>
                  <a:pt x="4138605" y="3921497"/>
                </a:lnTo>
                <a:lnTo>
                  <a:pt x="4035055" y="3921497"/>
                </a:lnTo>
                <a:close/>
                <a:moveTo>
                  <a:pt x="5369113" y="3921497"/>
                </a:moveTo>
                <a:lnTo>
                  <a:pt x="5369113" y="4348309"/>
                </a:lnTo>
                <a:lnTo>
                  <a:pt x="5472663" y="4348309"/>
                </a:lnTo>
                <a:lnTo>
                  <a:pt x="5472663" y="3921497"/>
                </a:lnTo>
                <a:lnTo>
                  <a:pt x="5369113" y="3921497"/>
                </a:lnTo>
                <a:close/>
                <a:moveTo>
                  <a:pt x="6703169" y="3921497"/>
                </a:moveTo>
                <a:lnTo>
                  <a:pt x="6703169" y="4348309"/>
                </a:lnTo>
                <a:lnTo>
                  <a:pt x="6806719" y="4348309"/>
                </a:lnTo>
                <a:lnTo>
                  <a:pt x="6806719" y="3921497"/>
                </a:lnTo>
                <a:lnTo>
                  <a:pt x="6703169" y="392149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2" name="Pentagon 71"/>
          <p:cNvSpPr/>
          <p:nvPr/>
        </p:nvSpPr>
        <p:spPr bwMode="auto">
          <a:xfrm>
            <a:off x="0" y="6245274"/>
            <a:ext cx="192024" cy="481395"/>
          </a:xfrm>
          <a:prstGeom prst="homePlate">
            <a:avLst>
              <a:gd name="adj" fmla="val 23545"/>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Arc 5"/>
          <p:cNvSpPr/>
          <p:nvPr/>
        </p:nvSpPr>
        <p:spPr>
          <a:xfrm rot="10578403">
            <a:off x="3156528" y="1381187"/>
            <a:ext cx="8073339" cy="2376708"/>
          </a:xfrm>
          <a:prstGeom prst="arc">
            <a:avLst>
              <a:gd name="adj1" fmla="val 10970397"/>
              <a:gd name="adj2" fmla="val 17079055"/>
            </a:avLst>
          </a:prstGeom>
          <a:ln w="19050" cap="flat">
            <a:solidFill>
              <a:srgbClr val="0078D7"/>
            </a:solidFill>
            <a:prstDash val="sysDash"/>
            <a:headEnd type="triangle"/>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182">
            <a:extLst>
              <a:ext uri="{FF2B5EF4-FFF2-40B4-BE49-F238E27FC236}">
                <a16:creationId xmlns:a16="http://schemas.microsoft.com/office/drawing/2014/main" id="{13CC4779-EA85-49A7-B22A-9A9B5A34BECA}"/>
              </a:ext>
            </a:extLst>
          </p:cNvPr>
          <p:cNvSpPr/>
          <p:nvPr/>
        </p:nvSpPr>
        <p:spPr bwMode="auto">
          <a:xfrm>
            <a:off x="9728274" y="3600016"/>
            <a:ext cx="540560" cy="693296"/>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Freeform 182">
            <a:extLst>
              <a:ext uri="{FF2B5EF4-FFF2-40B4-BE49-F238E27FC236}">
                <a16:creationId xmlns:a16="http://schemas.microsoft.com/office/drawing/2014/main" id="{8FF6082E-4A29-4F90-994D-80D4727098BA}"/>
              </a:ext>
            </a:extLst>
          </p:cNvPr>
          <p:cNvSpPr/>
          <p:nvPr/>
        </p:nvSpPr>
        <p:spPr bwMode="auto">
          <a:xfrm>
            <a:off x="9728274" y="3359966"/>
            <a:ext cx="540560" cy="693296"/>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Freeform 182">
            <a:extLst>
              <a:ext uri="{FF2B5EF4-FFF2-40B4-BE49-F238E27FC236}">
                <a16:creationId xmlns:a16="http://schemas.microsoft.com/office/drawing/2014/main" id="{D4224B1B-D3BF-4242-9EEE-09D695F71204}"/>
              </a:ext>
            </a:extLst>
          </p:cNvPr>
          <p:cNvSpPr/>
          <p:nvPr/>
        </p:nvSpPr>
        <p:spPr bwMode="auto">
          <a:xfrm>
            <a:off x="10737534" y="3431255"/>
            <a:ext cx="540560" cy="855269"/>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Freeform 182">
            <a:extLst>
              <a:ext uri="{FF2B5EF4-FFF2-40B4-BE49-F238E27FC236}">
                <a16:creationId xmlns:a16="http://schemas.microsoft.com/office/drawing/2014/main" id="{3287115D-B1B3-4241-8809-A7C97A77B9A6}"/>
              </a:ext>
            </a:extLst>
          </p:cNvPr>
          <p:cNvSpPr/>
          <p:nvPr/>
        </p:nvSpPr>
        <p:spPr bwMode="auto">
          <a:xfrm>
            <a:off x="10737534" y="2975373"/>
            <a:ext cx="540560" cy="693296"/>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5FE3F6FF-4DFD-4E99-AC73-5656A01407D5}"/>
              </a:ext>
            </a:extLst>
          </p:cNvPr>
          <p:cNvSpPr/>
          <p:nvPr/>
        </p:nvSpPr>
        <p:spPr>
          <a:xfrm>
            <a:off x="5239296" y="4905959"/>
            <a:ext cx="1167307"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78D7"/>
                </a:solidFill>
                <a:effectLst/>
                <a:uLnTx/>
                <a:uFillTx/>
                <a:latin typeface="Segoe UI"/>
                <a:ea typeface="+mn-ea"/>
                <a:cs typeface="+mn-cs"/>
              </a:rPr>
              <a:t>Standard</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aphicFrame>
        <p:nvGraphicFramePr>
          <p:cNvPr id="30" name="Table 29">
            <a:extLst>
              <a:ext uri="{FF2B5EF4-FFF2-40B4-BE49-F238E27FC236}">
                <a16:creationId xmlns:a16="http://schemas.microsoft.com/office/drawing/2014/main" id="{845A5BFE-FEF4-436C-8B8C-D3915B4AD689}"/>
              </a:ext>
            </a:extLst>
          </p:cNvPr>
          <p:cNvGraphicFramePr>
            <a:graphicFrameLocks noGrp="1"/>
          </p:cNvGraphicFramePr>
          <p:nvPr>
            <p:extLst/>
          </p:nvPr>
        </p:nvGraphicFramePr>
        <p:xfrm>
          <a:off x="6553439" y="5426159"/>
          <a:ext cx="4978210" cy="365760"/>
        </p:xfrm>
        <a:graphic>
          <a:graphicData uri="http://schemas.openxmlformats.org/drawingml/2006/table">
            <a:tbl>
              <a:tblPr>
                <a:tableStyleId>{5C22544A-7EE6-4342-B048-85BDC9FD1C3A}</a:tableStyleId>
              </a:tblPr>
              <a:tblGrid>
                <a:gridCol w="995642">
                  <a:extLst>
                    <a:ext uri="{9D8B030D-6E8A-4147-A177-3AD203B41FA5}">
                      <a16:colId xmlns:a16="http://schemas.microsoft.com/office/drawing/2014/main" val="2036244271"/>
                    </a:ext>
                  </a:extLst>
                </a:gridCol>
                <a:gridCol w="995642">
                  <a:extLst>
                    <a:ext uri="{9D8B030D-6E8A-4147-A177-3AD203B41FA5}">
                      <a16:colId xmlns:a16="http://schemas.microsoft.com/office/drawing/2014/main" val="20003"/>
                    </a:ext>
                  </a:extLst>
                </a:gridCol>
                <a:gridCol w="995642">
                  <a:extLst>
                    <a:ext uri="{9D8B030D-6E8A-4147-A177-3AD203B41FA5}">
                      <a16:colId xmlns:a16="http://schemas.microsoft.com/office/drawing/2014/main" val="20004"/>
                    </a:ext>
                  </a:extLst>
                </a:gridCol>
                <a:gridCol w="995642">
                  <a:extLst>
                    <a:ext uri="{9D8B030D-6E8A-4147-A177-3AD203B41FA5}">
                      <a16:colId xmlns:a16="http://schemas.microsoft.com/office/drawing/2014/main" val="2806863412"/>
                    </a:ext>
                  </a:extLst>
                </a:gridCol>
                <a:gridCol w="995642">
                  <a:extLst>
                    <a:ext uri="{9D8B030D-6E8A-4147-A177-3AD203B41FA5}">
                      <a16:colId xmlns:a16="http://schemas.microsoft.com/office/drawing/2014/main" val="1475134852"/>
                    </a:ext>
                  </a:extLst>
                </a:gridCol>
              </a:tblGrid>
              <a:tr h="355295">
                <a:tc>
                  <a:txBody>
                    <a:bodyPr/>
                    <a:lstStyle/>
                    <a:p>
                      <a:pPr algn="ctr"/>
                      <a:r>
                        <a:rPr lang="en-US" b="1" dirty="0">
                          <a:solidFill>
                            <a:srgbClr val="FFFFFF"/>
                          </a:solidFill>
                          <a:latin typeface="+mn-lt"/>
                        </a:rPr>
                        <a:t>125</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BAD80A"/>
                    </a:solidFill>
                  </a:tcPr>
                </a:tc>
                <a:tc>
                  <a:txBody>
                    <a:bodyPr/>
                    <a:lstStyle/>
                    <a:p>
                      <a:pPr algn="ctr"/>
                      <a:r>
                        <a:rPr lang="en-US" b="1" dirty="0">
                          <a:solidFill>
                            <a:srgbClr val="FFFFFF"/>
                          </a:solidFill>
                          <a:latin typeface="+mn-lt"/>
                        </a:rPr>
                        <a:t>50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BAD80A"/>
                    </a:solidFill>
                  </a:tcPr>
                </a:tc>
                <a:tc>
                  <a:txBody>
                    <a:bodyPr/>
                    <a:lstStyle/>
                    <a:p>
                      <a:pPr algn="ctr"/>
                      <a:r>
                        <a:rPr lang="en-US" b="1" dirty="0">
                          <a:solidFill>
                            <a:srgbClr val="FFFFFF"/>
                          </a:solidFill>
                          <a:latin typeface="+mn-lt"/>
                        </a:rPr>
                        <a:t>1,00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BAD80A"/>
                    </a:solidFill>
                  </a:tcPr>
                </a:tc>
                <a:tc>
                  <a:txBody>
                    <a:bodyPr/>
                    <a:lstStyle/>
                    <a:p>
                      <a:pPr algn="ctr"/>
                      <a:r>
                        <a:rPr lang="en-US" sz="1800" b="1" kern="1200" dirty="0">
                          <a:solidFill>
                            <a:srgbClr val="FFFFFF"/>
                          </a:solidFill>
                          <a:latin typeface="+mn-lt"/>
                          <a:ea typeface="+mn-ea"/>
                          <a:cs typeface="+mn-cs"/>
                        </a:rPr>
                        <a:t>1,75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BAD80A"/>
                    </a:solidFill>
                  </a:tcPr>
                </a:tc>
                <a:tc>
                  <a:txBody>
                    <a:bodyPr/>
                    <a:lstStyle/>
                    <a:p>
                      <a:pPr algn="ctr"/>
                      <a:r>
                        <a:rPr lang="en-US" sz="1800" b="1" kern="1200" dirty="0">
                          <a:solidFill>
                            <a:srgbClr val="FFFFFF"/>
                          </a:solidFill>
                          <a:latin typeface="+mn-lt"/>
                          <a:ea typeface="+mn-ea"/>
                          <a:cs typeface="+mn-cs"/>
                        </a:rPr>
                        <a:t>4,00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80A"/>
                    </a:solidFill>
                  </a:tcPr>
                </a:tc>
                <a:extLst>
                  <a:ext uri="{0D108BD9-81ED-4DB2-BD59-A6C34878D82A}">
                    <a16:rowId xmlns:a16="http://schemas.microsoft.com/office/drawing/2014/main" val="594647120"/>
                  </a:ext>
                </a:extLst>
              </a:tr>
            </a:tbl>
          </a:graphicData>
        </a:graphic>
      </p:graphicFrame>
      <p:sp>
        <p:nvSpPr>
          <p:cNvPr id="4" name="Rectangle 3">
            <a:extLst>
              <a:ext uri="{FF2B5EF4-FFF2-40B4-BE49-F238E27FC236}">
                <a16:creationId xmlns:a16="http://schemas.microsoft.com/office/drawing/2014/main" id="{96338DD3-05A6-4655-8C81-C53F37E6CC1A}"/>
              </a:ext>
            </a:extLst>
          </p:cNvPr>
          <p:cNvSpPr/>
          <p:nvPr/>
        </p:nvSpPr>
        <p:spPr>
          <a:xfrm>
            <a:off x="5236090" y="5391984"/>
            <a:ext cx="1170513"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107C10"/>
                </a:solidFill>
                <a:effectLst/>
                <a:uLnTx/>
                <a:uFillTx/>
                <a:latin typeface="Segoe UI"/>
                <a:ea typeface="+mn-ea"/>
                <a:cs typeface="+mn-cs"/>
              </a:rPr>
              <a:t>Premium</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3" name="Group 12"/>
          <p:cNvGrpSpPr/>
          <p:nvPr/>
        </p:nvGrpSpPr>
        <p:grpSpPr>
          <a:xfrm>
            <a:off x="7585408" y="5329775"/>
            <a:ext cx="942334" cy="558528"/>
            <a:chOff x="5485162" y="5752002"/>
            <a:chExt cx="693772" cy="882944"/>
          </a:xfrm>
        </p:grpSpPr>
        <p:sp>
          <p:nvSpPr>
            <p:cNvPr id="19" name="Rectangle 18"/>
            <p:cNvSpPr/>
            <p:nvPr/>
          </p:nvSpPr>
          <p:spPr bwMode="auto">
            <a:xfrm>
              <a:off x="5485162" y="6386229"/>
              <a:ext cx="693772" cy="24871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Freeform 19"/>
            <p:cNvSpPr/>
            <p:nvPr/>
          </p:nvSpPr>
          <p:spPr bwMode="auto">
            <a:xfrm>
              <a:off x="5485162" y="5752002"/>
              <a:ext cx="693772" cy="882944"/>
            </a:xfrm>
            <a:custGeom>
              <a:avLst/>
              <a:gdLst>
                <a:gd name="connsiteX0" fmla="*/ 303845 w 693772"/>
                <a:gd name="connsiteY0" fmla="*/ 0 h 1052514"/>
                <a:gd name="connsiteX1" fmla="*/ 389927 w 693772"/>
                <a:gd name="connsiteY1" fmla="*/ 0 h 1052514"/>
                <a:gd name="connsiteX2" fmla="*/ 693772 w 693772"/>
                <a:gd name="connsiteY2" fmla="*/ 526257 h 1052514"/>
                <a:gd name="connsiteX3" fmla="*/ 693772 w 693772"/>
                <a:gd name="connsiteY3" fmla="*/ 1052514 h 1052514"/>
                <a:gd name="connsiteX4" fmla="*/ 0 w 693772"/>
                <a:gd name="connsiteY4" fmla="*/ 1052514 h 1052514"/>
                <a:gd name="connsiteX5" fmla="*/ 0 w 693772"/>
                <a:gd name="connsiteY5" fmla="*/ 526257 h 1052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3772" h="1052514">
                  <a:moveTo>
                    <a:pt x="303845" y="0"/>
                  </a:moveTo>
                  <a:lnTo>
                    <a:pt x="389927" y="0"/>
                  </a:lnTo>
                  <a:lnTo>
                    <a:pt x="693772" y="526257"/>
                  </a:lnTo>
                  <a:lnTo>
                    <a:pt x="693772" y="1052514"/>
                  </a:lnTo>
                  <a:lnTo>
                    <a:pt x="0" y="1052514"/>
                  </a:lnTo>
                  <a:lnTo>
                    <a:pt x="0" y="526257"/>
                  </a:lnTo>
                  <a:close/>
                </a:path>
              </a:pathLst>
            </a:custGeom>
            <a:noFill/>
            <a:ln w="571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1" name="Straight Arrow Connector 20"/>
            <p:cNvCxnSpPr/>
            <p:nvPr/>
          </p:nvCxnSpPr>
          <p:spPr>
            <a:xfrm>
              <a:off x="5553503" y="6525659"/>
              <a:ext cx="550097" cy="0"/>
            </a:xfrm>
            <a:prstGeom prst="straightConnector1">
              <a:avLst/>
            </a:prstGeom>
            <a:ln w="1905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graphicFrame>
        <p:nvGraphicFramePr>
          <p:cNvPr id="37" name="Table 36">
            <a:extLst>
              <a:ext uri="{FF2B5EF4-FFF2-40B4-BE49-F238E27FC236}">
                <a16:creationId xmlns:a16="http://schemas.microsoft.com/office/drawing/2014/main" id="{03F655BC-FC1B-4C7B-899B-6589B3F0D712}"/>
              </a:ext>
            </a:extLst>
          </p:cNvPr>
          <p:cNvGraphicFramePr>
            <a:graphicFrameLocks noGrp="1"/>
          </p:cNvGraphicFramePr>
          <p:nvPr>
            <p:extLst/>
          </p:nvPr>
        </p:nvGraphicFramePr>
        <p:xfrm>
          <a:off x="6547279" y="4402947"/>
          <a:ext cx="995642" cy="365760"/>
        </p:xfrm>
        <a:graphic>
          <a:graphicData uri="http://schemas.openxmlformats.org/drawingml/2006/table">
            <a:tbl>
              <a:tblPr>
                <a:tableStyleId>{5C22544A-7EE6-4342-B048-85BDC9FD1C3A}</a:tableStyleId>
              </a:tblPr>
              <a:tblGrid>
                <a:gridCol w="995642">
                  <a:extLst>
                    <a:ext uri="{9D8B030D-6E8A-4147-A177-3AD203B41FA5}">
                      <a16:colId xmlns:a16="http://schemas.microsoft.com/office/drawing/2014/main" val="2036244271"/>
                    </a:ext>
                  </a:extLst>
                </a:gridCol>
              </a:tblGrid>
              <a:tr h="355295">
                <a:tc>
                  <a:txBody>
                    <a:bodyPr/>
                    <a:lstStyle/>
                    <a:p>
                      <a:pPr algn="ctr"/>
                      <a:r>
                        <a:rPr lang="en-US" b="1" dirty="0">
                          <a:solidFill>
                            <a:srgbClr val="FFFFFF"/>
                          </a:solidFill>
                          <a:latin typeface="+mn-lt"/>
                        </a:rPr>
                        <a:t>5</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594647120"/>
                  </a:ext>
                </a:extLst>
              </a:tr>
            </a:tbl>
          </a:graphicData>
        </a:graphic>
      </p:graphicFrame>
      <p:sp>
        <p:nvSpPr>
          <p:cNvPr id="5" name="Rectangle 4">
            <a:extLst>
              <a:ext uri="{FF2B5EF4-FFF2-40B4-BE49-F238E27FC236}">
                <a16:creationId xmlns:a16="http://schemas.microsoft.com/office/drawing/2014/main" id="{070DA43E-53CA-4A75-8C53-EA5323D067A4}"/>
              </a:ext>
            </a:extLst>
          </p:cNvPr>
          <p:cNvSpPr/>
          <p:nvPr/>
        </p:nvSpPr>
        <p:spPr>
          <a:xfrm>
            <a:off x="5237001" y="4413107"/>
            <a:ext cx="732893"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lumMod val="50000"/>
                  </a:srgbClr>
                </a:solidFill>
                <a:effectLst/>
                <a:uLnTx/>
                <a:uFillTx/>
                <a:latin typeface="Segoe UI"/>
                <a:ea typeface="+mn-ea"/>
                <a:cs typeface="+mn-cs"/>
              </a:rPr>
              <a:t>Basic</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3" name="Rectangle 42">
            <a:extLst>
              <a:ext uri="{FF2B5EF4-FFF2-40B4-BE49-F238E27FC236}">
                <a16:creationId xmlns:a16="http://schemas.microsoft.com/office/drawing/2014/main" id="{1A0BF1C4-90EC-4D7E-9BD4-339431381217}"/>
              </a:ext>
            </a:extLst>
          </p:cNvPr>
          <p:cNvSpPr/>
          <p:nvPr/>
        </p:nvSpPr>
        <p:spPr>
          <a:xfrm>
            <a:off x="7372350" y="6540393"/>
            <a:ext cx="4352923" cy="258532"/>
          </a:xfrm>
          <a:prstGeom prst="rect">
            <a:avLst/>
          </a:prstGeom>
        </p:spPr>
        <p:txBody>
          <a:bodyPr wrap="square">
            <a:sp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lumMod val="50000"/>
                  </a:srgbClr>
                </a:solidFill>
                <a:effectLst/>
                <a:uLnTx/>
                <a:uFillTx/>
                <a:latin typeface="Segoe UI"/>
                <a:ea typeface="Segoe UI" panose="020B0502040204020203" pitchFamily="34" charset="0"/>
                <a:cs typeface="Segoe UI" panose="020B0502040204020203" pitchFamily="34" charset="0"/>
              </a:rPr>
              <a:t>*Higher DTU S4, S6, S7, S9, S12 Standard tiers in preview</a:t>
            </a:r>
          </a:p>
        </p:txBody>
      </p:sp>
    </p:spTree>
    <p:extLst>
      <p:ext uri="{BB962C8B-B14F-4D97-AF65-F5344CB8AC3E}">
        <p14:creationId xmlns:p14="http://schemas.microsoft.com/office/powerpoint/2010/main" val="174786047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15098"/>
            <a:ext cx="11642721" cy="1316945"/>
          </a:xfrm>
        </p:spPr>
        <p:txBody>
          <a:bodyPr>
            <a:normAutofit/>
          </a:bodyPr>
          <a:lstStyle/>
          <a:p>
            <a:r>
              <a:rPr lang="en-US" sz="3200" cap="all" spc="500" dirty="0">
                <a:ln w="3175">
                  <a:noFill/>
                </a:ln>
                <a:solidFill>
                  <a:srgbClr val="0078D7"/>
                </a:solidFill>
                <a:latin typeface="Segoe UI Semilight" charset="0"/>
                <a:ea typeface="+mn-ea"/>
                <a:cs typeface="Segoe UI Semilight" charset="0"/>
              </a:rPr>
              <a:t>Resource and tenant administration </a:t>
            </a:r>
            <a:br>
              <a:rPr lang="en-US" sz="4800" dirty="0"/>
            </a:br>
            <a:r>
              <a:rPr lang="en-US" sz="2400" cap="all" dirty="0">
                <a:solidFill>
                  <a:srgbClr val="0078D7"/>
                </a:solidFill>
              </a:rPr>
              <a:t>Elastic database pools </a:t>
            </a:r>
          </a:p>
        </p:txBody>
      </p:sp>
      <p:sp>
        <p:nvSpPr>
          <p:cNvPr id="4" name="Content Placeholder 2"/>
          <p:cNvSpPr>
            <a:spLocks noGrp="1"/>
          </p:cNvSpPr>
          <p:nvPr>
            <p:ph type="body" sz="quarter" idx="10"/>
          </p:nvPr>
        </p:nvSpPr>
        <p:spPr>
          <a:xfrm>
            <a:off x="274638" y="2357133"/>
            <a:ext cx="3973758" cy="3434786"/>
          </a:xfrm>
        </p:spPr>
        <p:txBody>
          <a:bodyPr/>
          <a:lstStyle/>
          <a:p>
            <a:r>
              <a:rPr lang="en-US" sz="1800" dirty="0"/>
              <a:t>Gain automatic management and administration of compute and storage across unlimited databases </a:t>
            </a:r>
          </a:p>
          <a:p>
            <a:r>
              <a:rPr lang="en-US" sz="1800" dirty="0"/>
              <a:t>Cap your spending and maximize utilization </a:t>
            </a:r>
          </a:p>
          <a:p>
            <a:r>
              <a:rPr lang="en-US" sz="1800" dirty="0"/>
              <a:t>Scale customers in multi-tenant apps or manage LOB databases effectively </a:t>
            </a:r>
          </a:p>
          <a:p>
            <a:r>
              <a:rPr lang="en-US" sz="1800" dirty="0"/>
              <a:t>Gain database-level data and </a:t>
            </a:r>
            <a:br>
              <a:rPr lang="en-US" sz="1800" dirty="0"/>
            </a:br>
            <a:r>
              <a:rPr lang="en-US" sz="1800" dirty="0"/>
              <a:t>tenant isolation </a:t>
            </a:r>
          </a:p>
        </p:txBody>
      </p:sp>
      <p:graphicFrame>
        <p:nvGraphicFramePr>
          <p:cNvPr id="7" name="Table 6"/>
          <p:cNvGraphicFramePr>
            <a:graphicFrameLocks noGrp="1"/>
          </p:cNvGraphicFramePr>
          <p:nvPr>
            <p:extLst/>
          </p:nvPr>
        </p:nvGraphicFramePr>
        <p:xfrm>
          <a:off x="6013566" y="5221984"/>
          <a:ext cx="5188857" cy="371895"/>
        </p:xfrm>
        <a:graphic>
          <a:graphicData uri="http://schemas.openxmlformats.org/drawingml/2006/table">
            <a:tbl>
              <a:tblPr>
                <a:tableStyleId>{5C22544A-7EE6-4342-B048-85BDC9FD1C3A}</a:tableStyleId>
              </a:tblPr>
              <a:tblGrid>
                <a:gridCol w="1594003">
                  <a:extLst>
                    <a:ext uri="{9D8B030D-6E8A-4147-A177-3AD203B41FA5}">
                      <a16:colId xmlns:a16="http://schemas.microsoft.com/office/drawing/2014/main" val="2036244271"/>
                    </a:ext>
                  </a:extLst>
                </a:gridCol>
                <a:gridCol w="2023321">
                  <a:extLst>
                    <a:ext uri="{9D8B030D-6E8A-4147-A177-3AD203B41FA5}">
                      <a16:colId xmlns:a16="http://schemas.microsoft.com/office/drawing/2014/main" val="2806863412"/>
                    </a:ext>
                  </a:extLst>
                </a:gridCol>
                <a:gridCol w="1571533">
                  <a:extLst>
                    <a:ext uri="{9D8B030D-6E8A-4147-A177-3AD203B41FA5}">
                      <a16:colId xmlns:a16="http://schemas.microsoft.com/office/drawing/2014/main" val="2577098201"/>
                    </a:ext>
                  </a:extLst>
                </a:gridCol>
              </a:tblGrid>
              <a:tr h="371895">
                <a:tc>
                  <a:txBody>
                    <a:bodyPr/>
                    <a:lstStyle/>
                    <a:p>
                      <a:pPr algn="ctr"/>
                      <a:r>
                        <a:rPr lang="en-US" b="0" dirty="0">
                          <a:solidFill>
                            <a:srgbClr val="FFFFFF"/>
                          </a:solidFill>
                          <a:latin typeface="Segoe UI Semilight" panose="020B0402040204020203" pitchFamily="34" charset="0"/>
                          <a:cs typeface="Segoe UI Semilight" panose="020B0402040204020203" pitchFamily="34" charset="0"/>
                        </a:rPr>
                        <a:t>Basic</a:t>
                      </a:r>
                    </a:p>
                  </a:txBody>
                  <a:tcPr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bg1">
                        <a:lumMod val="75000"/>
                      </a:schemeClr>
                    </a:solidFill>
                  </a:tcPr>
                </a:tc>
                <a:tc>
                  <a:txBody>
                    <a:bodyPr/>
                    <a:lstStyle/>
                    <a:p>
                      <a:pPr algn="ctr"/>
                      <a:r>
                        <a:rPr lang="en-US" b="1" dirty="0">
                          <a:solidFill>
                            <a:srgbClr val="FFFFFF"/>
                          </a:solidFill>
                          <a:latin typeface="Segoe UI" panose="020B0502040204020203" pitchFamily="34" charset="0"/>
                          <a:cs typeface="Segoe UI" panose="020B0502040204020203" pitchFamily="34" charset="0"/>
                        </a:rPr>
                        <a:t>Standard</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0078D7"/>
                    </a:solidFill>
                  </a:tcPr>
                </a:tc>
                <a:tc>
                  <a:txBody>
                    <a:bodyPr/>
                    <a:lstStyle/>
                    <a:p>
                      <a:pPr algn="ctr"/>
                      <a:r>
                        <a:rPr lang="en-US" b="1" dirty="0">
                          <a:solidFill>
                            <a:srgbClr val="FFFFFF"/>
                          </a:solidFill>
                          <a:latin typeface="Segoe UI" panose="020B0502040204020203" pitchFamily="34" charset="0"/>
                          <a:cs typeface="Segoe UI" panose="020B0502040204020203" pitchFamily="34" charset="0"/>
                        </a:rPr>
                        <a:t>Premium</a:t>
                      </a:r>
                    </a:p>
                  </a:txBody>
                  <a:tcPr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89C402"/>
                    </a:solidFill>
                  </a:tcPr>
                </a:tc>
                <a:extLst>
                  <a:ext uri="{0D108BD9-81ED-4DB2-BD59-A6C34878D82A}">
                    <a16:rowId xmlns:a16="http://schemas.microsoft.com/office/drawing/2014/main" val="594647120"/>
                  </a:ext>
                </a:extLst>
              </a:tr>
            </a:tbl>
          </a:graphicData>
        </a:graphic>
      </p:graphicFrame>
      <p:graphicFrame>
        <p:nvGraphicFramePr>
          <p:cNvPr id="8" name="Table 7"/>
          <p:cNvGraphicFramePr>
            <a:graphicFrameLocks noGrp="1"/>
          </p:cNvGraphicFramePr>
          <p:nvPr>
            <p:extLst/>
          </p:nvPr>
        </p:nvGraphicFramePr>
        <p:xfrm>
          <a:off x="6006965" y="6173864"/>
          <a:ext cx="5202059" cy="371895"/>
        </p:xfrm>
        <a:graphic>
          <a:graphicData uri="http://schemas.openxmlformats.org/drawingml/2006/table">
            <a:tbl>
              <a:tblPr>
                <a:tableStyleId>{5C22544A-7EE6-4342-B048-85BDC9FD1C3A}</a:tableStyleId>
              </a:tblPr>
              <a:tblGrid>
                <a:gridCol w="730713">
                  <a:extLst>
                    <a:ext uri="{9D8B030D-6E8A-4147-A177-3AD203B41FA5}">
                      <a16:colId xmlns:a16="http://schemas.microsoft.com/office/drawing/2014/main" val="2036244271"/>
                    </a:ext>
                  </a:extLst>
                </a:gridCol>
                <a:gridCol w="867346">
                  <a:extLst>
                    <a:ext uri="{9D8B030D-6E8A-4147-A177-3AD203B41FA5}">
                      <a16:colId xmlns:a16="http://schemas.microsoft.com/office/drawing/2014/main" val="67562925"/>
                    </a:ext>
                  </a:extLst>
                </a:gridCol>
                <a:gridCol w="965271">
                  <a:extLst>
                    <a:ext uri="{9D8B030D-6E8A-4147-A177-3AD203B41FA5}">
                      <a16:colId xmlns:a16="http://schemas.microsoft.com/office/drawing/2014/main" val="2806863412"/>
                    </a:ext>
                  </a:extLst>
                </a:gridCol>
                <a:gridCol w="1063198">
                  <a:extLst>
                    <a:ext uri="{9D8B030D-6E8A-4147-A177-3AD203B41FA5}">
                      <a16:colId xmlns:a16="http://schemas.microsoft.com/office/drawing/2014/main" val="1475134852"/>
                    </a:ext>
                  </a:extLst>
                </a:gridCol>
                <a:gridCol w="1575531">
                  <a:extLst>
                    <a:ext uri="{9D8B030D-6E8A-4147-A177-3AD203B41FA5}">
                      <a16:colId xmlns:a16="http://schemas.microsoft.com/office/drawing/2014/main" val="2577098201"/>
                    </a:ext>
                  </a:extLst>
                </a:gridCol>
              </a:tblGrid>
              <a:tr h="371895">
                <a:tc>
                  <a:txBody>
                    <a:bodyPr/>
                    <a:lstStyle/>
                    <a:p>
                      <a:pPr algn="ctr"/>
                      <a:r>
                        <a:rPr lang="en-US" b="0" dirty="0">
                          <a:solidFill>
                            <a:srgbClr val="FFFFFF"/>
                          </a:solidFill>
                          <a:latin typeface="Segoe UI Semilight" panose="020B0402040204020203" pitchFamily="34" charset="0"/>
                          <a:cs typeface="Segoe UI Semilight" panose="020B0402040204020203" pitchFamily="34" charset="0"/>
                        </a:rPr>
                        <a:t>125</a:t>
                      </a:r>
                    </a:p>
                  </a:txBody>
                  <a:tcPr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BBBCBE"/>
                    </a:solidFill>
                  </a:tcPr>
                </a:tc>
                <a:tc>
                  <a:txBody>
                    <a:bodyPr/>
                    <a:lstStyle/>
                    <a:p>
                      <a:pPr algn="ctr"/>
                      <a:r>
                        <a:rPr lang="en-US" b="1" i="0" dirty="0">
                          <a:solidFill>
                            <a:srgbClr val="FFFFFF"/>
                          </a:solidFill>
                          <a:latin typeface="Segoe UI" panose="020B0502040204020203" pitchFamily="34" charset="0"/>
                          <a:cs typeface="Segoe UI" panose="020B0502040204020203" pitchFamily="34" charset="0"/>
                        </a:rPr>
                        <a:t>20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0078D7"/>
                    </a:solidFill>
                  </a:tcPr>
                </a:tc>
                <a:tc>
                  <a:txBody>
                    <a:bodyPr/>
                    <a:lstStyle/>
                    <a:p>
                      <a:pPr algn="ctr"/>
                      <a:r>
                        <a:rPr lang="en-US" b="1" i="0" dirty="0">
                          <a:solidFill>
                            <a:srgbClr val="FFFFFF"/>
                          </a:solidFill>
                          <a:latin typeface="Segoe UI" panose="020B0502040204020203" pitchFamily="34" charset="0"/>
                          <a:cs typeface="Segoe UI" panose="020B0502040204020203" pitchFamily="34" charset="0"/>
                        </a:rPr>
                        <a:t>40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0078D7"/>
                    </a:solidFill>
                  </a:tcPr>
                </a:tc>
                <a:tc>
                  <a:txBody>
                    <a:bodyPr/>
                    <a:lstStyle/>
                    <a:p>
                      <a:pPr algn="ctr"/>
                      <a:r>
                        <a:rPr lang="en-US" b="1" i="0" dirty="0">
                          <a:solidFill>
                            <a:srgbClr val="FFFFFF"/>
                          </a:solidFill>
                          <a:latin typeface="Segoe UI" panose="020B0502040204020203" pitchFamily="34" charset="0"/>
                          <a:cs typeface="Segoe UI" panose="020B0502040204020203" pitchFamily="34" charset="0"/>
                        </a:rPr>
                        <a:t>1,00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89C402"/>
                    </a:solidFill>
                  </a:tcPr>
                </a:tc>
                <a:tc>
                  <a:txBody>
                    <a:bodyPr/>
                    <a:lstStyle/>
                    <a:p>
                      <a:pPr algn="ctr"/>
                      <a:r>
                        <a:rPr lang="en-US" b="0" dirty="0">
                          <a:solidFill>
                            <a:srgbClr val="FFFFFF"/>
                          </a:solidFill>
                          <a:latin typeface="Segoe UI Semilight" panose="020B0402040204020203" pitchFamily="34" charset="0"/>
                          <a:cs typeface="Segoe UI Semilight" panose="020B0402040204020203" pitchFamily="34" charset="0"/>
                        </a:rPr>
                        <a:t>1,200</a:t>
                      </a:r>
                    </a:p>
                  </a:txBody>
                  <a:tcPr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594647120"/>
                  </a:ext>
                </a:extLst>
              </a:tr>
            </a:tbl>
          </a:graphicData>
        </a:graphic>
      </p:graphicFrame>
      <p:sp>
        <p:nvSpPr>
          <p:cNvPr id="10" name="Rectangle 9"/>
          <p:cNvSpPr/>
          <p:nvPr/>
        </p:nvSpPr>
        <p:spPr bwMode="auto">
          <a:xfrm>
            <a:off x="11000654" y="5102254"/>
            <a:ext cx="168486" cy="602496"/>
          </a:xfrm>
          <a:prstGeom prst="rect">
            <a:avLst/>
          </a:prstGeom>
          <a:solidFill>
            <a:srgbClr val="FFFFFF"/>
          </a:solidFill>
          <a:ln w="285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10" name="Group 309"/>
          <p:cNvGrpSpPr/>
          <p:nvPr/>
        </p:nvGrpSpPr>
        <p:grpSpPr>
          <a:xfrm>
            <a:off x="6663920" y="6064527"/>
            <a:ext cx="3035048" cy="602496"/>
            <a:chOff x="1645606" y="5917570"/>
            <a:chExt cx="3035048" cy="602496"/>
          </a:xfrm>
        </p:grpSpPr>
        <p:sp>
          <p:nvSpPr>
            <p:cNvPr id="11" name="Rectangle 10"/>
            <p:cNvSpPr/>
            <p:nvPr/>
          </p:nvSpPr>
          <p:spPr bwMode="auto">
            <a:xfrm>
              <a:off x="1645606" y="5917570"/>
              <a:ext cx="168486" cy="602496"/>
            </a:xfrm>
            <a:prstGeom prst="rect">
              <a:avLst/>
            </a:prstGeom>
            <a:solidFill>
              <a:srgbClr val="FFFFFF"/>
            </a:solidFill>
            <a:ln w="285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11"/>
            <p:cNvSpPr/>
            <p:nvPr/>
          </p:nvSpPr>
          <p:spPr bwMode="auto">
            <a:xfrm>
              <a:off x="4512168" y="5917570"/>
              <a:ext cx="168486" cy="602496"/>
            </a:xfrm>
            <a:prstGeom prst="rect">
              <a:avLst/>
            </a:prstGeom>
            <a:solidFill>
              <a:srgbClr val="FFFFFF"/>
            </a:solidFill>
            <a:ln w="285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 name="Rectangle 12"/>
          <p:cNvSpPr/>
          <p:nvPr/>
        </p:nvSpPr>
        <p:spPr>
          <a:xfrm>
            <a:off x="6234115" y="5724854"/>
            <a:ext cx="4747758" cy="286232"/>
          </a:xfrm>
          <a:prstGeom prst="rect">
            <a:avLst/>
          </a:prstGeom>
        </p:spPr>
        <p:txBody>
          <a:bodyPr wrap="square">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Min/max DTUs per second per DB</a:t>
            </a:r>
          </a:p>
        </p:txBody>
      </p:sp>
      <p:grpSp>
        <p:nvGrpSpPr>
          <p:cNvPr id="61" name="Group 60"/>
          <p:cNvGrpSpPr/>
          <p:nvPr/>
        </p:nvGrpSpPr>
        <p:grpSpPr>
          <a:xfrm>
            <a:off x="6809791" y="2423696"/>
            <a:ext cx="3479386" cy="2072070"/>
            <a:chOff x="1657076" y="2483903"/>
            <a:chExt cx="3748188" cy="2232149"/>
          </a:xfrm>
        </p:grpSpPr>
        <p:grpSp>
          <p:nvGrpSpPr>
            <p:cNvPr id="273" name="Group 272"/>
            <p:cNvGrpSpPr/>
            <p:nvPr/>
          </p:nvGrpSpPr>
          <p:grpSpPr>
            <a:xfrm>
              <a:off x="1657076" y="3139185"/>
              <a:ext cx="1178707" cy="1576867"/>
              <a:chOff x="432378" y="3187550"/>
              <a:chExt cx="1178707" cy="1576867"/>
            </a:xfrm>
          </p:grpSpPr>
          <p:grpSp>
            <p:nvGrpSpPr>
              <p:cNvPr id="274" name="Group 273"/>
              <p:cNvGrpSpPr/>
              <p:nvPr/>
            </p:nvGrpSpPr>
            <p:grpSpPr>
              <a:xfrm>
                <a:off x="432378" y="3490271"/>
                <a:ext cx="1178707" cy="609439"/>
                <a:chOff x="1329597" y="3742168"/>
                <a:chExt cx="1129205" cy="609439"/>
              </a:xfrm>
            </p:grpSpPr>
            <p:sp>
              <p:nvSpPr>
                <p:cNvPr id="277" name="Freeform 6"/>
                <p:cNvSpPr>
                  <a:spLocks/>
                </p:cNvSpPr>
                <p:nvPr/>
              </p:nvSpPr>
              <p:spPr bwMode="auto">
                <a:xfrm>
                  <a:off x="1360282" y="3915941"/>
                  <a:ext cx="1067836" cy="43566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8" name="Freeform 7"/>
                <p:cNvSpPr>
                  <a:spLocks/>
                </p:cNvSpPr>
                <p:nvPr/>
              </p:nvSpPr>
              <p:spPr bwMode="auto">
                <a:xfrm>
                  <a:off x="1329597" y="3776468"/>
                  <a:ext cx="1129205" cy="518649"/>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9" name="Freeform 8"/>
                <p:cNvSpPr>
                  <a:spLocks/>
                </p:cNvSpPr>
                <p:nvPr/>
              </p:nvSpPr>
              <p:spPr bwMode="auto">
                <a:xfrm>
                  <a:off x="1331642" y="3742168"/>
                  <a:ext cx="1125114" cy="398321"/>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275" name="Freeform 274"/>
              <p:cNvSpPr/>
              <p:nvPr/>
            </p:nvSpPr>
            <p:spPr bwMode="auto">
              <a:xfrm>
                <a:off x="463975" y="3868289"/>
                <a:ext cx="1111889" cy="896128"/>
              </a:xfrm>
              <a:custGeom>
                <a:avLst/>
                <a:gdLst>
                  <a:gd name="connsiteX0" fmla="*/ 0 w 1111889"/>
                  <a:gd name="connsiteY0" fmla="*/ 0 h 896128"/>
                  <a:gd name="connsiteX1" fmla="*/ 849 w 1111889"/>
                  <a:gd name="connsiteY1" fmla="*/ 0 h 896128"/>
                  <a:gd name="connsiteX2" fmla="*/ 2870 w 1111889"/>
                  <a:gd name="connsiteY2" fmla="*/ 16326 h 896128"/>
                  <a:gd name="connsiteX3" fmla="*/ 555944 w 1111889"/>
                  <a:gd name="connsiteY3" fmla="*/ 219916 h 896128"/>
                  <a:gd name="connsiteX4" fmla="*/ 1109019 w 1111889"/>
                  <a:gd name="connsiteY4" fmla="*/ 16326 h 896128"/>
                  <a:gd name="connsiteX5" fmla="*/ 1111040 w 1111889"/>
                  <a:gd name="connsiteY5" fmla="*/ 0 h 896128"/>
                  <a:gd name="connsiteX6" fmla="*/ 1111888 w 1111889"/>
                  <a:gd name="connsiteY6" fmla="*/ 0 h 896128"/>
                  <a:gd name="connsiteX7" fmla="*/ 1111888 w 1111889"/>
                  <a:gd name="connsiteY7" fmla="*/ 33547 h 896128"/>
                  <a:gd name="connsiteX8" fmla="*/ 1111889 w 1111889"/>
                  <a:gd name="connsiteY8" fmla="*/ 669349 h 896128"/>
                  <a:gd name="connsiteX9" fmla="*/ 1111889 w 1111889"/>
                  <a:gd name="connsiteY9" fmla="*/ 669351 h 896128"/>
                  <a:gd name="connsiteX10" fmla="*/ 1111889 w 1111889"/>
                  <a:gd name="connsiteY10" fmla="*/ 669353 h 896128"/>
                  <a:gd name="connsiteX11" fmla="*/ 1111889 w 1111889"/>
                  <a:gd name="connsiteY11" fmla="*/ 676212 h 896128"/>
                  <a:gd name="connsiteX12" fmla="*/ 1111040 w 1111889"/>
                  <a:gd name="connsiteY12" fmla="*/ 676212 h 896128"/>
                  <a:gd name="connsiteX13" fmla="*/ 1109019 w 1111889"/>
                  <a:gd name="connsiteY13" fmla="*/ 692538 h 896128"/>
                  <a:gd name="connsiteX14" fmla="*/ 555944 w 1111889"/>
                  <a:gd name="connsiteY14" fmla="*/ 896128 h 896128"/>
                  <a:gd name="connsiteX15" fmla="*/ 2870 w 1111889"/>
                  <a:gd name="connsiteY15" fmla="*/ 692538 h 896128"/>
                  <a:gd name="connsiteX16" fmla="*/ 849 w 1111889"/>
                  <a:gd name="connsiteY16" fmla="*/ 676212 h 896128"/>
                  <a:gd name="connsiteX17" fmla="*/ 0 w 1111889"/>
                  <a:gd name="connsiteY17" fmla="*/ 676212 h 896128"/>
                  <a:gd name="connsiteX18" fmla="*/ 0 w 1111889"/>
                  <a:gd name="connsiteY18" fmla="*/ 669351 h 896128"/>
                  <a:gd name="connsiteX19" fmla="*/ 0 w 1111889"/>
                  <a:gd name="connsiteY19" fmla="*/ 0 h 896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1889" h="896128">
                    <a:moveTo>
                      <a:pt x="0" y="0"/>
                    </a:moveTo>
                    <a:lnTo>
                      <a:pt x="849" y="0"/>
                    </a:lnTo>
                    <a:lnTo>
                      <a:pt x="2870" y="16326"/>
                    </a:lnTo>
                    <a:cubicBezTo>
                      <a:pt x="31340" y="130679"/>
                      <a:pt x="268095" y="219916"/>
                      <a:pt x="555944" y="219916"/>
                    </a:cubicBezTo>
                    <a:cubicBezTo>
                      <a:pt x="843794" y="219916"/>
                      <a:pt x="1080549" y="130679"/>
                      <a:pt x="1109019" y="16326"/>
                    </a:cubicBezTo>
                    <a:lnTo>
                      <a:pt x="1111040" y="0"/>
                    </a:lnTo>
                    <a:lnTo>
                      <a:pt x="1111888" y="0"/>
                    </a:lnTo>
                    <a:lnTo>
                      <a:pt x="1111888" y="33547"/>
                    </a:lnTo>
                    <a:cubicBezTo>
                      <a:pt x="1111889" y="277250"/>
                      <a:pt x="1111889" y="568047"/>
                      <a:pt x="1111889" y="669349"/>
                    </a:cubicBezTo>
                    <a:lnTo>
                      <a:pt x="1111889" y="669351"/>
                    </a:lnTo>
                    <a:lnTo>
                      <a:pt x="1111889" y="669353"/>
                    </a:lnTo>
                    <a:lnTo>
                      <a:pt x="1111889" y="676212"/>
                    </a:lnTo>
                    <a:lnTo>
                      <a:pt x="1111040" y="676212"/>
                    </a:lnTo>
                    <a:lnTo>
                      <a:pt x="1109019" y="692538"/>
                    </a:lnTo>
                    <a:cubicBezTo>
                      <a:pt x="1080549" y="806891"/>
                      <a:pt x="843794" y="896128"/>
                      <a:pt x="555944" y="896128"/>
                    </a:cubicBezTo>
                    <a:cubicBezTo>
                      <a:pt x="268095" y="896128"/>
                      <a:pt x="31340" y="806891"/>
                      <a:pt x="2870" y="692538"/>
                    </a:cubicBezTo>
                    <a:lnTo>
                      <a:pt x="849" y="676212"/>
                    </a:lnTo>
                    <a:lnTo>
                      <a:pt x="0" y="676212"/>
                    </a:lnTo>
                    <a:lnTo>
                      <a:pt x="0" y="669351"/>
                    </a:lnTo>
                    <a:lnTo>
                      <a:pt x="0" y="0"/>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Black" panose="020B0A02040204020203" pitchFamily="34" charset="0"/>
                    <a:cs typeface="Segoe UI" panose="020B0502040204020203" pitchFamily="34" charset="0"/>
                  </a:rPr>
                  <a:t>Customer </a:t>
                </a:r>
                <a:b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Black" panose="020B0A02040204020203" pitchFamily="34" charset="0"/>
                    <a:cs typeface="Segoe UI" panose="020B0502040204020203" pitchFamily="34" charset="0"/>
                  </a:rPr>
                </a:br>
                <a: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Black" panose="020B0A02040204020203" pitchFamily="34" charset="0"/>
                    <a:cs typeface="Segoe UI" panose="020B0502040204020203" pitchFamily="34" charset="0"/>
                  </a:rPr>
                  <a:t>1</a:t>
                </a:r>
              </a:p>
            </p:txBody>
          </p:sp>
          <p:sp>
            <p:nvSpPr>
              <p:cNvPr id="276" name="Freeform 275"/>
              <p:cNvSpPr/>
              <p:nvPr/>
            </p:nvSpPr>
            <p:spPr bwMode="auto">
              <a:xfrm>
                <a:off x="463975" y="3187550"/>
                <a:ext cx="1111887" cy="639743"/>
              </a:xfrm>
              <a:custGeom>
                <a:avLst/>
                <a:gdLst>
                  <a:gd name="connsiteX0" fmla="*/ 555943 w 1111887"/>
                  <a:gd name="connsiteY0" fmla="*/ 0 h 639743"/>
                  <a:gd name="connsiteX1" fmla="*/ 1109018 w 1111887"/>
                  <a:gd name="connsiteY1" fmla="*/ 203591 h 639743"/>
                  <a:gd name="connsiteX2" fmla="*/ 1111039 w 1111887"/>
                  <a:gd name="connsiteY2" fmla="*/ 219917 h 639743"/>
                  <a:gd name="connsiteX3" fmla="*/ 1111887 w 1111887"/>
                  <a:gd name="connsiteY3" fmla="*/ 219917 h 639743"/>
                  <a:gd name="connsiteX4" fmla="*/ 1111887 w 1111887"/>
                  <a:gd name="connsiteY4" fmla="*/ 226777 h 639743"/>
                  <a:gd name="connsiteX5" fmla="*/ 1111887 w 1111887"/>
                  <a:gd name="connsiteY5" fmla="*/ 363247 h 639743"/>
                  <a:gd name="connsiteX6" fmla="*/ 1111887 w 1111887"/>
                  <a:gd name="connsiteY6" fmla="*/ 419827 h 639743"/>
                  <a:gd name="connsiteX7" fmla="*/ 1111040 w 1111887"/>
                  <a:gd name="connsiteY7" fmla="*/ 419827 h 639743"/>
                  <a:gd name="connsiteX8" fmla="*/ 1109019 w 1111887"/>
                  <a:gd name="connsiteY8" fmla="*/ 436153 h 639743"/>
                  <a:gd name="connsiteX9" fmla="*/ 555944 w 1111887"/>
                  <a:gd name="connsiteY9" fmla="*/ 639743 h 639743"/>
                  <a:gd name="connsiteX10" fmla="*/ 2870 w 1111887"/>
                  <a:gd name="connsiteY10" fmla="*/ 436153 h 639743"/>
                  <a:gd name="connsiteX11" fmla="*/ 849 w 1111887"/>
                  <a:gd name="connsiteY11" fmla="*/ 419827 h 639743"/>
                  <a:gd name="connsiteX12" fmla="*/ 0 w 1111887"/>
                  <a:gd name="connsiteY12" fmla="*/ 419827 h 639743"/>
                  <a:gd name="connsiteX13" fmla="*/ 0 w 1111887"/>
                  <a:gd name="connsiteY13" fmla="*/ 412966 h 639743"/>
                  <a:gd name="connsiteX14" fmla="*/ 0 w 1111887"/>
                  <a:gd name="connsiteY14" fmla="*/ 226767 h 639743"/>
                  <a:gd name="connsiteX15" fmla="*/ 2869 w 1111887"/>
                  <a:gd name="connsiteY15" fmla="*/ 203591 h 639743"/>
                  <a:gd name="connsiteX16" fmla="*/ 555943 w 1111887"/>
                  <a:gd name="connsiteY16" fmla="*/ 0 h 639743"/>
                  <a:gd name="connsiteX17" fmla="*/ 555943 w 1111887"/>
                  <a:gd name="connsiteY17" fmla="*/ 81811 h 639743"/>
                  <a:gd name="connsiteX18" fmla="*/ 172206 w 1111887"/>
                  <a:gd name="connsiteY18" fmla="*/ 194437 h 639743"/>
                  <a:gd name="connsiteX19" fmla="*/ 555943 w 1111887"/>
                  <a:gd name="connsiteY19" fmla="*/ 307062 h 639743"/>
                  <a:gd name="connsiteX20" fmla="*/ 939680 w 1111887"/>
                  <a:gd name="connsiteY20" fmla="*/ 194437 h 639743"/>
                  <a:gd name="connsiteX21" fmla="*/ 555943 w 1111887"/>
                  <a:gd name="connsiteY21" fmla="*/ 81811 h 639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11887" h="639743">
                    <a:moveTo>
                      <a:pt x="555943" y="0"/>
                    </a:moveTo>
                    <a:cubicBezTo>
                      <a:pt x="843792" y="0"/>
                      <a:pt x="1080548" y="89237"/>
                      <a:pt x="1109018" y="203591"/>
                    </a:cubicBezTo>
                    <a:lnTo>
                      <a:pt x="1111039" y="219917"/>
                    </a:lnTo>
                    <a:lnTo>
                      <a:pt x="1111887" y="219917"/>
                    </a:lnTo>
                    <a:lnTo>
                      <a:pt x="1111887" y="226777"/>
                    </a:lnTo>
                    <a:cubicBezTo>
                      <a:pt x="1111887" y="257382"/>
                      <a:pt x="1111887" y="305002"/>
                      <a:pt x="1111887" y="363247"/>
                    </a:cubicBezTo>
                    <a:lnTo>
                      <a:pt x="1111887" y="419827"/>
                    </a:lnTo>
                    <a:lnTo>
                      <a:pt x="1111040" y="419827"/>
                    </a:lnTo>
                    <a:lnTo>
                      <a:pt x="1109019" y="436153"/>
                    </a:lnTo>
                    <a:cubicBezTo>
                      <a:pt x="1080549" y="550506"/>
                      <a:pt x="843794" y="639743"/>
                      <a:pt x="555944" y="639743"/>
                    </a:cubicBezTo>
                    <a:cubicBezTo>
                      <a:pt x="268095" y="639743"/>
                      <a:pt x="31340" y="550506"/>
                      <a:pt x="2870" y="436153"/>
                    </a:cubicBezTo>
                    <a:lnTo>
                      <a:pt x="849" y="419827"/>
                    </a:lnTo>
                    <a:lnTo>
                      <a:pt x="0" y="419827"/>
                    </a:lnTo>
                    <a:lnTo>
                      <a:pt x="0" y="412966"/>
                    </a:lnTo>
                    <a:lnTo>
                      <a:pt x="0" y="226767"/>
                    </a:lnTo>
                    <a:lnTo>
                      <a:pt x="2869" y="203591"/>
                    </a:lnTo>
                    <a:cubicBezTo>
                      <a:pt x="31339" y="89237"/>
                      <a:pt x="268093" y="0"/>
                      <a:pt x="555943" y="0"/>
                    </a:cubicBezTo>
                    <a:close/>
                    <a:moveTo>
                      <a:pt x="555943" y="81811"/>
                    </a:moveTo>
                    <a:cubicBezTo>
                      <a:pt x="344011" y="81811"/>
                      <a:pt x="172206" y="132234"/>
                      <a:pt x="172206" y="194437"/>
                    </a:cubicBezTo>
                    <a:cubicBezTo>
                      <a:pt x="172206" y="256638"/>
                      <a:pt x="344011" y="307062"/>
                      <a:pt x="555943" y="307062"/>
                    </a:cubicBezTo>
                    <a:cubicBezTo>
                      <a:pt x="767875" y="307062"/>
                      <a:pt x="939680" y="256638"/>
                      <a:pt x="939680" y="194437"/>
                    </a:cubicBezTo>
                    <a:cubicBezTo>
                      <a:pt x="939680" y="132234"/>
                      <a:pt x="767875" y="81811"/>
                      <a:pt x="555943" y="81811"/>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80" name="Group 279"/>
            <p:cNvGrpSpPr/>
            <p:nvPr/>
          </p:nvGrpSpPr>
          <p:grpSpPr>
            <a:xfrm>
              <a:off x="4224422" y="2911096"/>
              <a:ext cx="1180842" cy="1804956"/>
              <a:chOff x="1758300" y="2959461"/>
              <a:chExt cx="1180842" cy="1804956"/>
            </a:xfrm>
          </p:grpSpPr>
          <p:grpSp>
            <p:nvGrpSpPr>
              <p:cNvPr id="281" name="Group 280"/>
              <p:cNvGrpSpPr/>
              <p:nvPr/>
            </p:nvGrpSpPr>
            <p:grpSpPr>
              <a:xfrm>
                <a:off x="1760435" y="3490271"/>
                <a:ext cx="1178707" cy="609439"/>
                <a:chOff x="1329597" y="3742168"/>
                <a:chExt cx="1129205" cy="609439"/>
              </a:xfrm>
            </p:grpSpPr>
            <p:sp>
              <p:nvSpPr>
                <p:cNvPr id="288" name="Freeform 6"/>
                <p:cNvSpPr>
                  <a:spLocks/>
                </p:cNvSpPr>
                <p:nvPr/>
              </p:nvSpPr>
              <p:spPr bwMode="auto">
                <a:xfrm>
                  <a:off x="1360282" y="3915941"/>
                  <a:ext cx="1067836" cy="43566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9" name="Freeform 7"/>
                <p:cNvSpPr>
                  <a:spLocks/>
                </p:cNvSpPr>
                <p:nvPr/>
              </p:nvSpPr>
              <p:spPr bwMode="auto">
                <a:xfrm>
                  <a:off x="1329597" y="3776468"/>
                  <a:ext cx="1129205" cy="518649"/>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0" name="Freeform 8"/>
                <p:cNvSpPr>
                  <a:spLocks/>
                </p:cNvSpPr>
                <p:nvPr/>
              </p:nvSpPr>
              <p:spPr bwMode="auto">
                <a:xfrm>
                  <a:off x="1331642" y="3742168"/>
                  <a:ext cx="1125114" cy="398321"/>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282" name="Freeform 281"/>
              <p:cNvSpPr/>
              <p:nvPr/>
            </p:nvSpPr>
            <p:spPr bwMode="auto">
              <a:xfrm>
                <a:off x="1792032" y="3868289"/>
                <a:ext cx="1111889" cy="896128"/>
              </a:xfrm>
              <a:custGeom>
                <a:avLst/>
                <a:gdLst>
                  <a:gd name="connsiteX0" fmla="*/ 0 w 1111889"/>
                  <a:gd name="connsiteY0" fmla="*/ 0 h 896128"/>
                  <a:gd name="connsiteX1" fmla="*/ 849 w 1111889"/>
                  <a:gd name="connsiteY1" fmla="*/ 0 h 896128"/>
                  <a:gd name="connsiteX2" fmla="*/ 2870 w 1111889"/>
                  <a:gd name="connsiteY2" fmla="*/ 16326 h 896128"/>
                  <a:gd name="connsiteX3" fmla="*/ 555944 w 1111889"/>
                  <a:gd name="connsiteY3" fmla="*/ 219916 h 896128"/>
                  <a:gd name="connsiteX4" fmla="*/ 1109019 w 1111889"/>
                  <a:gd name="connsiteY4" fmla="*/ 16326 h 896128"/>
                  <a:gd name="connsiteX5" fmla="*/ 1111040 w 1111889"/>
                  <a:gd name="connsiteY5" fmla="*/ 0 h 896128"/>
                  <a:gd name="connsiteX6" fmla="*/ 1111888 w 1111889"/>
                  <a:gd name="connsiteY6" fmla="*/ 0 h 896128"/>
                  <a:gd name="connsiteX7" fmla="*/ 1111888 w 1111889"/>
                  <a:gd name="connsiteY7" fmla="*/ 33547 h 896128"/>
                  <a:gd name="connsiteX8" fmla="*/ 1111889 w 1111889"/>
                  <a:gd name="connsiteY8" fmla="*/ 669349 h 896128"/>
                  <a:gd name="connsiteX9" fmla="*/ 1111889 w 1111889"/>
                  <a:gd name="connsiteY9" fmla="*/ 669351 h 896128"/>
                  <a:gd name="connsiteX10" fmla="*/ 1111889 w 1111889"/>
                  <a:gd name="connsiteY10" fmla="*/ 669353 h 896128"/>
                  <a:gd name="connsiteX11" fmla="*/ 1111889 w 1111889"/>
                  <a:gd name="connsiteY11" fmla="*/ 676212 h 896128"/>
                  <a:gd name="connsiteX12" fmla="*/ 1111040 w 1111889"/>
                  <a:gd name="connsiteY12" fmla="*/ 676212 h 896128"/>
                  <a:gd name="connsiteX13" fmla="*/ 1109019 w 1111889"/>
                  <a:gd name="connsiteY13" fmla="*/ 692538 h 896128"/>
                  <a:gd name="connsiteX14" fmla="*/ 555944 w 1111889"/>
                  <a:gd name="connsiteY14" fmla="*/ 896128 h 896128"/>
                  <a:gd name="connsiteX15" fmla="*/ 2870 w 1111889"/>
                  <a:gd name="connsiteY15" fmla="*/ 692538 h 896128"/>
                  <a:gd name="connsiteX16" fmla="*/ 849 w 1111889"/>
                  <a:gd name="connsiteY16" fmla="*/ 676212 h 896128"/>
                  <a:gd name="connsiteX17" fmla="*/ 0 w 1111889"/>
                  <a:gd name="connsiteY17" fmla="*/ 676212 h 896128"/>
                  <a:gd name="connsiteX18" fmla="*/ 0 w 1111889"/>
                  <a:gd name="connsiteY18" fmla="*/ 669351 h 896128"/>
                  <a:gd name="connsiteX19" fmla="*/ 0 w 1111889"/>
                  <a:gd name="connsiteY19" fmla="*/ 0 h 896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1889" h="896128">
                    <a:moveTo>
                      <a:pt x="0" y="0"/>
                    </a:moveTo>
                    <a:lnTo>
                      <a:pt x="849" y="0"/>
                    </a:lnTo>
                    <a:lnTo>
                      <a:pt x="2870" y="16326"/>
                    </a:lnTo>
                    <a:cubicBezTo>
                      <a:pt x="31340" y="130679"/>
                      <a:pt x="268095" y="219916"/>
                      <a:pt x="555944" y="219916"/>
                    </a:cubicBezTo>
                    <a:cubicBezTo>
                      <a:pt x="843794" y="219916"/>
                      <a:pt x="1080549" y="130679"/>
                      <a:pt x="1109019" y="16326"/>
                    </a:cubicBezTo>
                    <a:lnTo>
                      <a:pt x="1111040" y="0"/>
                    </a:lnTo>
                    <a:lnTo>
                      <a:pt x="1111888" y="0"/>
                    </a:lnTo>
                    <a:lnTo>
                      <a:pt x="1111888" y="33547"/>
                    </a:lnTo>
                    <a:cubicBezTo>
                      <a:pt x="1111889" y="277250"/>
                      <a:pt x="1111889" y="568047"/>
                      <a:pt x="1111889" y="669349"/>
                    </a:cubicBezTo>
                    <a:lnTo>
                      <a:pt x="1111889" y="669351"/>
                    </a:lnTo>
                    <a:lnTo>
                      <a:pt x="1111889" y="669353"/>
                    </a:lnTo>
                    <a:lnTo>
                      <a:pt x="1111889" y="676212"/>
                    </a:lnTo>
                    <a:lnTo>
                      <a:pt x="1111040" y="676212"/>
                    </a:lnTo>
                    <a:lnTo>
                      <a:pt x="1109019" y="692538"/>
                    </a:lnTo>
                    <a:cubicBezTo>
                      <a:pt x="1080549" y="806891"/>
                      <a:pt x="843794" y="896128"/>
                      <a:pt x="555944" y="896128"/>
                    </a:cubicBezTo>
                    <a:cubicBezTo>
                      <a:pt x="268095" y="896128"/>
                      <a:pt x="31340" y="806891"/>
                      <a:pt x="2870" y="692538"/>
                    </a:cubicBezTo>
                    <a:lnTo>
                      <a:pt x="849" y="676212"/>
                    </a:lnTo>
                    <a:lnTo>
                      <a:pt x="0" y="676212"/>
                    </a:lnTo>
                    <a:lnTo>
                      <a:pt x="0" y="669351"/>
                    </a:lnTo>
                    <a:lnTo>
                      <a:pt x="0" y="0"/>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Black" panose="020B0A02040204020203" pitchFamily="34" charset="0"/>
                    <a:cs typeface="Segoe UI" panose="020B0502040204020203" pitchFamily="34" charset="0"/>
                  </a:rPr>
                  <a:t>Customer</a:t>
                </a:r>
                <a:b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Black" panose="020B0A02040204020203" pitchFamily="34" charset="0"/>
                    <a:cs typeface="Segoe UI" panose="020B0502040204020203" pitchFamily="34" charset="0"/>
                  </a:rPr>
                </a:br>
                <a: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Black" panose="020B0A02040204020203" pitchFamily="34" charset="0"/>
                    <a:cs typeface="Segoe UI" panose="020B0502040204020203" pitchFamily="34" charset="0"/>
                  </a:rPr>
                  <a:t>N</a:t>
                </a:r>
              </a:p>
            </p:txBody>
          </p:sp>
          <p:grpSp>
            <p:nvGrpSpPr>
              <p:cNvPr id="283" name="Group 282"/>
              <p:cNvGrpSpPr/>
              <p:nvPr/>
            </p:nvGrpSpPr>
            <p:grpSpPr>
              <a:xfrm>
                <a:off x="1758300" y="3272438"/>
                <a:ext cx="1178707" cy="609439"/>
                <a:chOff x="1329597" y="3742168"/>
                <a:chExt cx="1129205" cy="609439"/>
              </a:xfrm>
            </p:grpSpPr>
            <p:sp>
              <p:nvSpPr>
                <p:cNvPr id="285" name="Freeform 6"/>
                <p:cNvSpPr>
                  <a:spLocks/>
                </p:cNvSpPr>
                <p:nvPr/>
              </p:nvSpPr>
              <p:spPr bwMode="auto">
                <a:xfrm>
                  <a:off x="1360282" y="3915941"/>
                  <a:ext cx="1067836" cy="43566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6" name="Freeform 7"/>
                <p:cNvSpPr>
                  <a:spLocks/>
                </p:cNvSpPr>
                <p:nvPr/>
              </p:nvSpPr>
              <p:spPr bwMode="auto">
                <a:xfrm>
                  <a:off x="1329597" y="3776468"/>
                  <a:ext cx="1129205" cy="518649"/>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7" name="Freeform 8"/>
                <p:cNvSpPr>
                  <a:spLocks/>
                </p:cNvSpPr>
                <p:nvPr/>
              </p:nvSpPr>
              <p:spPr bwMode="auto">
                <a:xfrm>
                  <a:off x="1331642" y="3742168"/>
                  <a:ext cx="1125114" cy="398321"/>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284" name="Freeform 283"/>
              <p:cNvSpPr/>
              <p:nvPr/>
            </p:nvSpPr>
            <p:spPr bwMode="auto">
              <a:xfrm>
                <a:off x="1792032" y="2959461"/>
                <a:ext cx="1111887" cy="639743"/>
              </a:xfrm>
              <a:custGeom>
                <a:avLst/>
                <a:gdLst>
                  <a:gd name="connsiteX0" fmla="*/ 555943 w 1111887"/>
                  <a:gd name="connsiteY0" fmla="*/ 0 h 639743"/>
                  <a:gd name="connsiteX1" fmla="*/ 1109018 w 1111887"/>
                  <a:gd name="connsiteY1" fmla="*/ 203591 h 639743"/>
                  <a:gd name="connsiteX2" fmla="*/ 1111039 w 1111887"/>
                  <a:gd name="connsiteY2" fmla="*/ 219917 h 639743"/>
                  <a:gd name="connsiteX3" fmla="*/ 1111887 w 1111887"/>
                  <a:gd name="connsiteY3" fmla="*/ 219917 h 639743"/>
                  <a:gd name="connsiteX4" fmla="*/ 1111887 w 1111887"/>
                  <a:gd name="connsiteY4" fmla="*/ 226777 h 639743"/>
                  <a:gd name="connsiteX5" fmla="*/ 1111887 w 1111887"/>
                  <a:gd name="connsiteY5" fmla="*/ 363247 h 639743"/>
                  <a:gd name="connsiteX6" fmla="*/ 1111887 w 1111887"/>
                  <a:gd name="connsiteY6" fmla="*/ 419827 h 639743"/>
                  <a:gd name="connsiteX7" fmla="*/ 1111040 w 1111887"/>
                  <a:gd name="connsiteY7" fmla="*/ 419827 h 639743"/>
                  <a:gd name="connsiteX8" fmla="*/ 1109019 w 1111887"/>
                  <a:gd name="connsiteY8" fmla="*/ 436153 h 639743"/>
                  <a:gd name="connsiteX9" fmla="*/ 555944 w 1111887"/>
                  <a:gd name="connsiteY9" fmla="*/ 639743 h 639743"/>
                  <a:gd name="connsiteX10" fmla="*/ 2870 w 1111887"/>
                  <a:gd name="connsiteY10" fmla="*/ 436153 h 639743"/>
                  <a:gd name="connsiteX11" fmla="*/ 849 w 1111887"/>
                  <a:gd name="connsiteY11" fmla="*/ 419827 h 639743"/>
                  <a:gd name="connsiteX12" fmla="*/ 0 w 1111887"/>
                  <a:gd name="connsiteY12" fmla="*/ 419827 h 639743"/>
                  <a:gd name="connsiteX13" fmla="*/ 0 w 1111887"/>
                  <a:gd name="connsiteY13" fmla="*/ 412966 h 639743"/>
                  <a:gd name="connsiteX14" fmla="*/ 0 w 1111887"/>
                  <a:gd name="connsiteY14" fmla="*/ 226767 h 639743"/>
                  <a:gd name="connsiteX15" fmla="*/ 2869 w 1111887"/>
                  <a:gd name="connsiteY15" fmla="*/ 203591 h 639743"/>
                  <a:gd name="connsiteX16" fmla="*/ 555943 w 1111887"/>
                  <a:gd name="connsiteY16" fmla="*/ 0 h 639743"/>
                  <a:gd name="connsiteX17" fmla="*/ 555943 w 1111887"/>
                  <a:gd name="connsiteY17" fmla="*/ 81811 h 639743"/>
                  <a:gd name="connsiteX18" fmla="*/ 172206 w 1111887"/>
                  <a:gd name="connsiteY18" fmla="*/ 194437 h 639743"/>
                  <a:gd name="connsiteX19" fmla="*/ 555943 w 1111887"/>
                  <a:gd name="connsiteY19" fmla="*/ 307062 h 639743"/>
                  <a:gd name="connsiteX20" fmla="*/ 939680 w 1111887"/>
                  <a:gd name="connsiteY20" fmla="*/ 194437 h 639743"/>
                  <a:gd name="connsiteX21" fmla="*/ 555943 w 1111887"/>
                  <a:gd name="connsiteY21" fmla="*/ 81811 h 639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11887" h="639743">
                    <a:moveTo>
                      <a:pt x="555943" y="0"/>
                    </a:moveTo>
                    <a:cubicBezTo>
                      <a:pt x="843792" y="0"/>
                      <a:pt x="1080548" y="89237"/>
                      <a:pt x="1109018" y="203591"/>
                    </a:cubicBezTo>
                    <a:lnTo>
                      <a:pt x="1111039" y="219917"/>
                    </a:lnTo>
                    <a:lnTo>
                      <a:pt x="1111887" y="219917"/>
                    </a:lnTo>
                    <a:lnTo>
                      <a:pt x="1111887" y="226777"/>
                    </a:lnTo>
                    <a:cubicBezTo>
                      <a:pt x="1111887" y="257382"/>
                      <a:pt x="1111887" y="305002"/>
                      <a:pt x="1111887" y="363247"/>
                    </a:cubicBezTo>
                    <a:lnTo>
                      <a:pt x="1111887" y="419827"/>
                    </a:lnTo>
                    <a:lnTo>
                      <a:pt x="1111040" y="419827"/>
                    </a:lnTo>
                    <a:lnTo>
                      <a:pt x="1109019" y="436153"/>
                    </a:lnTo>
                    <a:cubicBezTo>
                      <a:pt x="1080549" y="550506"/>
                      <a:pt x="843794" y="639743"/>
                      <a:pt x="555944" y="639743"/>
                    </a:cubicBezTo>
                    <a:cubicBezTo>
                      <a:pt x="268095" y="639743"/>
                      <a:pt x="31340" y="550506"/>
                      <a:pt x="2870" y="436153"/>
                    </a:cubicBezTo>
                    <a:lnTo>
                      <a:pt x="849" y="419827"/>
                    </a:lnTo>
                    <a:lnTo>
                      <a:pt x="0" y="419827"/>
                    </a:lnTo>
                    <a:lnTo>
                      <a:pt x="0" y="412966"/>
                    </a:lnTo>
                    <a:lnTo>
                      <a:pt x="0" y="226767"/>
                    </a:lnTo>
                    <a:lnTo>
                      <a:pt x="2869" y="203591"/>
                    </a:lnTo>
                    <a:cubicBezTo>
                      <a:pt x="31339" y="89237"/>
                      <a:pt x="268093" y="0"/>
                      <a:pt x="555943" y="0"/>
                    </a:cubicBezTo>
                    <a:close/>
                    <a:moveTo>
                      <a:pt x="555943" y="81811"/>
                    </a:moveTo>
                    <a:cubicBezTo>
                      <a:pt x="344011" y="81811"/>
                      <a:pt x="172206" y="132234"/>
                      <a:pt x="172206" y="194437"/>
                    </a:cubicBezTo>
                    <a:cubicBezTo>
                      <a:pt x="172206" y="256638"/>
                      <a:pt x="344011" y="307062"/>
                      <a:pt x="555943" y="307062"/>
                    </a:cubicBezTo>
                    <a:cubicBezTo>
                      <a:pt x="767875" y="307062"/>
                      <a:pt x="939680" y="256638"/>
                      <a:pt x="939680" y="194437"/>
                    </a:cubicBezTo>
                    <a:cubicBezTo>
                      <a:pt x="939680" y="132234"/>
                      <a:pt x="767875" y="81811"/>
                      <a:pt x="555943" y="81811"/>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91" name="Group 290"/>
            <p:cNvGrpSpPr/>
            <p:nvPr/>
          </p:nvGrpSpPr>
          <p:grpSpPr>
            <a:xfrm>
              <a:off x="2936845" y="2483903"/>
              <a:ext cx="1186515" cy="2232149"/>
              <a:chOff x="4436501" y="2566568"/>
              <a:chExt cx="1186515" cy="2232149"/>
            </a:xfrm>
          </p:grpSpPr>
          <p:grpSp>
            <p:nvGrpSpPr>
              <p:cNvPr id="292" name="Group 291"/>
              <p:cNvGrpSpPr/>
              <p:nvPr/>
            </p:nvGrpSpPr>
            <p:grpSpPr>
              <a:xfrm>
                <a:off x="4444309" y="3524571"/>
                <a:ext cx="1178707" cy="609439"/>
                <a:chOff x="1329597" y="3742168"/>
                <a:chExt cx="1129205" cy="609439"/>
              </a:xfrm>
            </p:grpSpPr>
            <p:sp>
              <p:nvSpPr>
                <p:cNvPr id="307" name="Freeform 6"/>
                <p:cNvSpPr>
                  <a:spLocks/>
                </p:cNvSpPr>
                <p:nvPr/>
              </p:nvSpPr>
              <p:spPr bwMode="auto">
                <a:xfrm>
                  <a:off x="1360282" y="3915941"/>
                  <a:ext cx="1067836" cy="43566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8" name="Freeform 7"/>
                <p:cNvSpPr>
                  <a:spLocks/>
                </p:cNvSpPr>
                <p:nvPr/>
              </p:nvSpPr>
              <p:spPr bwMode="auto">
                <a:xfrm>
                  <a:off x="1329597" y="3776468"/>
                  <a:ext cx="1129205" cy="518649"/>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9" name="Freeform 8"/>
                <p:cNvSpPr>
                  <a:spLocks/>
                </p:cNvSpPr>
                <p:nvPr/>
              </p:nvSpPr>
              <p:spPr bwMode="auto">
                <a:xfrm>
                  <a:off x="1331642" y="3742168"/>
                  <a:ext cx="1125114" cy="398321"/>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293" name="Freeform 292"/>
              <p:cNvSpPr/>
              <p:nvPr/>
            </p:nvSpPr>
            <p:spPr bwMode="auto">
              <a:xfrm>
                <a:off x="4475906" y="3902589"/>
                <a:ext cx="1111889" cy="896128"/>
              </a:xfrm>
              <a:custGeom>
                <a:avLst/>
                <a:gdLst>
                  <a:gd name="connsiteX0" fmla="*/ 0 w 1111889"/>
                  <a:gd name="connsiteY0" fmla="*/ 0 h 896128"/>
                  <a:gd name="connsiteX1" fmla="*/ 849 w 1111889"/>
                  <a:gd name="connsiteY1" fmla="*/ 0 h 896128"/>
                  <a:gd name="connsiteX2" fmla="*/ 2870 w 1111889"/>
                  <a:gd name="connsiteY2" fmla="*/ 16326 h 896128"/>
                  <a:gd name="connsiteX3" fmla="*/ 555944 w 1111889"/>
                  <a:gd name="connsiteY3" fmla="*/ 219916 h 896128"/>
                  <a:gd name="connsiteX4" fmla="*/ 1109019 w 1111889"/>
                  <a:gd name="connsiteY4" fmla="*/ 16326 h 896128"/>
                  <a:gd name="connsiteX5" fmla="*/ 1111040 w 1111889"/>
                  <a:gd name="connsiteY5" fmla="*/ 0 h 896128"/>
                  <a:gd name="connsiteX6" fmla="*/ 1111888 w 1111889"/>
                  <a:gd name="connsiteY6" fmla="*/ 0 h 896128"/>
                  <a:gd name="connsiteX7" fmla="*/ 1111888 w 1111889"/>
                  <a:gd name="connsiteY7" fmla="*/ 33547 h 896128"/>
                  <a:gd name="connsiteX8" fmla="*/ 1111889 w 1111889"/>
                  <a:gd name="connsiteY8" fmla="*/ 669349 h 896128"/>
                  <a:gd name="connsiteX9" fmla="*/ 1111889 w 1111889"/>
                  <a:gd name="connsiteY9" fmla="*/ 669351 h 896128"/>
                  <a:gd name="connsiteX10" fmla="*/ 1111889 w 1111889"/>
                  <a:gd name="connsiteY10" fmla="*/ 669353 h 896128"/>
                  <a:gd name="connsiteX11" fmla="*/ 1111889 w 1111889"/>
                  <a:gd name="connsiteY11" fmla="*/ 676212 h 896128"/>
                  <a:gd name="connsiteX12" fmla="*/ 1111040 w 1111889"/>
                  <a:gd name="connsiteY12" fmla="*/ 676212 h 896128"/>
                  <a:gd name="connsiteX13" fmla="*/ 1109019 w 1111889"/>
                  <a:gd name="connsiteY13" fmla="*/ 692538 h 896128"/>
                  <a:gd name="connsiteX14" fmla="*/ 555944 w 1111889"/>
                  <a:gd name="connsiteY14" fmla="*/ 896128 h 896128"/>
                  <a:gd name="connsiteX15" fmla="*/ 2870 w 1111889"/>
                  <a:gd name="connsiteY15" fmla="*/ 692538 h 896128"/>
                  <a:gd name="connsiteX16" fmla="*/ 849 w 1111889"/>
                  <a:gd name="connsiteY16" fmla="*/ 676212 h 896128"/>
                  <a:gd name="connsiteX17" fmla="*/ 0 w 1111889"/>
                  <a:gd name="connsiteY17" fmla="*/ 676212 h 896128"/>
                  <a:gd name="connsiteX18" fmla="*/ 0 w 1111889"/>
                  <a:gd name="connsiteY18" fmla="*/ 669351 h 896128"/>
                  <a:gd name="connsiteX19" fmla="*/ 0 w 1111889"/>
                  <a:gd name="connsiteY19" fmla="*/ 0 h 896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1889" h="896128">
                    <a:moveTo>
                      <a:pt x="0" y="0"/>
                    </a:moveTo>
                    <a:lnTo>
                      <a:pt x="849" y="0"/>
                    </a:lnTo>
                    <a:lnTo>
                      <a:pt x="2870" y="16326"/>
                    </a:lnTo>
                    <a:cubicBezTo>
                      <a:pt x="31340" y="130679"/>
                      <a:pt x="268095" y="219916"/>
                      <a:pt x="555944" y="219916"/>
                    </a:cubicBezTo>
                    <a:cubicBezTo>
                      <a:pt x="843794" y="219916"/>
                      <a:pt x="1080549" y="130679"/>
                      <a:pt x="1109019" y="16326"/>
                    </a:cubicBezTo>
                    <a:lnTo>
                      <a:pt x="1111040" y="0"/>
                    </a:lnTo>
                    <a:lnTo>
                      <a:pt x="1111888" y="0"/>
                    </a:lnTo>
                    <a:lnTo>
                      <a:pt x="1111888" y="33547"/>
                    </a:lnTo>
                    <a:cubicBezTo>
                      <a:pt x="1111889" y="277250"/>
                      <a:pt x="1111889" y="568047"/>
                      <a:pt x="1111889" y="669349"/>
                    </a:cubicBezTo>
                    <a:lnTo>
                      <a:pt x="1111889" y="669351"/>
                    </a:lnTo>
                    <a:lnTo>
                      <a:pt x="1111889" y="669353"/>
                    </a:lnTo>
                    <a:lnTo>
                      <a:pt x="1111889" y="676212"/>
                    </a:lnTo>
                    <a:lnTo>
                      <a:pt x="1111040" y="676212"/>
                    </a:lnTo>
                    <a:lnTo>
                      <a:pt x="1109019" y="692538"/>
                    </a:lnTo>
                    <a:cubicBezTo>
                      <a:pt x="1080549" y="806891"/>
                      <a:pt x="843794" y="896128"/>
                      <a:pt x="555944" y="896128"/>
                    </a:cubicBezTo>
                    <a:cubicBezTo>
                      <a:pt x="268095" y="896128"/>
                      <a:pt x="31340" y="806891"/>
                      <a:pt x="2870" y="692538"/>
                    </a:cubicBezTo>
                    <a:lnTo>
                      <a:pt x="849" y="676212"/>
                    </a:lnTo>
                    <a:lnTo>
                      <a:pt x="0" y="676212"/>
                    </a:lnTo>
                    <a:lnTo>
                      <a:pt x="0" y="669351"/>
                    </a:lnTo>
                    <a:lnTo>
                      <a:pt x="0" y="0"/>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Black" panose="020B0A02040204020203" pitchFamily="34" charset="0"/>
                    <a:cs typeface="Segoe UI" panose="020B0502040204020203" pitchFamily="34" charset="0"/>
                  </a:rPr>
                  <a:t>Customer </a:t>
                </a:r>
                <a:b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Black" panose="020B0A02040204020203" pitchFamily="34" charset="0"/>
                    <a:cs typeface="Segoe UI" panose="020B0502040204020203" pitchFamily="34" charset="0"/>
                  </a:rPr>
                </a:br>
                <a: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Black" panose="020B0A02040204020203" pitchFamily="34" charset="0"/>
                    <a:cs typeface="Segoe UI" panose="020B0502040204020203" pitchFamily="34" charset="0"/>
                  </a:rPr>
                  <a:t>2</a:t>
                </a:r>
              </a:p>
            </p:txBody>
          </p:sp>
          <p:grpSp>
            <p:nvGrpSpPr>
              <p:cNvPr id="294" name="Group 293"/>
              <p:cNvGrpSpPr/>
              <p:nvPr/>
            </p:nvGrpSpPr>
            <p:grpSpPr>
              <a:xfrm>
                <a:off x="4442174" y="3306738"/>
                <a:ext cx="1178707" cy="609439"/>
                <a:chOff x="1329597" y="3742168"/>
                <a:chExt cx="1129205" cy="609439"/>
              </a:xfrm>
            </p:grpSpPr>
            <p:sp>
              <p:nvSpPr>
                <p:cNvPr id="304" name="Freeform 6"/>
                <p:cNvSpPr>
                  <a:spLocks/>
                </p:cNvSpPr>
                <p:nvPr/>
              </p:nvSpPr>
              <p:spPr bwMode="auto">
                <a:xfrm>
                  <a:off x="1360282" y="3915941"/>
                  <a:ext cx="1067836" cy="43566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5" name="Freeform 7"/>
                <p:cNvSpPr>
                  <a:spLocks/>
                </p:cNvSpPr>
                <p:nvPr/>
              </p:nvSpPr>
              <p:spPr bwMode="auto">
                <a:xfrm>
                  <a:off x="1329597" y="3776468"/>
                  <a:ext cx="1129205" cy="518649"/>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6" name="Freeform 8"/>
                <p:cNvSpPr>
                  <a:spLocks/>
                </p:cNvSpPr>
                <p:nvPr/>
              </p:nvSpPr>
              <p:spPr bwMode="auto">
                <a:xfrm>
                  <a:off x="1331642" y="3742168"/>
                  <a:ext cx="1125114" cy="398321"/>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295" name="Group 294"/>
              <p:cNvGrpSpPr/>
              <p:nvPr/>
            </p:nvGrpSpPr>
            <p:grpSpPr>
              <a:xfrm>
                <a:off x="4438636" y="3095620"/>
                <a:ext cx="1178707" cy="609439"/>
                <a:chOff x="1329597" y="3742168"/>
                <a:chExt cx="1129205" cy="609439"/>
              </a:xfrm>
            </p:grpSpPr>
            <p:sp>
              <p:nvSpPr>
                <p:cNvPr id="301" name="Freeform 6"/>
                <p:cNvSpPr>
                  <a:spLocks/>
                </p:cNvSpPr>
                <p:nvPr/>
              </p:nvSpPr>
              <p:spPr bwMode="auto">
                <a:xfrm>
                  <a:off x="1360282" y="3915941"/>
                  <a:ext cx="1067836" cy="43566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2" name="Freeform 7"/>
                <p:cNvSpPr>
                  <a:spLocks/>
                </p:cNvSpPr>
                <p:nvPr/>
              </p:nvSpPr>
              <p:spPr bwMode="auto">
                <a:xfrm>
                  <a:off x="1329597" y="3776468"/>
                  <a:ext cx="1129205" cy="518649"/>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3" name="Freeform 8"/>
                <p:cNvSpPr>
                  <a:spLocks/>
                </p:cNvSpPr>
                <p:nvPr/>
              </p:nvSpPr>
              <p:spPr bwMode="auto">
                <a:xfrm>
                  <a:off x="1331642" y="3742168"/>
                  <a:ext cx="1125114" cy="398321"/>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296" name="Group 295"/>
              <p:cNvGrpSpPr/>
              <p:nvPr/>
            </p:nvGrpSpPr>
            <p:grpSpPr>
              <a:xfrm>
                <a:off x="4436501" y="2882770"/>
                <a:ext cx="1178707" cy="609439"/>
                <a:chOff x="1329597" y="3742168"/>
                <a:chExt cx="1129205" cy="609439"/>
              </a:xfrm>
            </p:grpSpPr>
            <p:sp>
              <p:nvSpPr>
                <p:cNvPr id="298" name="Freeform 6"/>
                <p:cNvSpPr>
                  <a:spLocks/>
                </p:cNvSpPr>
                <p:nvPr/>
              </p:nvSpPr>
              <p:spPr bwMode="auto">
                <a:xfrm>
                  <a:off x="1360282" y="3915941"/>
                  <a:ext cx="1067836" cy="43566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9" name="Freeform 7"/>
                <p:cNvSpPr>
                  <a:spLocks/>
                </p:cNvSpPr>
                <p:nvPr/>
              </p:nvSpPr>
              <p:spPr bwMode="auto">
                <a:xfrm>
                  <a:off x="1329597" y="3776468"/>
                  <a:ext cx="1129205" cy="518649"/>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0" name="Freeform 8"/>
                <p:cNvSpPr>
                  <a:spLocks/>
                </p:cNvSpPr>
                <p:nvPr/>
              </p:nvSpPr>
              <p:spPr bwMode="auto">
                <a:xfrm>
                  <a:off x="1331642" y="3742168"/>
                  <a:ext cx="1125114" cy="398321"/>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rgbClr val="00396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297" name="Freeform 296"/>
              <p:cNvSpPr/>
              <p:nvPr/>
            </p:nvSpPr>
            <p:spPr bwMode="auto">
              <a:xfrm>
                <a:off x="4475906" y="2566568"/>
                <a:ext cx="1111887" cy="639743"/>
              </a:xfrm>
              <a:custGeom>
                <a:avLst/>
                <a:gdLst>
                  <a:gd name="connsiteX0" fmla="*/ 555943 w 1111887"/>
                  <a:gd name="connsiteY0" fmla="*/ 0 h 639743"/>
                  <a:gd name="connsiteX1" fmla="*/ 1109018 w 1111887"/>
                  <a:gd name="connsiteY1" fmla="*/ 203591 h 639743"/>
                  <a:gd name="connsiteX2" fmla="*/ 1111039 w 1111887"/>
                  <a:gd name="connsiteY2" fmla="*/ 219917 h 639743"/>
                  <a:gd name="connsiteX3" fmla="*/ 1111887 w 1111887"/>
                  <a:gd name="connsiteY3" fmla="*/ 219917 h 639743"/>
                  <a:gd name="connsiteX4" fmla="*/ 1111887 w 1111887"/>
                  <a:gd name="connsiteY4" fmla="*/ 226777 h 639743"/>
                  <a:gd name="connsiteX5" fmla="*/ 1111887 w 1111887"/>
                  <a:gd name="connsiteY5" fmla="*/ 363247 h 639743"/>
                  <a:gd name="connsiteX6" fmla="*/ 1111887 w 1111887"/>
                  <a:gd name="connsiteY6" fmla="*/ 419827 h 639743"/>
                  <a:gd name="connsiteX7" fmla="*/ 1111040 w 1111887"/>
                  <a:gd name="connsiteY7" fmla="*/ 419827 h 639743"/>
                  <a:gd name="connsiteX8" fmla="*/ 1109019 w 1111887"/>
                  <a:gd name="connsiteY8" fmla="*/ 436153 h 639743"/>
                  <a:gd name="connsiteX9" fmla="*/ 555944 w 1111887"/>
                  <a:gd name="connsiteY9" fmla="*/ 639743 h 639743"/>
                  <a:gd name="connsiteX10" fmla="*/ 2870 w 1111887"/>
                  <a:gd name="connsiteY10" fmla="*/ 436153 h 639743"/>
                  <a:gd name="connsiteX11" fmla="*/ 849 w 1111887"/>
                  <a:gd name="connsiteY11" fmla="*/ 419827 h 639743"/>
                  <a:gd name="connsiteX12" fmla="*/ 0 w 1111887"/>
                  <a:gd name="connsiteY12" fmla="*/ 419827 h 639743"/>
                  <a:gd name="connsiteX13" fmla="*/ 0 w 1111887"/>
                  <a:gd name="connsiteY13" fmla="*/ 412966 h 639743"/>
                  <a:gd name="connsiteX14" fmla="*/ 0 w 1111887"/>
                  <a:gd name="connsiteY14" fmla="*/ 226767 h 639743"/>
                  <a:gd name="connsiteX15" fmla="*/ 2869 w 1111887"/>
                  <a:gd name="connsiteY15" fmla="*/ 203591 h 639743"/>
                  <a:gd name="connsiteX16" fmla="*/ 555943 w 1111887"/>
                  <a:gd name="connsiteY16" fmla="*/ 0 h 639743"/>
                  <a:gd name="connsiteX17" fmla="*/ 555943 w 1111887"/>
                  <a:gd name="connsiteY17" fmla="*/ 81811 h 639743"/>
                  <a:gd name="connsiteX18" fmla="*/ 172206 w 1111887"/>
                  <a:gd name="connsiteY18" fmla="*/ 194437 h 639743"/>
                  <a:gd name="connsiteX19" fmla="*/ 555943 w 1111887"/>
                  <a:gd name="connsiteY19" fmla="*/ 307062 h 639743"/>
                  <a:gd name="connsiteX20" fmla="*/ 939680 w 1111887"/>
                  <a:gd name="connsiteY20" fmla="*/ 194437 h 639743"/>
                  <a:gd name="connsiteX21" fmla="*/ 555943 w 1111887"/>
                  <a:gd name="connsiteY21" fmla="*/ 81811 h 639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11887" h="639743">
                    <a:moveTo>
                      <a:pt x="555943" y="0"/>
                    </a:moveTo>
                    <a:cubicBezTo>
                      <a:pt x="843792" y="0"/>
                      <a:pt x="1080548" y="89237"/>
                      <a:pt x="1109018" y="203591"/>
                    </a:cubicBezTo>
                    <a:lnTo>
                      <a:pt x="1111039" y="219917"/>
                    </a:lnTo>
                    <a:lnTo>
                      <a:pt x="1111887" y="219917"/>
                    </a:lnTo>
                    <a:lnTo>
                      <a:pt x="1111887" y="226777"/>
                    </a:lnTo>
                    <a:cubicBezTo>
                      <a:pt x="1111887" y="257382"/>
                      <a:pt x="1111887" y="305002"/>
                      <a:pt x="1111887" y="363247"/>
                    </a:cubicBezTo>
                    <a:lnTo>
                      <a:pt x="1111887" y="419827"/>
                    </a:lnTo>
                    <a:lnTo>
                      <a:pt x="1111040" y="419827"/>
                    </a:lnTo>
                    <a:lnTo>
                      <a:pt x="1109019" y="436153"/>
                    </a:lnTo>
                    <a:cubicBezTo>
                      <a:pt x="1080549" y="550506"/>
                      <a:pt x="843794" y="639743"/>
                      <a:pt x="555944" y="639743"/>
                    </a:cubicBezTo>
                    <a:cubicBezTo>
                      <a:pt x="268095" y="639743"/>
                      <a:pt x="31340" y="550506"/>
                      <a:pt x="2870" y="436153"/>
                    </a:cubicBezTo>
                    <a:lnTo>
                      <a:pt x="849" y="419827"/>
                    </a:lnTo>
                    <a:lnTo>
                      <a:pt x="0" y="419827"/>
                    </a:lnTo>
                    <a:lnTo>
                      <a:pt x="0" y="412966"/>
                    </a:lnTo>
                    <a:lnTo>
                      <a:pt x="0" y="226767"/>
                    </a:lnTo>
                    <a:lnTo>
                      <a:pt x="2869" y="203591"/>
                    </a:lnTo>
                    <a:cubicBezTo>
                      <a:pt x="31339" y="89237"/>
                      <a:pt x="268093" y="0"/>
                      <a:pt x="555943" y="0"/>
                    </a:cubicBezTo>
                    <a:close/>
                    <a:moveTo>
                      <a:pt x="555943" y="81811"/>
                    </a:moveTo>
                    <a:cubicBezTo>
                      <a:pt x="344011" y="81811"/>
                      <a:pt x="172206" y="132234"/>
                      <a:pt x="172206" y="194437"/>
                    </a:cubicBezTo>
                    <a:cubicBezTo>
                      <a:pt x="172206" y="256638"/>
                      <a:pt x="344011" y="307062"/>
                      <a:pt x="555943" y="307062"/>
                    </a:cubicBezTo>
                    <a:cubicBezTo>
                      <a:pt x="767875" y="307062"/>
                      <a:pt x="939680" y="256638"/>
                      <a:pt x="939680" y="194437"/>
                    </a:cubicBezTo>
                    <a:cubicBezTo>
                      <a:pt x="939680" y="132234"/>
                      <a:pt x="767875" y="81811"/>
                      <a:pt x="555943" y="81811"/>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0" name="Group 49"/>
          <p:cNvGrpSpPr/>
          <p:nvPr/>
        </p:nvGrpSpPr>
        <p:grpSpPr>
          <a:xfrm>
            <a:off x="11058093" y="5385795"/>
            <a:ext cx="212569" cy="340110"/>
            <a:chOff x="4527638" y="1798313"/>
            <a:chExt cx="882308" cy="1411693"/>
          </a:xfrm>
        </p:grpSpPr>
        <p:sp>
          <p:nvSpPr>
            <p:cNvPr id="51" name="Freeform 50"/>
            <p:cNvSpPr/>
            <p:nvPr/>
          </p:nvSpPr>
          <p:spPr bwMode="auto">
            <a:xfrm>
              <a:off x="4563541" y="1820908"/>
              <a:ext cx="756308" cy="1353911"/>
            </a:xfrm>
            <a:custGeom>
              <a:avLst/>
              <a:gdLst>
                <a:gd name="connsiteX0" fmla="*/ 8708 w 735874"/>
                <a:gd name="connsiteY0" fmla="*/ 0 h 1328057"/>
                <a:gd name="connsiteX1" fmla="*/ 0 w 735874"/>
                <a:gd name="connsiteY1" fmla="*/ 1040674 h 1328057"/>
                <a:gd name="connsiteX2" fmla="*/ 265611 w 735874"/>
                <a:gd name="connsiteY2" fmla="*/ 836023 h 1328057"/>
                <a:gd name="connsiteX3" fmla="*/ 531223 w 735874"/>
                <a:gd name="connsiteY3" fmla="*/ 1328057 h 1328057"/>
                <a:gd name="connsiteX4" fmla="*/ 670560 w 735874"/>
                <a:gd name="connsiteY4" fmla="*/ 1301931 h 1328057"/>
                <a:gd name="connsiteX5" fmla="*/ 705394 w 735874"/>
                <a:gd name="connsiteY5" fmla="*/ 1227908 h 1328057"/>
                <a:gd name="connsiteX6" fmla="*/ 492034 w 735874"/>
                <a:gd name="connsiteY6" fmla="*/ 744583 h 1328057"/>
                <a:gd name="connsiteX7" fmla="*/ 735874 w 735874"/>
                <a:gd name="connsiteY7" fmla="*/ 705394 h 1328057"/>
                <a:gd name="connsiteX8" fmla="*/ 8708 w 735874"/>
                <a:gd name="connsiteY8" fmla="*/ 0 h 1328057"/>
                <a:gd name="connsiteX0" fmla="*/ 566 w 739979"/>
                <a:gd name="connsiteY0" fmla="*/ 0 h 1362075"/>
                <a:gd name="connsiteX1" fmla="*/ 4105 w 739979"/>
                <a:gd name="connsiteY1" fmla="*/ 1074692 h 1362075"/>
                <a:gd name="connsiteX2" fmla="*/ 269716 w 739979"/>
                <a:gd name="connsiteY2" fmla="*/ 870041 h 1362075"/>
                <a:gd name="connsiteX3" fmla="*/ 535328 w 739979"/>
                <a:gd name="connsiteY3" fmla="*/ 1362075 h 1362075"/>
                <a:gd name="connsiteX4" fmla="*/ 674665 w 739979"/>
                <a:gd name="connsiteY4" fmla="*/ 1335949 h 1362075"/>
                <a:gd name="connsiteX5" fmla="*/ 709499 w 739979"/>
                <a:gd name="connsiteY5" fmla="*/ 1261926 h 1362075"/>
                <a:gd name="connsiteX6" fmla="*/ 496139 w 739979"/>
                <a:gd name="connsiteY6" fmla="*/ 778601 h 1362075"/>
                <a:gd name="connsiteX7" fmla="*/ 739979 w 739979"/>
                <a:gd name="connsiteY7" fmla="*/ 739412 h 1362075"/>
                <a:gd name="connsiteX8" fmla="*/ 566 w 739979"/>
                <a:gd name="connsiteY8" fmla="*/ 0 h 1362075"/>
                <a:gd name="connsiteX0" fmla="*/ 566 w 756308"/>
                <a:gd name="connsiteY0" fmla="*/ 0 h 1362075"/>
                <a:gd name="connsiteX1" fmla="*/ 4105 w 756308"/>
                <a:gd name="connsiteY1" fmla="*/ 1074692 h 1362075"/>
                <a:gd name="connsiteX2" fmla="*/ 269716 w 756308"/>
                <a:gd name="connsiteY2" fmla="*/ 870041 h 1362075"/>
                <a:gd name="connsiteX3" fmla="*/ 535328 w 756308"/>
                <a:gd name="connsiteY3" fmla="*/ 1362075 h 1362075"/>
                <a:gd name="connsiteX4" fmla="*/ 674665 w 756308"/>
                <a:gd name="connsiteY4" fmla="*/ 1335949 h 1362075"/>
                <a:gd name="connsiteX5" fmla="*/ 709499 w 756308"/>
                <a:gd name="connsiteY5" fmla="*/ 1261926 h 1362075"/>
                <a:gd name="connsiteX6" fmla="*/ 496139 w 756308"/>
                <a:gd name="connsiteY6" fmla="*/ 778601 h 1362075"/>
                <a:gd name="connsiteX7" fmla="*/ 756308 w 756308"/>
                <a:gd name="connsiteY7" fmla="*/ 763905 h 1362075"/>
                <a:gd name="connsiteX8" fmla="*/ 566 w 756308"/>
                <a:gd name="connsiteY8" fmla="*/ 0 h 1362075"/>
                <a:gd name="connsiteX0" fmla="*/ 566 w 756308"/>
                <a:gd name="connsiteY0" fmla="*/ 0 h 1362075"/>
                <a:gd name="connsiteX1" fmla="*/ 4105 w 756308"/>
                <a:gd name="connsiteY1" fmla="*/ 1074692 h 1362075"/>
                <a:gd name="connsiteX2" fmla="*/ 269716 w 756308"/>
                <a:gd name="connsiteY2" fmla="*/ 870041 h 1362075"/>
                <a:gd name="connsiteX3" fmla="*/ 535328 w 756308"/>
                <a:gd name="connsiteY3" fmla="*/ 1362075 h 1362075"/>
                <a:gd name="connsiteX4" fmla="*/ 674665 w 756308"/>
                <a:gd name="connsiteY4" fmla="*/ 1335949 h 1362075"/>
                <a:gd name="connsiteX5" fmla="*/ 709499 w 756308"/>
                <a:gd name="connsiteY5" fmla="*/ 1261926 h 1362075"/>
                <a:gd name="connsiteX6" fmla="*/ 490696 w 756308"/>
                <a:gd name="connsiteY6" fmla="*/ 755469 h 1362075"/>
                <a:gd name="connsiteX7" fmla="*/ 756308 w 756308"/>
                <a:gd name="connsiteY7" fmla="*/ 763905 h 1362075"/>
                <a:gd name="connsiteX8" fmla="*/ 566 w 756308"/>
                <a:gd name="connsiteY8" fmla="*/ 0 h 1362075"/>
                <a:gd name="connsiteX0" fmla="*/ 566 w 756308"/>
                <a:gd name="connsiteY0" fmla="*/ 0 h 1362075"/>
                <a:gd name="connsiteX1" fmla="*/ 4105 w 756308"/>
                <a:gd name="connsiteY1" fmla="*/ 1074692 h 1362075"/>
                <a:gd name="connsiteX2" fmla="*/ 269716 w 756308"/>
                <a:gd name="connsiteY2" fmla="*/ 870041 h 1362075"/>
                <a:gd name="connsiteX3" fmla="*/ 535328 w 756308"/>
                <a:gd name="connsiteY3" fmla="*/ 1362075 h 1362075"/>
                <a:gd name="connsiteX4" fmla="*/ 674665 w 756308"/>
                <a:gd name="connsiteY4" fmla="*/ 1335949 h 1362075"/>
                <a:gd name="connsiteX5" fmla="*/ 674120 w 756308"/>
                <a:gd name="connsiteY5" fmla="*/ 1279616 h 1362075"/>
                <a:gd name="connsiteX6" fmla="*/ 490696 w 756308"/>
                <a:gd name="connsiteY6" fmla="*/ 755469 h 1362075"/>
                <a:gd name="connsiteX7" fmla="*/ 756308 w 756308"/>
                <a:gd name="connsiteY7" fmla="*/ 763905 h 1362075"/>
                <a:gd name="connsiteX8" fmla="*/ 566 w 756308"/>
                <a:gd name="connsiteY8" fmla="*/ 0 h 1362075"/>
                <a:gd name="connsiteX0" fmla="*/ 566 w 756308"/>
                <a:gd name="connsiteY0" fmla="*/ 0 h 1353911"/>
                <a:gd name="connsiteX1" fmla="*/ 4105 w 756308"/>
                <a:gd name="connsiteY1" fmla="*/ 1074692 h 1353911"/>
                <a:gd name="connsiteX2" fmla="*/ 269716 w 756308"/>
                <a:gd name="connsiteY2" fmla="*/ 870041 h 1353911"/>
                <a:gd name="connsiteX3" fmla="*/ 521721 w 756308"/>
                <a:gd name="connsiteY3" fmla="*/ 1353911 h 1353911"/>
                <a:gd name="connsiteX4" fmla="*/ 674665 w 756308"/>
                <a:gd name="connsiteY4" fmla="*/ 1335949 h 1353911"/>
                <a:gd name="connsiteX5" fmla="*/ 674120 w 756308"/>
                <a:gd name="connsiteY5" fmla="*/ 1279616 h 1353911"/>
                <a:gd name="connsiteX6" fmla="*/ 490696 w 756308"/>
                <a:gd name="connsiteY6" fmla="*/ 755469 h 1353911"/>
                <a:gd name="connsiteX7" fmla="*/ 756308 w 756308"/>
                <a:gd name="connsiteY7" fmla="*/ 763905 h 1353911"/>
                <a:gd name="connsiteX8" fmla="*/ 566 w 756308"/>
                <a:gd name="connsiteY8" fmla="*/ 0 h 1353911"/>
                <a:gd name="connsiteX0" fmla="*/ 566 w 756308"/>
                <a:gd name="connsiteY0" fmla="*/ 0 h 1353911"/>
                <a:gd name="connsiteX1" fmla="*/ 4105 w 756308"/>
                <a:gd name="connsiteY1" fmla="*/ 1074692 h 1353911"/>
                <a:gd name="connsiteX2" fmla="*/ 284684 w 756308"/>
                <a:gd name="connsiteY2" fmla="*/ 864598 h 1353911"/>
                <a:gd name="connsiteX3" fmla="*/ 521721 w 756308"/>
                <a:gd name="connsiteY3" fmla="*/ 1353911 h 1353911"/>
                <a:gd name="connsiteX4" fmla="*/ 674665 w 756308"/>
                <a:gd name="connsiteY4" fmla="*/ 1335949 h 1353911"/>
                <a:gd name="connsiteX5" fmla="*/ 674120 w 756308"/>
                <a:gd name="connsiteY5" fmla="*/ 1279616 h 1353911"/>
                <a:gd name="connsiteX6" fmla="*/ 490696 w 756308"/>
                <a:gd name="connsiteY6" fmla="*/ 755469 h 1353911"/>
                <a:gd name="connsiteX7" fmla="*/ 756308 w 756308"/>
                <a:gd name="connsiteY7" fmla="*/ 763905 h 1353911"/>
                <a:gd name="connsiteX8" fmla="*/ 566 w 756308"/>
                <a:gd name="connsiteY8" fmla="*/ 0 h 1353911"/>
                <a:gd name="connsiteX0" fmla="*/ 566 w 756308"/>
                <a:gd name="connsiteY0" fmla="*/ 0 h 1353911"/>
                <a:gd name="connsiteX1" fmla="*/ 4105 w 756308"/>
                <a:gd name="connsiteY1" fmla="*/ 1074692 h 1353911"/>
                <a:gd name="connsiteX2" fmla="*/ 277880 w 756308"/>
                <a:gd name="connsiteY2" fmla="*/ 872762 h 1353911"/>
                <a:gd name="connsiteX3" fmla="*/ 521721 w 756308"/>
                <a:gd name="connsiteY3" fmla="*/ 1353911 h 1353911"/>
                <a:gd name="connsiteX4" fmla="*/ 674665 w 756308"/>
                <a:gd name="connsiteY4" fmla="*/ 1335949 h 1353911"/>
                <a:gd name="connsiteX5" fmla="*/ 674120 w 756308"/>
                <a:gd name="connsiteY5" fmla="*/ 1279616 h 1353911"/>
                <a:gd name="connsiteX6" fmla="*/ 490696 w 756308"/>
                <a:gd name="connsiteY6" fmla="*/ 755469 h 1353911"/>
                <a:gd name="connsiteX7" fmla="*/ 756308 w 756308"/>
                <a:gd name="connsiteY7" fmla="*/ 763905 h 1353911"/>
                <a:gd name="connsiteX8" fmla="*/ 566 w 756308"/>
                <a:gd name="connsiteY8" fmla="*/ 0 h 135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308" h="1353911">
                  <a:moveTo>
                    <a:pt x="566" y="0"/>
                  </a:moveTo>
                  <a:cubicBezTo>
                    <a:pt x="-2337" y="346891"/>
                    <a:pt x="7008" y="727801"/>
                    <a:pt x="4105" y="1074692"/>
                  </a:cubicBezTo>
                  <a:lnTo>
                    <a:pt x="277880" y="872762"/>
                  </a:lnTo>
                  <a:lnTo>
                    <a:pt x="521721" y="1353911"/>
                  </a:lnTo>
                  <a:lnTo>
                    <a:pt x="674665" y="1335949"/>
                  </a:lnTo>
                  <a:cubicBezTo>
                    <a:pt x="674483" y="1317171"/>
                    <a:pt x="674302" y="1298394"/>
                    <a:pt x="674120" y="1279616"/>
                  </a:cubicBezTo>
                  <a:lnTo>
                    <a:pt x="490696" y="755469"/>
                  </a:lnTo>
                  <a:lnTo>
                    <a:pt x="756308" y="763905"/>
                  </a:lnTo>
                  <a:lnTo>
                    <a:pt x="566" y="0"/>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52" name="Picture 51"/>
            <p:cNvPicPr>
              <a:picLocks noChangeAspect="1"/>
            </p:cNvPicPr>
            <p:nvPr/>
          </p:nvPicPr>
          <p:blipFill>
            <a:blip r:embed="rId3">
              <a:lum contrast="-40000"/>
            </a:blip>
            <a:stretch>
              <a:fillRect/>
            </a:stretch>
          </p:blipFill>
          <p:spPr>
            <a:xfrm>
              <a:off x="4527638" y="1798313"/>
              <a:ext cx="882308" cy="1411693"/>
            </a:xfrm>
            <a:prstGeom prst="rect">
              <a:avLst/>
            </a:prstGeom>
          </p:spPr>
        </p:pic>
      </p:grpSp>
      <p:sp>
        <p:nvSpPr>
          <p:cNvPr id="53" name="TextBox 52"/>
          <p:cNvSpPr txBox="1"/>
          <p:nvPr/>
        </p:nvSpPr>
        <p:spPr>
          <a:xfrm>
            <a:off x="7207095" y="4569845"/>
            <a:ext cx="2675069" cy="378565"/>
          </a:xfrm>
          <a:prstGeom prst="rect">
            <a:avLst/>
          </a:prstGeom>
          <a:noFill/>
        </p:spPr>
        <p:txBody>
          <a:bodyPr wrap="square" lIns="91440" tIns="91440" rIns="91440" bIns="9144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a:ea typeface="+mn-ea"/>
                <a:cs typeface="+mn-cs"/>
              </a:rPr>
              <a:t>Elastic Database Pools</a:t>
            </a:r>
          </a:p>
        </p:txBody>
      </p:sp>
      <p:sp>
        <p:nvSpPr>
          <p:cNvPr id="54" name="Rectangle 53"/>
          <p:cNvSpPr/>
          <p:nvPr/>
        </p:nvSpPr>
        <p:spPr bwMode="auto">
          <a:xfrm>
            <a:off x="6022517" y="2255445"/>
            <a:ext cx="5179906" cy="2716822"/>
          </a:xfrm>
          <a:prstGeom prst="rect">
            <a:avLst/>
          </a:prstGeom>
          <a:noFill/>
          <a:ln w="19050">
            <a:solidFill>
              <a:srgbClr val="0078D7"/>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6" name="Group 55"/>
          <p:cNvGrpSpPr/>
          <p:nvPr/>
        </p:nvGrpSpPr>
        <p:grpSpPr>
          <a:xfrm>
            <a:off x="434251" y="6263580"/>
            <a:ext cx="270058" cy="412792"/>
            <a:chOff x="1758300" y="2959461"/>
            <a:chExt cx="1180842" cy="1804957"/>
          </a:xfrm>
        </p:grpSpPr>
        <p:grpSp>
          <p:nvGrpSpPr>
            <p:cNvPr id="57" name="Group 56"/>
            <p:cNvGrpSpPr/>
            <p:nvPr/>
          </p:nvGrpSpPr>
          <p:grpSpPr>
            <a:xfrm>
              <a:off x="1760435" y="3490271"/>
              <a:ext cx="1178707" cy="609439"/>
              <a:chOff x="1329597" y="3742168"/>
              <a:chExt cx="1129205" cy="609439"/>
            </a:xfrm>
          </p:grpSpPr>
          <p:sp>
            <p:nvSpPr>
              <p:cNvPr id="65" name="Freeform 6"/>
              <p:cNvSpPr>
                <a:spLocks/>
              </p:cNvSpPr>
              <p:nvPr/>
            </p:nvSpPr>
            <p:spPr bwMode="auto">
              <a:xfrm>
                <a:off x="1360282" y="3915941"/>
                <a:ext cx="1067836" cy="43566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66" name="Freeform 7"/>
              <p:cNvSpPr>
                <a:spLocks/>
              </p:cNvSpPr>
              <p:nvPr/>
            </p:nvSpPr>
            <p:spPr bwMode="auto">
              <a:xfrm>
                <a:off x="1329597" y="3776468"/>
                <a:ext cx="1129205" cy="518649"/>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67" name="Freeform 8"/>
              <p:cNvSpPr>
                <a:spLocks/>
              </p:cNvSpPr>
              <p:nvPr/>
            </p:nvSpPr>
            <p:spPr bwMode="auto">
              <a:xfrm>
                <a:off x="1331642" y="3742168"/>
                <a:ext cx="1125114" cy="398321"/>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58" name="Freeform 62"/>
            <p:cNvSpPr/>
            <p:nvPr/>
          </p:nvSpPr>
          <p:spPr bwMode="auto">
            <a:xfrm>
              <a:off x="1792032" y="3868290"/>
              <a:ext cx="1111888" cy="896128"/>
            </a:xfrm>
            <a:custGeom>
              <a:avLst/>
              <a:gdLst>
                <a:gd name="connsiteX0" fmla="*/ 0 w 1111889"/>
                <a:gd name="connsiteY0" fmla="*/ 0 h 896128"/>
                <a:gd name="connsiteX1" fmla="*/ 849 w 1111889"/>
                <a:gd name="connsiteY1" fmla="*/ 0 h 896128"/>
                <a:gd name="connsiteX2" fmla="*/ 2870 w 1111889"/>
                <a:gd name="connsiteY2" fmla="*/ 16326 h 896128"/>
                <a:gd name="connsiteX3" fmla="*/ 555944 w 1111889"/>
                <a:gd name="connsiteY3" fmla="*/ 219916 h 896128"/>
                <a:gd name="connsiteX4" fmla="*/ 1109019 w 1111889"/>
                <a:gd name="connsiteY4" fmla="*/ 16326 h 896128"/>
                <a:gd name="connsiteX5" fmla="*/ 1111040 w 1111889"/>
                <a:gd name="connsiteY5" fmla="*/ 0 h 896128"/>
                <a:gd name="connsiteX6" fmla="*/ 1111888 w 1111889"/>
                <a:gd name="connsiteY6" fmla="*/ 0 h 896128"/>
                <a:gd name="connsiteX7" fmla="*/ 1111888 w 1111889"/>
                <a:gd name="connsiteY7" fmla="*/ 33547 h 896128"/>
                <a:gd name="connsiteX8" fmla="*/ 1111889 w 1111889"/>
                <a:gd name="connsiteY8" fmla="*/ 669349 h 896128"/>
                <a:gd name="connsiteX9" fmla="*/ 1111889 w 1111889"/>
                <a:gd name="connsiteY9" fmla="*/ 669351 h 896128"/>
                <a:gd name="connsiteX10" fmla="*/ 1111889 w 1111889"/>
                <a:gd name="connsiteY10" fmla="*/ 669353 h 896128"/>
                <a:gd name="connsiteX11" fmla="*/ 1111889 w 1111889"/>
                <a:gd name="connsiteY11" fmla="*/ 676212 h 896128"/>
                <a:gd name="connsiteX12" fmla="*/ 1111040 w 1111889"/>
                <a:gd name="connsiteY12" fmla="*/ 676212 h 896128"/>
                <a:gd name="connsiteX13" fmla="*/ 1109019 w 1111889"/>
                <a:gd name="connsiteY13" fmla="*/ 692538 h 896128"/>
                <a:gd name="connsiteX14" fmla="*/ 555944 w 1111889"/>
                <a:gd name="connsiteY14" fmla="*/ 896128 h 896128"/>
                <a:gd name="connsiteX15" fmla="*/ 2870 w 1111889"/>
                <a:gd name="connsiteY15" fmla="*/ 692538 h 896128"/>
                <a:gd name="connsiteX16" fmla="*/ 849 w 1111889"/>
                <a:gd name="connsiteY16" fmla="*/ 676212 h 896128"/>
                <a:gd name="connsiteX17" fmla="*/ 0 w 1111889"/>
                <a:gd name="connsiteY17" fmla="*/ 676212 h 896128"/>
                <a:gd name="connsiteX18" fmla="*/ 0 w 1111889"/>
                <a:gd name="connsiteY18" fmla="*/ 669351 h 896128"/>
                <a:gd name="connsiteX19" fmla="*/ 0 w 1111889"/>
                <a:gd name="connsiteY19" fmla="*/ 0 h 896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1889" h="896128">
                  <a:moveTo>
                    <a:pt x="0" y="0"/>
                  </a:moveTo>
                  <a:lnTo>
                    <a:pt x="849" y="0"/>
                  </a:lnTo>
                  <a:lnTo>
                    <a:pt x="2870" y="16326"/>
                  </a:lnTo>
                  <a:cubicBezTo>
                    <a:pt x="31340" y="130679"/>
                    <a:pt x="268095" y="219916"/>
                    <a:pt x="555944" y="219916"/>
                  </a:cubicBezTo>
                  <a:cubicBezTo>
                    <a:pt x="843794" y="219916"/>
                    <a:pt x="1080549" y="130679"/>
                    <a:pt x="1109019" y="16326"/>
                  </a:cubicBezTo>
                  <a:lnTo>
                    <a:pt x="1111040" y="0"/>
                  </a:lnTo>
                  <a:lnTo>
                    <a:pt x="1111888" y="0"/>
                  </a:lnTo>
                  <a:lnTo>
                    <a:pt x="1111888" y="33547"/>
                  </a:lnTo>
                  <a:cubicBezTo>
                    <a:pt x="1111889" y="277250"/>
                    <a:pt x="1111889" y="568047"/>
                    <a:pt x="1111889" y="669349"/>
                  </a:cubicBezTo>
                  <a:lnTo>
                    <a:pt x="1111889" y="669351"/>
                  </a:lnTo>
                  <a:lnTo>
                    <a:pt x="1111889" y="669353"/>
                  </a:lnTo>
                  <a:lnTo>
                    <a:pt x="1111889" y="676212"/>
                  </a:lnTo>
                  <a:lnTo>
                    <a:pt x="1111040" y="676212"/>
                  </a:lnTo>
                  <a:lnTo>
                    <a:pt x="1109019" y="692538"/>
                  </a:lnTo>
                  <a:cubicBezTo>
                    <a:pt x="1080549" y="806891"/>
                    <a:pt x="843794" y="896128"/>
                    <a:pt x="555944" y="896128"/>
                  </a:cubicBezTo>
                  <a:cubicBezTo>
                    <a:pt x="268095" y="896128"/>
                    <a:pt x="31340" y="806891"/>
                    <a:pt x="2870" y="692538"/>
                  </a:cubicBezTo>
                  <a:lnTo>
                    <a:pt x="849" y="676212"/>
                  </a:lnTo>
                  <a:lnTo>
                    <a:pt x="0" y="676212"/>
                  </a:lnTo>
                  <a:lnTo>
                    <a:pt x="0" y="669351"/>
                  </a:lnTo>
                  <a:lnTo>
                    <a:pt x="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Black" panose="020B0A02040204020203" pitchFamily="34" charset="0"/>
                <a:cs typeface="Segoe UI" panose="020B0502040204020203" pitchFamily="34" charset="0"/>
              </a:endParaRPr>
            </a:p>
          </p:txBody>
        </p:sp>
        <p:grpSp>
          <p:nvGrpSpPr>
            <p:cNvPr id="59" name="Group 58"/>
            <p:cNvGrpSpPr/>
            <p:nvPr/>
          </p:nvGrpSpPr>
          <p:grpSpPr>
            <a:xfrm>
              <a:off x="1758300" y="3272438"/>
              <a:ext cx="1178707" cy="609439"/>
              <a:chOff x="1329597" y="3742168"/>
              <a:chExt cx="1129205" cy="609439"/>
            </a:xfrm>
          </p:grpSpPr>
          <p:sp>
            <p:nvSpPr>
              <p:cNvPr id="62" name="Freeform 61"/>
              <p:cNvSpPr>
                <a:spLocks/>
              </p:cNvSpPr>
              <p:nvPr/>
            </p:nvSpPr>
            <p:spPr bwMode="auto">
              <a:xfrm>
                <a:off x="1360282" y="3915941"/>
                <a:ext cx="1067836" cy="435666"/>
              </a:xfrm>
              <a:custGeom>
                <a:avLst/>
                <a:gdLst>
                  <a:gd name="T0" fmla="*/ 1268 w 2353"/>
                  <a:gd name="T1" fmla="*/ 1 h 949"/>
                  <a:gd name="T2" fmla="*/ 1446 w 2353"/>
                  <a:gd name="T3" fmla="*/ 12 h 949"/>
                  <a:gd name="T4" fmla="*/ 1613 w 2353"/>
                  <a:gd name="T5" fmla="*/ 34 h 949"/>
                  <a:gd name="T6" fmla="*/ 1769 w 2353"/>
                  <a:gd name="T7" fmla="*/ 64 h 949"/>
                  <a:gd name="T8" fmla="*/ 1912 w 2353"/>
                  <a:gd name="T9" fmla="*/ 104 h 949"/>
                  <a:gd name="T10" fmla="*/ 2038 w 2353"/>
                  <a:gd name="T11" fmla="*/ 152 h 949"/>
                  <a:gd name="T12" fmla="*/ 2145 w 2353"/>
                  <a:gd name="T13" fmla="*/ 207 h 949"/>
                  <a:gd name="T14" fmla="*/ 2233 w 2353"/>
                  <a:gd name="T15" fmla="*/ 267 h 949"/>
                  <a:gd name="T16" fmla="*/ 2298 w 2353"/>
                  <a:gd name="T17" fmla="*/ 333 h 949"/>
                  <a:gd name="T18" fmla="*/ 2339 w 2353"/>
                  <a:gd name="T19" fmla="*/ 402 h 949"/>
                  <a:gd name="T20" fmla="*/ 2353 w 2353"/>
                  <a:gd name="T21" fmla="*/ 474 h 949"/>
                  <a:gd name="T22" fmla="*/ 2339 w 2353"/>
                  <a:gd name="T23" fmla="*/ 547 h 949"/>
                  <a:gd name="T24" fmla="*/ 2298 w 2353"/>
                  <a:gd name="T25" fmla="*/ 616 h 949"/>
                  <a:gd name="T26" fmla="*/ 2233 w 2353"/>
                  <a:gd name="T27" fmla="*/ 681 h 949"/>
                  <a:gd name="T28" fmla="*/ 2145 w 2353"/>
                  <a:gd name="T29" fmla="*/ 742 h 949"/>
                  <a:gd name="T30" fmla="*/ 2038 w 2353"/>
                  <a:gd name="T31" fmla="*/ 796 h 949"/>
                  <a:gd name="T32" fmla="*/ 1912 w 2353"/>
                  <a:gd name="T33" fmla="*/ 844 h 949"/>
                  <a:gd name="T34" fmla="*/ 1769 w 2353"/>
                  <a:gd name="T35" fmla="*/ 883 h 949"/>
                  <a:gd name="T36" fmla="*/ 1613 w 2353"/>
                  <a:gd name="T37" fmla="*/ 915 h 949"/>
                  <a:gd name="T38" fmla="*/ 1446 w 2353"/>
                  <a:gd name="T39" fmla="*/ 937 h 949"/>
                  <a:gd name="T40" fmla="*/ 1268 w 2353"/>
                  <a:gd name="T41" fmla="*/ 947 h 949"/>
                  <a:gd name="T42" fmla="*/ 1085 w 2353"/>
                  <a:gd name="T43" fmla="*/ 947 h 949"/>
                  <a:gd name="T44" fmla="*/ 908 w 2353"/>
                  <a:gd name="T45" fmla="*/ 937 h 949"/>
                  <a:gd name="T46" fmla="*/ 740 w 2353"/>
                  <a:gd name="T47" fmla="*/ 915 h 949"/>
                  <a:gd name="T48" fmla="*/ 584 w 2353"/>
                  <a:gd name="T49" fmla="*/ 883 h 949"/>
                  <a:gd name="T50" fmla="*/ 441 w 2353"/>
                  <a:gd name="T51" fmla="*/ 844 h 949"/>
                  <a:gd name="T52" fmla="*/ 316 w 2353"/>
                  <a:gd name="T53" fmla="*/ 796 h 949"/>
                  <a:gd name="T54" fmla="*/ 208 w 2353"/>
                  <a:gd name="T55" fmla="*/ 742 h 949"/>
                  <a:gd name="T56" fmla="*/ 120 w 2353"/>
                  <a:gd name="T57" fmla="*/ 681 h 949"/>
                  <a:gd name="T58" fmla="*/ 55 w 2353"/>
                  <a:gd name="T59" fmla="*/ 616 h 949"/>
                  <a:gd name="T60" fmla="*/ 14 w 2353"/>
                  <a:gd name="T61" fmla="*/ 547 h 949"/>
                  <a:gd name="T62" fmla="*/ 0 w 2353"/>
                  <a:gd name="T63" fmla="*/ 474 h 949"/>
                  <a:gd name="T64" fmla="*/ 14 w 2353"/>
                  <a:gd name="T65" fmla="*/ 402 h 949"/>
                  <a:gd name="T66" fmla="*/ 55 w 2353"/>
                  <a:gd name="T67" fmla="*/ 333 h 949"/>
                  <a:gd name="T68" fmla="*/ 120 w 2353"/>
                  <a:gd name="T69" fmla="*/ 267 h 949"/>
                  <a:gd name="T70" fmla="*/ 208 w 2353"/>
                  <a:gd name="T71" fmla="*/ 207 h 949"/>
                  <a:gd name="T72" fmla="*/ 316 w 2353"/>
                  <a:gd name="T73" fmla="*/ 152 h 949"/>
                  <a:gd name="T74" fmla="*/ 441 w 2353"/>
                  <a:gd name="T75" fmla="*/ 104 h 949"/>
                  <a:gd name="T76" fmla="*/ 584 w 2353"/>
                  <a:gd name="T77" fmla="*/ 64 h 949"/>
                  <a:gd name="T78" fmla="*/ 740 w 2353"/>
                  <a:gd name="T79" fmla="*/ 34 h 949"/>
                  <a:gd name="T80" fmla="*/ 908 w 2353"/>
                  <a:gd name="T81" fmla="*/ 12 h 949"/>
                  <a:gd name="T82" fmla="*/ 1085 w 2353"/>
                  <a:gd name="T83" fmla="*/ 1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949">
                    <a:moveTo>
                      <a:pt x="1177" y="0"/>
                    </a:moveTo>
                    <a:lnTo>
                      <a:pt x="1268" y="1"/>
                    </a:lnTo>
                    <a:lnTo>
                      <a:pt x="1358" y="5"/>
                    </a:lnTo>
                    <a:lnTo>
                      <a:pt x="1446" y="12"/>
                    </a:lnTo>
                    <a:lnTo>
                      <a:pt x="1531" y="22"/>
                    </a:lnTo>
                    <a:lnTo>
                      <a:pt x="1613" y="34"/>
                    </a:lnTo>
                    <a:lnTo>
                      <a:pt x="1693" y="48"/>
                    </a:lnTo>
                    <a:lnTo>
                      <a:pt x="1769" y="64"/>
                    </a:lnTo>
                    <a:lnTo>
                      <a:pt x="1843" y="83"/>
                    </a:lnTo>
                    <a:lnTo>
                      <a:pt x="1912" y="104"/>
                    </a:lnTo>
                    <a:lnTo>
                      <a:pt x="1977" y="127"/>
                    </a:lnTo>
                    <a:lnTo>
                      <a:pt x="2038" y="152"/>
                    </a:lnTo>
                    <a:lnTo>
                      <a:pt x="2094" y="179"/>
                    </a:lnTo>
                    <a:lnTo>
                      <a:pt x="2145" y="207"/>
                    </a:lnTo>
                    <a:lnTo>
                      <a:pt x="2193" y="236"/>
                    </a:lnTo>
                    <a:lnTo>
                      <a:pt x="2233" y="267"/>
                    </a:lnTo>
                    <a:lnTo>
                      <a:pt x="2269" y="299"/>
                    </a:lnTo>
                    <a:lnTo>
                      <a:pt x="2298" y="333"/>
                    </a:lnTo>
                    <a:lnTo>
                      <a:pt x="2322" y="366"/>
                    </a:lnTo>
                    <a:lnTo>
                      <a:pt x="2339" y="402"/>
                    </a:lnTo>
                    <a:lnTo>
                      <a:pt x="2350" y="437"/>
                    </a:lnTo>
                    <a:lnTo>
                      <a:pt x="2353" y="474"/>
                    </a:lnTo>
                    <a:lnTo>
                      <a:pt x="2350" y="511"/>
                    </a:lnTo>
                    <a:lnTo>
                      <a:pt x="2339" y="547"/>
                    </a:lnTo>
                    <a:lnTo>
                      <a:pt x="2322" y="582"/>
                    </a:lnTo>
                    <a:lnTo>
                      <a:pt x="2298" y="616"/>
                    </a:lnTo>
                    <a:lnTo>
                      <a:pt x="2269" y="650"/>
                    </a:lnTo>
                    <a:lnTo>
                      <a:pt x="2233" y="681"/>
                    </a:lnTo>
                    <a:lnTo>
                      <a:pt x="2193" y="713"/>
                    </a:lnTo>
                    <a:lnTo>
                      <a:pt x="2145" y="742"/>
                    </a:lnTo>
                    <a:lnTo>
                      <a:pt x="2094" y="770"/>
                    </a:lnTo>
                    <a:lnTo>
                      <a:pt x="2038" y="796"/>
                    </a:lnTo>
                    <a:lnTo>
                      <a:pt x="1977" y="821"/>
                    </a:lnTo>
                    <a:lnTo>
                      <a:pt x="1912" y="844"/>
                    </a:lnTo>
                    <a:lnTo>
                      <a:pt x="1843" y="865"/>
                    </a:lnTo>
                    <a:lnTo>
                      <a:pt x="1769" y="883"/>
                    </a:lnTo>
                    <a:lnTo>
                      <a:pt x="1693" y="900"/>
                    </a:lnTo>
                    <a:lnTo>
                      <a:pt x="1613" y="915"/>
                    </a:lnTo>
                    <a:lnTo>
                      <a:pt x="1531" y="927"/>
                    </a:lnTo>
                    <a:lnTo>
                      <a:pt x="1446" y="937"/>
                    </a:lnTo>
                    <a:lnTo>
                      <a:pt x="1358" y="943"/>
                    </a:lnTo>
                    <a:lnTo>
                      <a:pt x="1268" y="947"/>
                    </a:lnTo>
                    <a:lnTo>
                      <a:pt x="1177" y="949"/>
                    </a:lnTo>
                    <a:lnTo>
                      <a:pt x="1085" y="947"/>
                    </a:lnTo>
                    <a:lnTo>
                      <a:pt x="995" y="943"/>
                    </a:lnTo>
                    <a:lnTo>
                      <a:pt x="908" y="937"/>
                    </a:lnTo>
                    <a:lnTo>
                      <a:pt x="823" y="927"/>
                    </a:lnTo>
                    <a:lnTo>
                      <a:pt x="740" y="915"/>
                    </a:lnTo>
                    <a:lnTo>
                      <a:pt x="660" y="900"/>
                    </a:lnTo>
                    <a:lnTo>
                      <a:pt x="584" y="883"/>
                    </a:lnTo>
                    <a:lnTo>
                      <a:pt x="511" y="865"/>
                    </a:lnTo>
                    <a:lnTo>
                      <a:pt x="441" y="844"/>
                    </a:lnTo>
                    <a:lnTo>
                      <a:pt x="377" y="821"/>
                    </a:lnTo>
                    <a:lnTo>
                      <a:pt x="316" y="796"/>
                    </a:lnTo>
                    <a:lnTo>
                      <a:pt x="259" y="770"/>
                    </a:lnTo>
                    <a:lnTo>
                      <a:pt x="208" y="742"/>
                    </a:lnTo>
                    <a:lnTo>
                      <a:pt x="161" y="713"/>
                    </a:lnTo>
                    <a:lnTo>
                      <a:pt x="120" y="681"/>
                    </a:lnTo>
                    <a:lnTo>
                      <a:pt x="84" y="650"/>
                    </a:lnTo>
                    <a:lnTo>
                      <a:pt x="55" y="616"/>
                    </a:lnTo>
                    <a:lnTo>
                      <a:pt x="31" y="582"/>
                    </a:lnTo>
                    <a:lnTo>
                      <a:pt x="14" y="547"/>
                    </a:lnTo>
                    <a:lnTo>
                      <a:pt x="4" y="511"/>
                    </a:lnTo>
                    <a:lnTo>
                      <a:pt x="0" y="474"/>
                    </a:lnTo>
                    <a:lnTo>
                      <a:pt x="4" y="437"/>
                    </a:lnTo>
                    <a:lnTo>
                      <a:pt x="14" y="402"/>
                    </a:lnTo>
                    <a:lnTo>
                      <a:pt x="31" y="366"/>
                    </a:lnTo>
                    <a:lnTo>
                      <a:pt x="55" y="333"/>
                    </a:lnTo>
                    <a:lnTo>
                      <a:pt x="84" y="299"/>
                    </a:lnTo>
                    <a:lnTo>
                      <a:pt x="120" y="267"/>
                    </a:lnTo>
                    <a:lnTo>
                      <a:pt x="161" y="236"/>
                    </a:lnTo>
                    <a:lnTo>
                      <a:pt x="208" y="207"/>
                    </a:lnTo>
                    <a:lnTo>
                      <a:pt x="259" y="179"/>
                    </a:lnTo>
                    <a:lnTo>
                      <a:pt x="316" y="152"/>
                    </a:lnTo>
                    <a:lnTo>
                      <a:pt x="377" y="127"/>
                    </a:lnTo>
                    <a:lnTo>
                      <a:pt x="441" y="104"/>
                    </a:lnTo>
                    <a:lnTo>
                      <a:pt x="511" y="83"/>
                    </a:lnTo>
                    <a:lnTo>
                      <a:pt x="584" y="64"/>
                    </a:lnTo>
                    <a:lnTo>
                      <a:pt x="660" y="48"/>
                    </a:lnTo>
                    <a:lnTo>
                      <a:pt x="740" y="34"/>
                    </a:lnTo>
                    <a:lnTo>
                      <a:pt x="823" y="22"/>
                    </a:lnTo>
                    <a:lnTo>
                      <a:pt x="908" y="12"/>
                    </a:lnTo>
                    <a:lnTo>
                      <a:pt x="995" y="5"/>
                    </a:lnTo>
                    <a:lnTo>
                      <a:pt x="1085" y="1"/>
                    </a:lnTo>
                    <a:lnTo>
                      <a:pt x="1177" y="0"/>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63" name="Freeform 62"/>
              <p:cNvSpPr>
                <a:spLocks/>
              </p:cNvSpPr>
              <p:nvPr/>
            </p:nvSpPr>
            <p:spPr bwMode="auto">
              <a:xfrm>
                <a:off x="1329597" y="3776468"/>
                <a:ext cx="1129205" cy="518649"/>
              </a:xfrm>
              <a:custGeom>
                <a:avLst/>
                <a:gdLst>
                  <a:gd name="T0" fmla="*/ 118 w 2483"/>
                  <a:gd name="T1" fmla="*/ 0 h 1122"/>
                  <a:gd name="T2" fmla="*/ 1220 w 2483"/>
                  <a:gd name="T3" fmla="*/ 76 h 1122"/>
                  <a:gd name="T4" fmla="*/ 1220 w 2483"/>
                  <a:gd name="T5" fmla="*/ 432 h 1122"/>
                  <a:gd name="T6" fmla="*/ 1231 w 2483"/>
                  <a:gd name="T7" fmla="*/ 217 h 1122"/>
                  <a:gd name="T8" fmla="*/ 2353 w 2483"/>
                  <a:gd name="T9" fmla="*/ 130 h 1122"/>
                  <a:gd name="T10" fmla="*/ 2353 w 2483"/>
                  <a:gd name="T11" fmla="*/ 313 h 1122"/>
                  <a:gd name="T12" fmla="*/ 2483 w 2483"/>
                  <a:gd name="T13" fmla="*/ 551 h 1122"/>
                  <a:gd name="T14" fmla="*/ 2364 w 2483"/>
                  <a:gd name="T15" fmla="*/ 799 h 1122"/>
                  <a:gd name="T16" fmla="*/ 2362 w 2483"/>
                  <a:gd name="T17" fmla="*/ 801 h 1122"/>
                  <a:gd name="T18" fmla="*/ 2356 w 2483"/>
                  <a:gd name="T19" fmla="*/ 805 h 1122"/>
                  <a:gd name="T20" fmla="*/ 2347 w 2483"/>
                  <a:gd name="T21" fmla="*/ 812 h 1122"/>
                  <a:gd name="T22" fmla="*/ 2335 w 2483"/>
                  <a:gd name="T23" fmla="*/ 823 h 1122"/>
                  <a:gd name="T24" fmla="*/ 2317 w 2483"/>
                  <a:gd name="T25" fmla="*/ 836 h 1122"/>
                  <a:gd name="T26" fmla="*/ 2296 w 2483"/>
                  <a:gd name="T27" fmla="*/ 849 h 1122"/>
                  <a:gd name="T28" fmla="*/ 2272 w 2483"/>
                  <a:gd name="T29" fmla="*/ 866 h 1122"/>
                  <a:gd name="T30" fmla="*/ 2243 w 2483"/>
                  <a:gd name="T31" fmla="*/ 883 h 1122"/>
                  <a:gd name="T32" fmla="*/ 2210 w 2483"/>
                  <a:gd name="T33" fmla="*/ 901 h 1122"/>
                  <a:gd name="T34" fmla="*/ 2174 w 2483"/>
                  <a:gd name="T35" fmla="*/ 920 h 1122"/>
                  <a:gd name="T36" fmla="*/ 2133 w 2483"/>
                  <a:gd name="T37" fmla="*/ 940 h 1122"/>
                  <a:gd name="T38" fmla="*/ 2088 w 2483"/>
                  <a:gd name="T39" fmla="*/ 961 h 1122"/>
                  <a:gd name="T40" fmla="*/ 2040 w 2483"/>
                  <a:gd name="T41" fmla="*/ 981 h 1122"/>
                  <a:gd name="T42" fmla="*/ 1988 w 2483"/>
                  <a:gd name="T43" fmla="*/ 1001 h 1122"/>
                  <a:gd name="T44" fmla="*/ 1930 w 2483"/>
                  <a:gd name="T45" fmla="*/ 1020 h 1122"/>
                  <a:gd name="T46" fmla="*/ 1870 w 2483"/>
                  <a:gd name="T47" fmla="*/ 1039 h 1122"/>
                  <a:gd name="T48" fmla="*/ 1805 w 2483"/>
                  <a:gd name="T49" fmla="*/ 1056 h 1122"/>
                  <a:gd name="T50" fmla="*/ 1735 w 2483"/>
                  <a:gd name="T51" fmla="*/ 1072 h 1122"/>
                  <a:gd name="T52" fmla="*/ 1662 w 2483"/>
                  <a:gd name="T53" fmla="*/ 1087 h 1122"/>
                  <a:gd name="T54" fmla="*/ 1585 w 2483"/>
                  <a:gd name="T55" fmla="*/ 1098 h 1122"/>
                  <a:gd name="T56" fmla="*/ 1502 w 2483"/>
                  <a:gd name="T57" fmla="*/ 1109 h 1122"/>
                  <a:gd name="T58" fmla="*/ 1416 w 2483"/>
                  <a:gd name="T59" fmla="*/ 1116 h 1122"/>
                  <a:gd name="T60" fmla="*/ 1326 w 2483"/>
                  <a:gd name="T61" fmla="*/ 1121 h 1122"/>
                  <a:gd name="T62" fmla="*/ 1231 w 2483"/>
                  <a:gd name="T63" fmla="*/ 1122 h 1122"/>
                  <a:gd name="T64" fmla="*/ 1135 w 2483"/>
                  <a:gd name="T65" fmla="*/ 1121 h 1122"/>
                  <a:gd name="T66" fmla="*/ 1045 w 2483"/>
                  <a:gd name="T67" fmla="*/ 1116 h 1122"/>
                  <a:gd name="T68" fmla="*/ 959 w 2483"/>
                  <a:gd name="T69" fmla="*/ 1109 h 1122"/>
                  <a:gd name="T70" fmla="*/ 879 w 2483"/>
                  <a:gd name="T71" fmla="*/ 1098 h 1122"/>
                  <a:gd name="T72" fmla="*/ 801 w 2483"/>
                  <a:gd name="T73" fmla="*/ 1085 h 1122"/>
                  <a:gd name="T74" fmla="*/ 729 w 2483"/>
                  <a:gd name="T75" fmla="*/ 1070 h 1122"/>
                  <a:gd name="T76" fmla="*/ 661 w 2483"/>
                  <a:gd name="T77" fmla="*/ 1054 h 1122"/>
                  <a:gd name="T78" fmla="*/ 597 w 2483"/>
                  <a:gd name="T79" fmla="*/ 1036 h 1122"/>
                  <a:gd name="T80" fmla="*/ 537 w 2483"/>
                  <a:gd name="T81" fmla="*/ 1017 h 1122"/>
                  <a:gd name="T82" fmla="*/ 482 w 2483"/>
                  <a:gd name="T83" fmla="*/ 997 h 1122"/>
                  <a:gd name="T84" fmla="*/ 431 w 2483"/>
                  <a:gd name="T85" fmla="*/ 976 h 1122"/>
                  <a:gd name="T86" fmla="*/ 383 w 2483"/>
                  <a:gd name="T87" fmla="*/ 956 h 1122"/>
                  <a:gd name="T88" fmla="*/ 340 w 2483"/>
                  <a:gd name="T89" fmla="*/ 935 h 1122"/>
                  <a:gd name="T90" fmla="*/ 301 w 2483"/>
                  <a:gd name="T91" fmla="*/ 914 h 1122"/>
                  <a:gd name="T92" fmla="*/ 265 w 2483"/>
                  <a:gd name="T93" fmla="*/ 894 h 1122"/>
                  <a:gd name="T94" fmla="*/ 235 w 2483"/>
                  <a:gd name="T95" fmla="*/ 875 h 1122"/>
                  <a:gd name="T96" fmla="*/ 206 w 2483"/>
                  <a:gd name="T97" fmla="*/ 858 h 1122"/>
                  <a:gd name="T98" fmla="*/ 183 w 2483"/>
                  <a:gd name="T99" fmla="*/ 841 h 1122"/>
                  <a:gd name="T100" fmla="*/ 164 w 2483"/>
                  <a:gd name="T101" fmla="*/ 826 h 1122"/>
                  <a:gd name="T102" fmla="*/ 147 w 2483"/>
                  <a:gd name="T103" fmla="*/ 814 h 1122"/>
                  <a:gd name="T104" fmla="*/ 134 w 2483"/>
                  <a:gd name="T105" fmla="*/ 803 h 1122"/>
                  <a:gd name="T106" fmla="*/ 126 w 2483"/>
                  <a:gd name="T107" fmla="*/ 795 h 1122"/>
                  <a:gd name="T108" fmla="*/ 121 w 2483"/>
                  <a:gd name="T109" fmla="*/ 789 h 1122"/>
                  <a:gd name="T110" fmla="*/ 118 w 2483"/>
                  <a:gd name="T111" fmla="*/ 788 h 1122"/>
                  <a:gd name="T112" fmla="*/ 0 w 2483"/>
                  <a:gd name="T113" fmla="*/ 529 h 1122"/>
                  <a:gd name="T114" fmla="*/ 118 w 2483"/>
                  <a:gd name="T115" fmla="*/ 280 h 1122"/>
                  <a:gd name="T116" fmla="*/ 118 w 2483"/>
                  <a:gd name="T117"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3" h="1122">
                    <a:moveTo>
                      <a:pt x="118" y="0"/>
                    </a:moveTo>
                    <a:lnTo>
                      <a:pt x="1220" y="76"/>
                    </a:lnTo>
                    <a:lnTo>
                      <a:pt x="1220" y="432"/>
                    </a:lnTo>
                    <a:lnTo>
                      <a:pt x="1231" y="217"/>
                    </a:lnTo>
                    <a:lnTo>
                      <a:pt x="2353" y="130"/>
                    </a:lnTo>
                    <a:lnTo>
                      <a:pt x="2353" y="313"/>
                    </a:lnTo>
                    <a:lnTo>
                      <a:pt x="2483" y="551"/>
                    </a:lnTo>
                    <a:lnTo>
                      <a:pt x="2364" y="799"/>
                    </a:lnTo>
                    <a:lnTo>
                      <a:pt x="2362" y="801"/>
                    </a:lnTo>
                    <a:lnTo>
                      <a:pt x="2356" y="805"/>
                    </a:lnTo>
                    <a:lnTo>
                      <a:pt x="2347" y="812"/>
                    </a:lnTo>
                    <a:lnTo>
                      <a:pt x="2335" y="823"/>
                    </a:lnTo>
                    <a:lnTo>
                      <a:pt x="2317" y="836"/>
                    </a:lnTo>
                    <a:lnTo>
                      <a:pt x="2296" y="849"/>
                    </a:lnTo>
                    <a:lnTo>
                      <a:pt x="2272" y="866"/>
                    </a:lnTo>
                    <a:lnTo>
                      <a:pt x="2243" y="883"/>
                    </a:lnTo>
                    <a:lnTo>
                      <a:pt x="2210" y="901"/>
                    </a:lnTo>
                    <a:lnTo>
                      <a:pt x="2174" y="920"/>
                    </a:lnTo>
                    <a:lnTo>
                      <a:pt x="2133" y="940"/>
                    </a:lnTo>
                    <a:lnTo>
                      <a:pt x="2088" y="961"/>
                    </a:lnTo>
                    <a:lnTo>
                      <a:pt x="2040" y="981"/>
                    </a:lnTo>
                    <a:lnTo>
                      <a:pt x="1988" y="1001"/>
                    </a:lnTo>
                    <a:lnTo>
                      <a:pt x="1930" y="1020"/>
                    </a:lnTo>
                    <a:lnTo>
                      <a:pt x="1870" y="1039"/>
                    </a:lnTo>
                    <a:lnTo>
                      <a:pt x="1805" y="1056"/>
                    </a:lnTo>
                    <a:lnTo>
                      <a:pt x="1735" y="1072"/>
                    </a:lnTo>
                    <a:lnTo>
                      <a:pt x="1662" y="1087"/>
                    </a:lnTo>
                    <a:lnTo>
                      <a:pt x="1585" y="1098"/>
                    </a:lnTo>
                    <a:lnTo>
                      <a:pt x="1502" y="1109"/>
                    </a:lnTo>
                    <a:lnTo>
                      <a:pt x="1416" y="1116"/>
                    </a:lnTo>
                    <a:lnTo>
                      <a:pt x="1326" y="1121"/>
                    </a:lnTo>
                    <a:lnTo>
                      <a:pt x="1231" y="1122"/>
                    </a:lnTo>
                    <a:lnTo>
                      <a:pt x="1135" y="1121"/>
                    </a:lnTo>
                    <a:lnTo>
                      <a:pt x="1045" y="1116"/>
                    </a:lnTo>
                    <a:lnTo>
                      <a:pt x="959" y="1109"/>
                    </a:lnTo>
                    <a:lnTo>
                      <a:pt x="879" y="1098"/>
                    </a:lnTo>
                    <a:lnTo>
                      <a:pt x="801" y="1085"/>
                    </a:lnTo>
                    <a:lnTo>
                      <a:pt x="729" y="1070"/>
                    </a:lnTo>
                    <a:lnTo>
                      <a:pt x="661" y="1054"/>
                    </a:lnTo>
                    <a:lnTo>
                      <a:pt x="597" y="1036"/>
                    </a:lnTo>
                    <a:lnTo>
                      <a:pt x="537" y="1017"/>
                    </a:lnTo>
                    <a:lnTo>
                      <a:pt x="482" y="997"/>
                    </a:lnTo>
                    <a:lnTo>
                      <a:pt x="431" y="976"/>
                    </a:lnTo>
                    <a:lnTo>
                      <a:pt x="383" y="956"/>
                    </a:lnTo>
                    <a:lnTo>
                      <a:pt x="340" y="935"/>
                    </a:lnTo>
                    <a:lnTo>
                      <a:pt x="301" y="914"/>
                    </a:lnTo>
                    <a:lnTo>
                      <a:pt x="265" y="894"/>
                    </a:lnTo>
                    <a:lnTo>
                      <a:pt x="235" y="875"/>
                    </a:lnTo>
                    <a:lnTo>
                      <a:pt x="206" y="858"/>
                    </a:lnTo>
                    <a:lnTo>
                      <a:pt x="183" y="841"/>
                    </a:lnTo>
                    <a:lnTo>
                      <a:pt x="164" y="826"/>
                    </a:lnTo>
                    <a:lnTo>
                      <a:pt x="147" y="814"/>
                    </a:lnTo>
                    <a:lnTo>
                      <a:pt x="134" y="803"/>
                    </a:lnTo>
                    <a:lnTo>
                      <a:pt x="126" y="795"/>
                    </a:lnTo>
                    <a:lnTo>
                      <a:pt x="121" y="789"/>
                    </a:lnTo>
                    <a:lnTo>
                      <a:pt x="118" y="788"/>
                    </a:lnTo>
                    <a:lnTo>
                      <a:pt x="0" y="529"/>
                    </a:lnTo>
                    <a:lnTo>
                      <a:pt x="118" y="280"/>
                    </a:lnTo>
                    <a:lnTo>
                      <a:pt x="11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64" name="Freeform 63"/>
              <p:cNvSpPr>
                <a:spLocks/>
              </p:cNvSpPr>
              <p:nvPr/>
            </p:nvSpPr>
            <p:spPr bwMode="auto">
              <a:xfrm>
                <a:off x="1331642" y="3742168"/>
                <a:ext cx="1125114" cy="398321"/>
              </a:xfrm>
              <a:custGeom>
                <a:avLst/>
                <a:gdLst>
                  <a:gd name="T0" fmla="*/ 118 w 2472"/>
                  <a:gd name="T1" fmla="*/ 0 h 864"/>
                  <a:gd name="T2" fmla="*/ 1220 w 2472"/>
                  <a:gd name="T3" fmla="*/ 76 h 864"/>
                  <a:gd name="T4" fmla="*/ 1220 w 2472"/>
                  <a:gd name="T5" fmla="*/ 432 h 864"/>
                  <a:gd name="T6" fmla="*/ 1231 w 2472"/>
                  <a:gd name="T7" fmla="*/ 217 h 864"/>
                  <a:gd name="T8" fmla="*/ 2353 w 2472"/>
                  <a:gd name="T9" fmla="*/ 130 h 864"/>
                  <a:gd name="T10" fmla="*/ 2353 w 2472"/>
                  <a:gd name="T11" fmla="*/ 313 h 864"/>
                  <a:gd name="T12" fmla="*/ 2472 w 2472"/>
                  <a:gd name="T13" fmla="*/ 551 h 864"/>
                  <a:gd name="T14" fmla="*/ 2470 w 2472"/>
                  <a:gd name="T15" fmla="*/ 553 h 864"/>
                  <a:gd name="T16" fmla="*/ 2462 w 2472"/>
                  <a:gd name="T17" fmla="*/ 557 h 864"/>
                  <a:gd name="T18" fmla="*/ 2451 w 2472"/>
                  <a:gd name="T19" fmla="*/ 564 h 864"/>
                  <a:gd name="T20" fmla="*/ 2434 w 2472"/>
                  <a:gd name="T21" fmla="*/ 574 h 864"/>
                  <a:gd name="T22" fmla="*/ 2413 w 2472"/>
                  <a:gd name="T23" fmla="*/ 586 h 864"/>
                  <a:gd name="T24" fmla="*/ 2387 w 2472"/>
                  <a:gd name="T25" fmla="*/ 600 h 864"/>
                  <a:gd name="T26" fmla="*/ 2358 w 2472"/>
                  <a:gd name="T27" fmla="*/ 615 h 864"/>
                  <a:gd name="T28" fmla="*/ 2323 w 2472"/>
                  <a:gd name="T29" fmla="*/ 632 h 864"/>
                  <a:gd name="T30" fmla="*/ 2284 w 2472"/>
                  <a:gd name="T31" fmla="*/ 650 h 864"/>
                  <a:gd name="T32" fmla="*/ 2241 w 2472"/>
                  <a:gd name="T33" fmla="*/ 668 h 864"/>
                  <a:gd name="T34" fmla="*/ 2194 w 2472"/>
                  <a:gd name="T35" fmla="*/ 688 h 864"/>
                  <a:gd name="T36" fmla="*/ 2143 w 2472"/>
                  <a:gd name="T37" fmla="*/ 707 h 864"/>
                  <a:gd name="T38" fmla="*/ 2087 w 2472"/>
                  <a:gd name="T39" fmla="*/ 727 h 864"/>
                  <a:gd name="T40" fmla="*/ 2028 w 2472"/>
                  <a:gd name="T41" fmla="*/ 746 h 864"/>
                  <a:gd name="T42" fmla="*/ 1965 w 2472"/>
                  <a:gd name="T43" fmla="*/ 764 h 864"/>
                  <a:gd name="T44" fmla="*/ 1898 w 2472"/>
                  <a:gd name="T45" fmla="*/ 782 h 864"/>
                  <a:gd name="T46" fmla="*/ 1827 w 2472"/>
                  <a:gd name="T47" fmla="*/ 799 h 864"/>
                  <a:gd name="T48" fmla="*/ 1752 w 2472"/>
                  <a:gd name="T49" fmla="*/ 815 h 864"/>
                  <a:gd name="T50" fmla="*/ 1675 w 2472"/>
                  <a:gd name="T51" fmla="*/ 828 h 864"/>
                  <a:gd name="T52" fmla="*/ 1592 w 2472"/>
                  <a:gd name="T53" fmla="*/ 841 h 864"/>
                  <a:gd name="T54" fmla="*/ 1507 w 2472"/>
                  <a:gd name="T55" fmla="*/ 850 h 864"/>
                  <a:gd name="T56" fmla="*/ 1418 w 2472"/>
                  <a:gd name="T57" fmla="*/ 858 h 864"/>
                  <a:gd name="T58" fmla="*/ 1326 w 2472"/>
                  <a:gd name="T59" fmla="*/ 862 h 864"/>
                  <a:gd name="T60" fmla="*/ 1231 w 2472"/>
                  <a:gd name="T61" fmla="*/ 864 h 864"/>
                  <a:gd name="T62" fmla="*/ 1135 w 2472"/>
                  <a:gd name="T63" fmla="*/ 862 h 864"/>
                  <a:gd name="T64" fmla="*/ 1043 w 2472"/>
                  <a:gd name="T65" fmla="*/ 858 h 864"/>
                  <a:gd name="T66" fmla="*/ 954 w 2472"/>
                  <a:gd name="T67" fmla="*/ 849 h 864"/>
                  <a:gd name="T68" fmla="*/ 869 w 2472"/>
                  <a:gd name="T69" fmla="*/ 839 h 864"/>
                  <a:gd name="T70" fmla="*/ 788 w 2472"/>
                  <a:gd name="T71" fmla="*/ 826 h 864"/>
                  <a:gd name="T72" fmla="*/ 710 w 2472"/>
                  <a:gd name="T73" fmla="*/ 811 h 864"/>
                  <a:gd name="T74" fmla="*/ 637 w 2472"/>
                  <a:gd name="T75" fmla="*/ 795 h 864"/>
                  <a:gd name="T76" fmla="*/ 566 w 2472"/>
                  <a:gd name="T77" fmla="*/ 777 h 864"/>
                  <a:gd name="T78" fmla="*/ 500 w 2472"/>
                  <a:gd name="T79" fmla="*/ 758 h 864"/>
                  <a:gd name="T80" fmla="*/ 437 w 2472"/>
                  <a:gd name="T81" fmla="*/ 738 h 864"/>
                  <a:gd name="T82" fmla="*/ 378 w 2472"/>
                  <a:gd name="T83" fmla="*/ 717 h 864"/>
                  <a:gd name="T84" fmla="*/ 324 w 2472"/>
                  <a:gd name="T85" fmla="*/ 696 h 864"/>
                  <a:gd name="T86" fmla="*/ 273 w 2472"/>
                  <a:gd name="T87" fmla="*/ 675 h 864"/>
                  <a:gd name="T88" fmla="*/ 226 w 2472"/>
                  <a:gd name="T89" fmla="*/ 655 h 864"/>
                  <a:gd name="T90" fmla="*/ 184 w 2472"/>
                  <a:gd name="T91" fmla="*/ 635 h 864"/>
                  <a:gd name="T92" fmla="*/ 147 w 2472"/>
                  <a:gd name="T93" fmla="*/ 616 h 864"/>
                  <a:gd name="T94" fmla="*/ 112 w 2472"/>
                  <a:gd name="T95" fmla="*/ 598 h 864"/>
                  <a:gd name="T96" fmla="*/ 83 w 2472"/>
                  <a:gd name="T97" fmla="*/ 581 h 864"/>
                  <a:gd name="T98" fmla="*/ 58 w 2472"/>
                  <a:gd name="T99" fmla="*/ 566 h 864"/>
                  <a:gd name="T100" fmla="*/ 37 w 2472"/>
                  <a:gd name="T101" fmla="*/ 554 h 864"/>
                  <a:gd name="T102" fmla="*/ 21 w 2472"/>
                  <a:gd name="T103" fmla="*/ 543 h 864"/>
                  <a:gd name="T104" fmla="*/ 10 w 2472"/>
                  <a:gd name="T105" fmla="*/ 536 h 864"/>
                  <a:gd name="T106" fmla="*/ 2 w 2472"/>
                  <a:gd name="T107" fmla="*/ 531 h 864"/>
                  <a:gd name="T108" fmla="*/ 0 w 2472"/>
                  <a:gd name="T109" fmla="*/ 529 h 864"/>
                  <a:gd name="T110" fmla="*/ 118 w 2472"/>
                  <a:gd name="T111" fmla="*/ 280 h 864"/>
                  <a:gd name="T112" fmla="*/ 118 w 2472"/>
                  <a:gd name="T113"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2" h="864">
                    <a:moveTo>
                      <a:pt x="118" y="0"/>
                    </a:moveTo>
                    <a:lnTo>
                      <a:pt x="1220" y="76"/>
                    </a:lnTo>
                    <a:lnTo>
                      <a:pt x="1220" y="432"/>
                    </a:lnTo>
                    <a:lnTo>
                      <a:pt x="1231" y="217"/>
                    </a:lnTo>
                    <a:lnTo>
                      <a:pt x="2353" y="130"/>
                    </a:lnTo>
                    <a:lnTo>
                      <a:pt x="2353" y="313"/>
                    </a:lnTo>
                    <a:lnTo>
                      <a:pt x="2472" y="551"/>
                    </a:lnTo>
                    <a:lnTo>
                      <a:pt x="2470" y="553"/>
                    </a:lnTo>
                    <a:lnTo>
                      <a:pt x="2462" y="557"/>
                    </a:lnTo>
                    <a:lnTo>
                      <a:pt x="2451" y="564"/>
                    </a:lnTo>
                    <a:lnTo>
                      <a:pt x="2434" y="574"/>
                    </a:lnTo>
                    <a:lnTo>
                      <a:pt x="2413" y="586"/>
                    </a:lnTo>
                    <a:lnTo>
                      <a:pt x="2387" y="600"/>
                    </a:lnTo>
                    <a:lnTo>
                      <a:pt x="2358" y="615"/>
                    </a:lnTo>
                    <a:lnTo>
                      <a:pt x="2323" y="632"/>
                    </a:lnTo>
                    <a:lnTo>
                      <a:pt x="2284" y="650"/>
                    </a:lnTo>
                    <a:lnTo>
                      <a:pt x="2241" y="668"/>
                    </a:lnTo>
                    <a:lnTo>
                      <a:pt x="2194" y="688"/>
                    </a:lnTo>
                    <a:lnTo>
                      <a:pt x="2143" y="707"/>
                    </a:lnTo>
                    <a:lnTo>
                      <a:pt x="2087" y="727"/>
                    </a:lnTo>
                    <a:lnTo>
                      <a:pt x="2028" y="746"/>
                    </a:lnTo>
                    <a:lnTo>
                      <a:pt x="1965" y="764"/>
                    </a:lnTo>
                    <a:lnTo>
                      <a:pt x="1898" y="782"/>
                    </a:lnTo>
                    <a:lnTo>
                      <a:pt x="1827" y="799"/>
                    </a:lnTo>
                    <a:lnTo>
                      <a:pt x="1752" y="815"/>
                    </a:lnTo>
                    <a:lnTo>
                      <a:pt x="1675" y="828"/>
                    </a:lnTo>
                    <a:lnTo>
                      <a:pt x="1592" y="841"/>
                    </a:lnTo>
                    <a:lnTo>
                      <a:pt x="1507" y="850"/>
                    </a:lnTo>
                    <a:lnTo>
                      <a:pt x="1418" y="858"/>
                    </a:lnTo>
                    <a:lnTo>
                      <a:pt x="1326" y="862"/>
                    </a:lnTo>
                    <a:lnTo>
                      <a:pt x="1231" y="864"/>
                    </a:lnTo>
                    <a:lnTo>
                      <a:pt x="1135" y="862"/>
                    </a:lnTo>
                    <a:lnTo>
                      <a:pt x="1043" y="858"/>
                    </a:lnTo>
                    <a:lnTo>
                      <a:pt x="954" y="849"/>
                    </a:lnTo>
                    <a:lnTo>
                      <a:pt x="869" y="839"/>
                    </a:lnTo>
                    <a:lnTo>
                      <a:pt x="788" y="826"/>
                    </a:lnTo>
                    <a:lnTo>
                      <a:pt x="710" y="811"/>
                    </a:lnTo>
                    <a:lnTo>
                      <a:pt x="637" y="795"/>
                    </a:lnTo>
                    <a:lnTo>
                      <a:pt x="566" y="777"/>
                    </a:lnTo>
                    <a:lnTo>
                      <a:pt x="500" y="758"/>
                    </a:lnTo>
                    <a:lnTo>
                      <a:pt x="437" y="738"/>
                    </a:lnTo>
                    <a:lnTo>
                      <a:pt x="378" y="717"/>
                    </a:lnTo>
                    <a:lnTo>
                      <a:pt x="324" y="696"/>
                    </a:lnTo>
                    <a:lnTo>
                      <a:pt x="273" y="675"/>
                    </a:lnTo>
                    <a:lnTo>
                      <a:pt x="226" y="655"/>
                    </a:lnTo>
                    <a:lnTo>
                      <a:pt x="184" y="635"/>
                    </a:lnTo>
                    <a:lnTo>
                      <a:pt x="147" y="616"/>
                    </a:lnTo>
                    <a:lnTo>
                      <a:pt x="112" y="598"/>
                    </a:lnTo>
                    <a:lnTo>
                      <a:pt x="83" y="581"/>
                    </a:lnTo>
                    <a:lnTo>
                      <a:pt x="58" y="566"/>
                    </a:lnTo>
                    <a:lnTo>
                      <a:pt x="37" y="554"/>
                    </a:lnTo>
                    <a:lnTo>
                      <a:pt x="21" y="543"/>
                    </a:lnTo>
                    <a:lnTo>
                      <a:pt x="10" y="536"/>
                    </a:lnTo>
                    <a:lnTo>
                      <a:pt x="2" y="531"/>
                    </a:lnTo>
                    <a:lnTo>
                      <a:pt x="0" y="529"/>
                    </a:lnTo>
                    <a:lnTo>
                      <a:pt x="118" y="280"/>
                    </a:lnTo>
                    <a:lnTo>
                      <a:pt x="118" y="0"/>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60" name="Freeform 64"/>
            <p:cNvSpPr/>
            <p:nvPr/>
          </p:nvSpPr>
          <p:spPr bwMode="auto">
            <a:xfrm>
              <a:off x="1792032" y="2959461"/>
              <a:ext cx="1111887" cy="639743"/>
            </a:xfrm>
            <a:custGeom>
              <a:avLst/>
              <a:gdLst>
                <a:gd name="connsiteX0" fmla="*/ 555943 w 1111887"/>
                <a:gd name="connsiteY0" fmla="*/ 0 h 639743"/>
                <a:gd name="connsiteX1" fmla="*/ 1109018 w 1111887"/>
                <a:gd name="connsiteY1" fmla="*/ 203591 h 639743"/>
                <a:gd name="connsiteX2" fmla="*/ 1111039 w 1111887"/>
                <a:gd name="connsiteY2" fmla="*/ 219917 h 639743"/>
                <a:gd name="connsiteX3" fmla="*/ 1111887 w 1111887"/>
                <a:gd name="connsiteY3" fmla="*/ 219917 h 639743"/>
                <a:gd name="connsiteX4" fmla="*/ 1111887 w 1111887"/>
                <a:gd name="connsiteY4" fmla="*/ 226777 h 639743"/>
                <a:gd name="connsiteX5" fmla="*/ 1111887 w 1111887"/>
                <a:gd name="connsiteY5" fmla="*/ 363247 h 639743"/>
                <a:gd name="connsiteX6" fmla="*/ 1111887 w 1111887"/>
                <a:gd name="connsiteY6" fmla="*/ 419827 h 639743"/>
                <a:gd name="connsiteX7" fmla="*/ 1111040 w 1111887"/>
                <a:gd name="connsiteY7" fmla="*/ 419827 h 639743"/>
                <a:gd name="connsiteX8" fmla="*/ 1109019 w 1111887"/>
                <a:gd name="connsiteY8" fmla="*/ 436153 h 639743"/>
                <a:gd name="connsiteX9" fmla="*/ 555944 w 1111887"/>
                <a:gd name="connsiteY9" fmla="*/ 639743 h 639743"/>
                <a:gd name="connsiteX10" fmla="*/ 2870 w 1111887"/>
                <a:gd name="connsiteY10" fmla="*/ 436153 h 639743"/>
                <a:gd name="connsiteX11" fmla="*/ 849 w 1111887"/>
                <a:gd name="connsiteY11" fmla="*/ 419827 h 639743"/>
                <a:gd name="connsiteX12" fmla="*/ 0 w 1111887"/>
                <a:gd name="connsiteY12" fmla="*/ 419827 h 639743"/>
                <a:gd name="connsiteX13" fmla="*/ 0 w 1111887"/>
                <a:gd name="connsiteY13" fmla="*/ 412966 h 639743"/>
                <a:gd name="connsiteX14" fmla="*/ 0 w 1111887"/>
                <a:gd name="connsiteY14" fmla="*/ 226767 h 639743"/>
                <a:gd name="connsiteX15" fmla="*/ 2869 w 1111887"/>
                <a:gd name="connsiteY15" fmla="*/ 203591 h 639743"/>
                <a:gd name="connsiteX16" fmla="*/ 555943 w 1111887"/>
                <a:gd name="connsiteY16" fmla="*/ 0 h 639743"/>
                <a:gd name="connsiteX17" fmla="*/ 555943 w 1111887"/>
                <a:gd name="connsiteY17" fmla="*/ 81811 h 639743"/>
                <a:gd name="connsiteX18" fmla="*/ 172206 w 1111887"/>
                <a:gd name="connsiteY18" fmla="*/ 194437 h 639743"/>
                <a:gd name="connsiteX19" fmla="*/ 555943 w 1111887"/>
                <a:gd name="connsiteY19" fmla="*/ 307062 h 639743"/>
                <a:gd name="connsiteX20" fmla="*/ 939680 w 1111887"/>
                <a:gd name="connsiteY20" fmla="*/ 194437 h 639743"/>
                <a:gd name="connsiteX21" fmla="*/ 555943 w 1111887"/>
                <a:gd name="connsiteY21" fmla="*/ 81811 h 639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11887" h="639743">
                  <a:moveTo>
                    <a:pt x="555943" y="0"/>
                  </a:moveTo>
                  <a:cubicBezTo>
                    <a:pt x="843792" y="0"/>
                    <a:pt x="1080548" y="89237"/>
                    <a:pt x="1109018" y="203591"/>
                  </a:cubicBezTo>
                  <a:lnTo>
                    <a:pt x="1111039" y="219917"/>
                  </a:lnTo>
                  <a:lnTo>
                    <a:pt x="1111887" y="219917"/>
                  </a:lnTo>
                  <a:lnTo>
                    <a:pt x="1111887" y="226777"/>
                  </a:lnTo>
                  <a:cubicBezTo>
                    <a:pt x="1111887" y="257382"/>
                    <a:pt x="1111887" y="305002"/>
                    <a:pt x="1111887" y="363247"/>
                  </a:cubicBezTo>
                  <a:lnTo>
                    <a:pt x="1111887" y="419827"/>
                  </a:lnTo>
                  <a:lnTo>
                    <a:pt x="1111040" y="419827"/>
                  </a:lnTo>
                  <a:lnTo>
                    <a:pt x="1109019" y="436153"/>
                  </a:lnTo>
                  <a:cubicBezTo>
                    <a:pt x="1080549" y="550506"/>
                    <a:pt x="843794" y="639743"/>
                    <a:pt x="555944" y="639743"/>
                  </a:cubicBezTo>
                  <a:cubicBezTo>
                    <a:pt x="268095" y="639743"/>
                    <a:pt x="31340" y="550506"/>
                    <a:pt x="2870" y="436153"/>
                  </a:cubicBezTo>
                  <a:lnTo>
                    <a:pt x="849" y="419827"/>
                  </a:lnTo>
                  <a:lnTo>
                    <a:pt x="0" y="419827"/>
                  </a:lnTo>
                  <a:lnTo>
                    <a:pt x="0" y="412966"/>
                  </a:lnTo>
                  <a:lnTo>
                    <a:pt x="0" y="226767"/>
                  </a:lnTo>
                  <a:lnTo>
                    <a:pt x="2869" y="203591"/>
                  </a:lnTo>
                  <a:cubicBezTo>
                    <a:pt x="31339" y="89237"/>
                    <a:pt x="268093" y="0"/>
                    <a:pt x="555943" y="0"/>
                  </a:cubicBezTo>
                  <a:close/>
                  <a:moveTo>
                    <a:pt x="555943" y="81811"/>
                  </a:moveTo>
                  <a:cubicBezTo>
                    <a:pt x="344011" y="81811"/>
                    <a:pt x="172206" y="132234"/>
                    <a:pt x="172206" y="194437"/>
                  </a:cubicBezTo>
                  <a:cubicBezTo>
                    <a:pt x="172206" y="256638"/>
                    <a:pt x="344011" y="307062"/>
                    <a:pt x="555943" y="307062"/>
                  </a:cubicBezTo>
                  <a:cubicBezTo>
                    <a:pt x="767875" y="307062"/>
                    <a:pt x="939680" y="256638"/>
                    <a:pt x="939680" y="194437"/>
                  </a:cubicBezTo>
                  <a:cubicBezTo>
                    <a:pt x="939680" y="132234"/>
                    <a:pt x="767875" y="81811"/>
                    <a:pt x="555943" y="8181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8" name="Rectangle 67"/>
          <p:cNvSpPr>
            <a:spLocks noChangeAspect="1"/>
          </p:cNvSpPr>
          <p:nvPr/>
        </p:nvSpPr>
        <p:spPr bwMode="auto">
          <a:xfrm>
            <a:off x="739925" y="6295280"/>
            <a:ext cx="2452307" cy="5009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9144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Redefines multi-tenancy</a:t>
            </a:r>
          </a:p>
        </p:txBody>
      </p:sp>
      <p:sp>
        <p:nvSpPr>
          <p:cNvPr id="69" name="Pentagon 68"/>
          <p:cNvSpPr/>
          <p:nvPr/>
        </p:nvSpPr>
        <p:spPr bwMode="auto">
          <a:xfrm>
            <a:off x="0" y="6245274"/>
            <a:ext cx="192024" cy="481395"/>
          </a:xfrm>
          <a:prstGeom prst="homePlate">
            <a:avLst>
              <a:gd name="adj" fmla="val 23545"/>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1924877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99935-655B-4F7A-B96A-00A98BB325AE}"/>
              </a:ext>
            </a:extLst>
          </p:cNvPr>
          <p:cNvSpPr>
            <a:spLocks noGrp="1"/>
          </p:cNvSpPr>
          <p:nvPr>
            <p:ph type="title"/>
          </p:nvPr>
        </p:nvSpPr>
        <p:spPr>
          <a:xfrm>
            <a:off x="274639" y="201565"/>
            <a:ext cx="11642721" cy="1316945"/>
          </a:xfrm>
        </p:spPr>
        <p:txBody>
          <a:bodyPr>
            <a:normAutofit/>
          </a:bodyPr>
          <a:lstStyle/>
          <a:p>
            <a:r>
              <a:rPr lang="en-US" sz="3200" cap="all" spc="500" dirty="0">
                <a:ln w="3175">
                  <a:noFill/>
                </a:ln>
                <a:solidFill>
                  <a:srgbClr val="0078D7"/>
                </a:solidFill>
                <a:latin typeface="Segoe UI Semilight" charset="0"/>
                <a:ea typeface="+mn-ea"/>
                <a:cs typeface="Segoe UI Semilight" charset="0"/>
              </a:rPr>
              <a:t>Mission critical availability </a:t>
            </a:r>
            <a:br>
              <a:rPr lang="en-US" sz="4800" dirty="0"/>
            </a:br>
            <a:r>
              <a:rPr lang="en-US" sz="2400" cap="all" dirty="0">
                <a:solidFill>
                  <a:srgbClr val="0078D7"/>
                </a:solidFill>
              </a:rPr>
              <a:t>High availability at global scale</a:t>
            </a:r>
          </a:p>
        </p:txBody>
      </p:sp>
      <p:sp>
        <p:nvSpPr>
          <p:cNvPr id="62" name="Text Placeholder 61">
            <a:extLst>
              <a:ext uri="{FF2B5EF4-FFF2-40B4-BE49-F238E27FC236}">
                <a16:creationId xmlns:a16="http://schemas.microsoft.com/office/drawing/2014/main" id="{356C16F2-69AB-4DD1-BC5D-EFF34E34FB3C}"/>
              </a:ext>
            </a:extLst>
          </p:cNvPr>
          <p:cNvSpPr>
            <a:spLocks noGrp="1"/>
          </p:cNvSpPr>
          <p:nvPr>
            <p:ph type="body" sz="quarter" idx="10"/>
          </p:nvPr>
        </p:nvSpPr>
        <p:spPr>
          <a:xfrm>
            <a:off x="274638" y="2357133"/>
            <a:ext cx="4409352" cy="3434786"/>
          </a:xfrm>
        </p:spPr>
        <p:txBody>
          <a:bodyPr/>
          <a:lstStyle/>
          <a:p>
            <a:r>
              <a:rPr lang="en-US" sz="1800" dirty="0"/>
              <a:t>Industry-leading 99.99% availability SLA</a:t>
            </a:r>
          </a:p>
          <a:p>
            <a:r>
              <a:rPr lang="en-US" sz="1800" dirty="0"/>
              <a:t>Automatic backups</a:t>
            </a:r>
          </a:p>
          <a:p>
            <a:r>
              <a:rPr lang="en-US" sz="1800" dirty="0"/>
              <a:t>Point in time restore with up to 35 days retention </a:t>
            </a:r>
          </a:p>
          <a:p>
            <a:r>
              <a:rPr lang="en-US" sz="1800" dirty="0"/>
              <a:t>Active geo-replication and failover groups support RPO &lt;5s</a:t>
            </a:r>
          </a:p>
        </p:txBody>
      </p:sp>
      <p:sp>
        <p:nvSpPr>
          <p:cNvPr id="64" name="TextBox 338">
            <a:extLst>
              <a:ext uri="{FF2B5EF4-FFF2-40B4-BE49-F238E27FC236}">
                <a16:creationId xmlns:a16="http://schemas.microsoft.com/office/drawing/2014/main" id="{48D48BA5-8E64-4BDF-A8DE-0AE7AF34F604}"/>
              </a:ext>
            </a:extLst>
          </p:cNvPr>
          <p:cNvSpPr txBox="1"/>
          <p:nvPr/>
        </p:nvSpPr>
        <p:spPr>
          <a:xfrm>
            <a:off x="5242628" y="2357133"/>
            <a:ext cx="3390449"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44546A"/>
                </a:solidFill>
                <a:effectLst/>
                <a:uLnTx/>
                <a:uFillTx/>
                <a:latin typeface="Segoe UI" panose="020B0502040204020203" pitchFamily="34" charset="0"/>
                <a:ea typeface="+mn-ea"/>
                <a:cs typeface="Segoe UI" panose="020B0502040204020203" pitchFamily="34" charset="0"/>
              </a:rPr>
              <a:t>Up to </a:t>
            </a:r>
            <a:r>
              <a:rPr kumimoji="0" lang="en-US" sz="2000" b="0" i="0" u="none" strike="noStrike" kern="0" cap="none" spc="0" normalizeH="0" baseline="0" noProof="0" dirty="0">
                <a:ln>
                  <a:noFill/>
                </a:ln>
                <a:solidFill>
                  <a:srgbClr val="44546A"/>
                </a:solidFill>
                <a:effectLst/>
                <a:uLnTx/>
                <a:uFillTx/>
                <a:latin typeface="Segoe UI" panose="020B0502040204020203" pitchFamily="34" charset="0"/>
                <a:ea typeface="+mn-ea"/>
                <a:cs typeface="Segoe UI" panose="020B0502040204020203" pitchFamily="34" charset="0"/>
              </a:rPr>
              <a:t>4</a:t>
            </a:r>
            <a:r>
              <a:rPr kumimoji="0" lang="en-US" sz="1800" b="0" i="0" u="none" strike="noStrike" kern="0" cap="none" spc="0" normalizeH="0" baseline="0" noProof="0" dirty="0">
                <a:ln>
                  <a:noFill/>
                </a:ln>
                <a:solidFill>
                  <a:srgbClr val="44546A"/>
                </a:solidFill>
                <a:effectLst/>
                <a:uLnTx/>
                <a:uFillTx/>
                <a:latin typeface="Segoe UI" panose="020B0502040204020203" pitchFamily="34" charset="0"/>
                <a:ea typeface="+mn-ea"/>
                <a:cs typeface="Segoe UI" panose="020B0502040204020203" pitchFamily="34" charset="0"/>
              </a:rPr>
              <a:t> readable secondaries</a:t>
            </a:r>
          </a:p>
        </p:txBody>
      </p:sp>
      <p:pic>
        <p:nvPicPr>
          <p:cNvPr id="65" name="Picture 64">
            <a:extLst>
              <a:ext uri="{FF2B5EF4-FFF2-40B4-BE49-F238E27FC236}">
                <a16:creationId xmlns:a16="http://schemas.microsoft.com/office/drawing/2014/main" id="{824EDD42-AA9B-4758-8BC6-DFC43A49AEBE}"/>
              </a:ext>
            </a:extLst>
          </p:cNvPr>
          <p:cNvPicPr>
            <a:picLocks noChangeAspect="1"/>
          </p:cNvPicPr>
          <p:nvPr/>
        </p:nvPicPr>
        <p:blipFill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r="4568"/>
          <a:stretch/>
        </p:blipFill>
        <p:spPr>
          <a:xfrm>
            <a:off x="5296829" y="2929597"/>
            <a:ext cx="6620531" cy="3257012"/>
          </a:xfrm>
          <a:prstGeom prst="rect">
            <a:avLst/>
          </a:prstGeom>
        </p:spPr>
      </p:pic>
      <p:grpSp>
        <p:nvGrpSpPr>
          <p:cNvPr id="66" name="Group 65">
            <a:extLst>
              <a:ext uri="{FF2B5EF4-FFF2-40B4-BE49-F238E27FC236}">
                <a16:creationId xmlns:a16="http://schemas.microsoft.com/office/drawing/2014/main" id="{169FB048-9DD6-40E1-977B-E7143FF8416B}"/>
              </a:ext>
            </a:extLst>
          </p:cNvPr>
          <p:cNvGrpSpPr/>
          <p:nvPr/>
        </p:nvGrpSpPr>
        <p:grpSpPr>
          <a:xfrm>
            <a:off x="6060114" y="4168702"/>
            <a:ext cx="258036" cy="258036"/>
            <a:chOff x="5298510" y="3607496"/>
            <a:chExt cx="288099" cy="288099"/>
          </a:xfrm>
        </p:grpSpPr>
        <p:sp>
          <p:nvSpPr>
            <p:cNvPr id="67" name="Oval 66">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8" name="Group 77">
            <a:extLst>
              <a:ext uri="{FF2B5EF4-FFF2-40B4-BE49-F238E27FC236}">
                <a16:creationId xmlns:a16="http://schemas.microsoft.com/office/drawing/2014/main" id="{000A2B1F-9E0A-4BA9-838E-F3C502AB5D92}"/>
              </a:ext>
            </a:extLst>
          </p:cNvPr>
          <p:cNvGrpSpPr/>
          <p:nvPr/>
        </p:nvGrpSpPr>
        <p:grpSpPr>
          <a:xfrm>
            <a:off x="8270189" y="3386452"/>
            <a:ext cx="1047421" cy="1047421"/>
            <a:chOff x="5321459" y="3630988"/>
            <a:chExt cx="236552" cy="236552"/>
          </a:xfrm>
        </p:grpSpPr>
        <p:sp>
          <p:nvSpPr>
            <p:cNvPr id="79" name="Oval 78">
              <a:extLst>
                <a:ext uri="{FF2B5EF4-FFF2-40B4-BE49-F238E27FC236}">
                  <a16:creationId xmlns:a16="http://schemas.microsoft.com/office/drawing/2014/main" id="{F05E2178-5343-4249-B1C6-B8B30AB2C852}"/>
                </a:ext>
              </a:extLst>
            </p:cNvPr>
            <p:cNvSpPr/>
            <p:nvPr/>
          </p:nvSpPr>
          <p:spPr bwMode="auto">
            <a:xfrm>
              <a:off x="5321459" y="3630988"/>
              <a:ext cx="236552" cy="236552"/>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9CFF7B5E-F5B7-4496-B1E4-2FBE7C47CE03}"/>
                </a:ext>
              </a:extLst>
            </p:cNvPr>
            <p:cNvSpPr/>
            <p:nvPr/>
          </p:nvSpPr>
          <p:spPr bwMode="auto">
            <a:xfrm>
              <a:off x="5350057" y="3656762"/>
              <a:ext cx="185004" cy="185004"/>
            </a:xfrm>
            <a:prstGeom prst="ellipse">
              <a:avLst/>
            </a:prstGeom>
            <a:solidFill>
              <a:srgbClr val="89C402">
                <a:alpha val="84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a:extLst>
              <a:ext uri="{FF2B5EF4-FFF2-40B4-BE49-F238E27FC236}">
                <a16:creationId xmlns:a16="http://schemas.microsoft.com/office/drawing/2014/main" id="{D8748970-5879-447E-8701-199043D0C683}"/>
              </a:ext>
            </a:extLst>
          </p:cNvPr>
          <p:cNvGrpSpPr/>
          <p:nvPr/>
        </p:nvGrpSpPr>
        <p:grpSpPr>
          <a:xfrm>
            <a:off x="8633077" y="3826524"/>
            <a:ext cx="258036" cy="258036"/>
            <a:chOff x="5298510" y="3607496"/>
            <a:chExt cx="288099" cy="288099"/>
          </a:xfrm>
        </p:grpSpPr>
        <p:sp>
          <p:nvSpPr>
            <p:cNvPr id="82" name="Oval 81">
              <a:extLst>
                <a:ext uri="{FF2B5EF4-FFF2-40B4-BE49-F238E27FC236}">
                  <a16:creationId xmlns:a16="http://schemas.microsoft.com/office/drawing/2014/main" id="{94B8D0DE-8512-4B5C-B555-77720F102735}"/>
                </a:ext>
              </a:extLst>
            </p:cNvPr>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Oval 82">
              <a:extLst>
                <a:ext uri="{FF2B5EF4-FFF2-40B4-BE49-F238E27FC236}">
                  <a16:creationId xmlns:a16="http://schemas.microsoft.com/office/drawing/2014/main" id="{14392B75-656C-4327-8BDA-DE06B5DD1DE0}"/>
                </a:ext>
              </a:extLst>
            </p:cNvPr>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4" name="Group 83">
            <a:extLst>
              <a:ext uri="{FF2B5EF4-FFF2-40B4-BE49-F238E27FC236}">
                <a16:creationId xmlns:a16="http://schemas.microsoft.com/office/drawing/2014/main" id="{EF689405-BD86-4850-B086-C739F5E46D3B}"/>
              </a:ext>
            </a:extLst>
          </p:cNvPr>
          <p:cNvGrpSpPr/>
          <p:nvPr/>
        </p:nvGrpSpPr>
        <p:grpSpPr>
          <a:xfrm>
            <a:off x="10946045" y="5623422"/>
            <a:ext cx="258036" cy="258036"/>
            <a:chOff x="5298510" y="3607496"/>
            <a:chExt cx="288099" cy="288099"/>
          </a:xfrm>
        </p:grpSpPr>
        <p:sp>
          <p:nvSpPr>
            <p:cNvPr id="85" name="Oval 84">
              <a:extLst>
                <a:ext uri="{FF2B5EF4-FFF2-40B4-BE49-F238E27FC236}">
                  <a16:creationId xmlns:a16="http://schemas.microsoft.com/office/drawing/2014/main" id="{D3A29147-18C2-4BFA-B8D4-FF94DAB5C98C}"/>
                </a:ext>
              </a:extLst>
            </p:cNvPr>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Oval 85">
              <a:extLst>
                <a:ext uri="{FF2B5EF4-FFF2-40B4-BE49-F238E27FC236}">
                  <a16:creationId xmlns:a16="http://schemas.microsoft.com/office/drawing/2014/main" id="{222B1AFF-EE64-45D6-A630-42AB93F3E34D}"/>
                </a:ext>
              </a:extLst>
            </p:cNvPr>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11" name="Straight Connector 110">
            <a:extLst>
              <a:ext uri="{FF2B5EF4-FFF2-40B4-BE49-F238E27FC236}">
                <a16:creationId xmlns:a16="http://schemas.microsoft.com/office/drawing/2014/main" id="{76600C47-4BCD-4154-BDBE-E33ECB4AF9CF}"/>
              </a:ext>
            </a:extLst>
          </p:cNvPr>
          <p:cNvCxnSpPr/>
          <p:nvPr/>
        </p:nvCxnSpPr>
        <p:spPr>
          <a:xfrm>
            <a:off x="8778263" y="3962550"/>
            <a:ext cx="1510713" cy="684368"/>
          </a:xfrm>
          <a:prstGeom prst="line">
            <a:avLst/>
          </a:prstGeom>
          <a:noFill/>
          <a:ln w="28575" cap="flat" cmpd="sng" algn="ctr">
            <a:solidFill>
              <a:srgbClr val="0078D7"/>
            </a:solidFill>
            <a:prstDash val="sysDash"/>
            <a:headEnd type="none"/>
            <a:tailEnd type="none"/>
          </a:ln>
          <a:effectLst/>
        </p:spPr>
      </p:cxnSp>
      <p:cxnSp>
        <p:nvCxnSpPr>
          <p:cNvPr id="112" name="Straight Connector 111">
            <a:extLst>
              <a:ext uri="{FF2B5EF4-FFF2-40B4-BE49-F238E27FC236}">
                <a16:creationId xmlns:a16="http://schemas.microsoft.com/office/drawing/2014/main" id="{5A66FEEF-3BE5-4055-8996-E20760E02C71}"/>
              </a:ext>
            </a:extLst>
          </p:cNvPr>
          <p:cNvCxnSpPr/>
          <p:nvPr/>
        </p:nvCxnSpPr>
        <p:spPr>
          <a:xfrm>
            <a:off x="8823331" y="3978445"/>
            <a:ext cx="2224744" cy="1732606"/>
          </a:xfrm>
          <a:prstGeom prst="line">
            <a:avLst/>
          </a:prstGeom>
          <a:noFill/>
          <a:ln w="28575" cap="flat" cmpd="sng" algn="ctr">
            <a:solidFill>
              <a:srgbClr val="0078D7"/>
            </a:solidFill>
            <a:prstDash val="sysDash"/>
            <a:headEnd type="none"/>
            <a:tailEnd type="none"/>
          </a:ln>
          <a:effectLst/>
        </p:spPr>
      </p:cxnSp>
      <p:cxnSp>
        <p:nvCxnSpPr>
          <p:cNvPr id="113" name="Straight Connector 112">
            <a:extLst>
              <a:ext uri="{FF2B5EF4-FFF2-40B4-BE49-F238E27FC236}">
                <a16:creationId xmlns:a16="http://schemas.microsoft.com/office/drawing/2014/main" id="{F945F0BF-3735-4D35-A803-AE1DE564FA7D}"/>
              </a:ext>
            </a:extLst>
          </p:cNvPr>
          <p:cNvCxnSpPr/>
          <p:nvPr/>
        </p:nvCxnSpPr>
        <p:spPr>
          <a:xfrm>
            <a:off x="8810923" y="3996967"/>
            <a:ext cx="2352384" cy="416561"/>
          </a:xfrm>
          <a:prstGeom prst="line">
            <a:avLst/>
          </a:prstGeom>
          <a:noFill/>
          <a:ln w="28575" cap="flat" cmpd="sng" algn="ctr">
            <a:solidFill>
              <a:srgbClr val="0078D7"/>
            </a:solidFill>
            <a:prstDash val="sysDash"/>
            <a:headEnd type="none"/>
            <a:tailEnd type="none"/>
          </a:ln>
          <a:effectLst/>
        </p:spPr>
      </p:cxnSp>
      <p:cxnSp>
        <p:nvCxnSpPr>
          <p:cNvPr id="114" name="Straight Connector 113">
            <a:extLst>
              <a:ext uri="{FF2B5EF4-FFF2-40B4-BE49-F238E27FC236}">
                <a16:creationId xmlns:a16="http://schemas.microsoft.com/office/drawing/2014/main" id="{72DC7BBF-5A33-44E1-B969-41E6AB1AF357}"/>
              </a:ext>
            </a:extLst>
          </p:cNvPr>
          <p:cNvCxnSpPr>
            <a:endCxn id="128" idx="13"/>
          </p:cNvCxnSpPr>
          <p:nvPr/>
        </p:nvCxnSpPr>
        <p:spPr>
          <a:xfrm flipV="1">
            <a:off x="8778263" y="3587175"/>
            <a:ext cx="2294094" cy="387017"/>
          </a:xfrm>
          <a:prstGeom prst="line">
            <a:avLst/>
          </a:prstGeom>
          <a:noFill/>
          <a:ln w="28575" cap="flat" cmpd="sng" algn="ctr">
            <a:solidFill>
              <a:srgbClr val="0078D7"/>
            </a:solidFill>
            <a:prstDash val="sysDash"/>
            <a:headEnd type="none"/>
            <a:tailEnd type="none"/>
          </a:ln>
          <a:effectLst/>
        </p:spPr>
      </p:cxnSp>
      <p:grpSp>
        <p:nvGrpSpPr>
          <p:cNvPr id="115" name="Group 114">
            <a:extLst>
              <a:ext uri="{FF2B5EF4-FFF2-40B4-BE49-F238E27FC236}">
                <a16:creationId xmlns:a16="http://schemas.microsoft.com/office/drawing/2014/main" id="{60B1A2DE-3429-424E-95B6-7B622A0BCE6B}"/>
              </a:ext>
            </a:extLst>
          </p:cNvPr>
          <p:cNvGrpSpPr/>
          <p:nvPr/>
        </p:nvGrpSpPr>
        <p:grpSpPr>
          <a:xfrm>
            <a:off x="8361047" y="3650058"/>
            <a:ext cx="843218" cy="533975"/>
            <a:chOff x="1029392" y="2747554"/>
            <a:chExt cx="843218" cy="533975"/>
          </a:xfrm>
        </p:grpSpPr>
        <p:sp>
          <p:nvSpPr>
            <p:cNvPr id="116" name="Freeform 118">
              <a:extLst>
                <a:ext uri="{FF2B5EF4-FFF2-40B4-BE49-F238E27FC236}">
                  <a16:creationId xmlns:a16="http://schemas.microsoft.com/office/drawing/2014/main" id="{4BA74A4D-D968-4CC7-9B7E-6A5A1C39B668}"/>
                </a:ext>
              </a:extLst>
            </p:cNvPr>
            <p:cNvSpPr>
              <a:spLocks noChangeAspect="1"/>
            </p:cNvSpPr>
            <p:nvPr/>
          </p:nvSpPr>
          <p:spPr bwMode="auto">
            <a:xfrm>
              <a:off x="1029392" y="2747554"/>
              <a:ext cx="843218" cy="53397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7" name="Freeform 119">
              <a:extLst>
                <a:ext uri="{FF2B5EF4-FFF2-40B4-BE49-F238E27FC236}">
                  <a16:creationId xmlns:a16="http://schemas.microsoft.com/office/drawing/2014/main" id="{11B3BE43-88FE-4649-A2E9-C178CDAF7CC0}"/>
                </a:ext>
              </a:extLst>
            </p:cNvPr>
            <p:cNvSpPr/>
            <p:nvPr/>
          </p:nvSpPr>
          <p:spPr bwMode="auto">
            <a:xfrm>
              <a:off x="1337526" y="2888016"/>
              <a:ext cx="253075" cy="3245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18" name="Group 117">
            <a:extLst>
              <a:ext uri="{FF2B5EF4-FFF2-40B4-BE49-F238E27FC236}">
                <a16:creationId xmlns:a16="http://schemas.microsoft.com/office/drawing/2014/main" id="{86AE5E93-498E-4E65-8E65-47C14592096F}"/>
              </a:ext>
            </a:extLst>
          </p:cNvPr>
          <p:cNvGrpSpPr/>
          <p:nvPr/>
        </p:nvGrpSpPr>
        <p:grpSpPr>
          <a:xfrm>
            <a:off x="10841094" y="5619601"/>
            <a:ext cx="590411" cy="373883"/>
            <a:chOff x="1029392" y="2747554"/>
            <a:chExt cx="843218" cy="533975"/>
          </a:xfrm>
        </p:grpSpPr>
        <p:sp>
          <p:nvSpPr>
            <p:cNvPr id="119" name="Freeform 122">
              <a:extLst>
                <a:ext uri="{FF2B5EF4-FFF2-40B4-BE49-F238E27FC236}">
                  <a16:creationId xmlns:a16="http://schemas.microsoft.com/office/drawing/2014/main" id="{A2966349-CD92-4B9C-AF53-B2592EBDA167}"/>
                </a:ext>
              </a:extLst>
            </p:cNvPr>
            <p:cNvSpPr>
              <a:spLocks noChangeAspect="1"/>
            </p:cNvSpPr>
            <p:nvPr/>
          </p:nvSpPr>
          <p:spPr bwMode="auto">
            <a:xfrm>
              <a:off x="1029392" y="2747554"/>
              <a:ext cx="843218" cy="53397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0" name="Freeform 123">
              <a:extLst>
                <a:ext uri="{FF2B5EF4-FFF2-40B4-BE49-F238E27FC236}">
                  <a16:creationId xmlns:a16="http://schemas.microsoft.com/office/drawing/2014/main" id="{BF574A8F-5282-4E99-BCC4-23891E3A306F}"/>
                </a:ext>
              </a:extLst>
            </p:cNvPr>
            <p:cNvSpPr/>
            <p:nvPr/>
          </p:nvSpPr>
          <p:spPr bwMode="auto">
            <a:xfrm>
              <a:off x="1337526" y="2888016"/>
              <a:ext cx="253075" cy="3245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1" name="Group 120">
            <a:extLst>
              <a:ext uri="{FF2B5EF4-FFF2-40B4-BE49-F238E27FC236}">
                <a16:creationId xmlns:a16="http://schemas.microsoft.com/office/drawing/2014/main" id="{094DADDF-D3A3-44DD-AAB2-86E8112B5634}"/>
              </a:ext>
            </a:extLst>
          </p:cNvPr>
          <p:cNvGrpSpPr/>
          <p:nvPr/>
        </p:nvGrpSpPr>
        <p:grpSpPr>
          <a:xfrm>
            <a:off x="10037883" y="4506818"/>
            <a:ext cx="590411" cy="373883"/>
            <a:chOff x="1029392" y="2747554"/>
            <a:chExt cx="843218" cy="533975"/>
          </a:xfrm>
        </p:grpSpPr>
        <p:sp>
          <p:nvSpPr>
            <p:cNvPr id="122" name="Freeform 134">
              <a:extLst>
                <a:ext uri="{FF2B5EF4-FFF2-40B4-BE49-F238E27FC236}">
                  <a16:creationId xmlns:a16="http://schemas.microsoft.com/office/drawing/2014/main" id="{069B70C5-DEBE-4721-9FF9-D4F946C5B225}"/>
                </a:ext>
              </a:extLst>
            </p:cNvPr>
            <p:cNvSpPr>
              <a:spLocks noChangeAspect="1"/>
            </p:cNvSpPr>
            <p:nvPr/>
          </p:nvSpPr>
          <p:spPr bwMode="auto">
            <a:xfrm>
              <a:off x="1029392" y="2747554"/>
              <a:ext cx="843218" cy="53397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3" name="Freeform 135">
              <a:extLst>
                <a:ext uri="{FF2B5EF4-FFF2-40B4-BE49-F238E27FC236}">
                  <a16:creationId xmlns:a16="http://schemas.microsoft.com/office/drawing/2014/main" id="{5C2E419A-C85E-4943-8E38-D5B92161B373}"/>
                </a:ext>
              </a:extLst>
            </p:cNvPr>
            <p:cNvSpPr/>
            <p:nvPr/>
          </p:nvSpPr>
          <p:spPr bwMode="auto">
            <a:xfrm>
              <a:off x="1337526" y="2888016"/>
              <a:ext cx="253075" cy="3245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4" name="Group 123">
            <a:extLst>
              <a:ext uri="{FF2B5EF4-FFF2-40B4-BE49-F238E27FC236}">
                <a16:creationId xmlns:a16="http://schemas.microsoft.com/office/drawing/2014/main" id="{96018CBB-A85D-43CC-AF54-B7EDFB556265}"/>
              </a:ext>
            </a:extLst>
          </p:cNvPr>
          <p:cNvGrpSpPr/>
          <p:nvPr/>
        </p:nvGrpSpPr>
        <p:grpSpPr>
          <a:xfrm>
            <a:off x="11015336" y="4150867"/>
            <a:ext cx="590411" cy="373883"/>
            <a:chOff x="1029392" y="2747554"/>
            <a:chExt cx="843218" cy="533975"/>
          </a:xfrm>
        </p:grpSpPr>
        <p:sp>
          <p:nvSpPr>
            <p:cNvPr id="125" name="Freeform 137">
              <a:extLst>
                <a:ext uri="{FF2B5EF4-FFF2-40B4-BE49-F238E27FC236}">
                  <a16:creationId xmlns:a16="http://schemas.microsoft.com/office/drawing/2014/main" id="{A2985416-14E5-4E4D-A7CA-A64B59C1F7CF}"/>
                </a:ext>
              </a:extLst>
            </p:cNvPr>
            <p:cNvSpPr>
              <a:spLocks noChangeAspect="1"/>
            </p:cNvSpPr>
            <p:nvPr/>
          </p:nvSpPr>
          <p:spPr bwMode="auto">
            <a:xfrm>
              <a:off x="1029392" y="2747554"/>
              <a:ext cx="843218" cy="53397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6" name="Freeform 138">
              <a:extLst>
                <a:ext uri="{FF2B5EF4-FFF2-40B4-BE49-F238E27FC236}">
                  <a16:creationId xmlns:a16="http://schemas.microsoft.com/office/drawing/2014/main" id="{12334C40-BF62-41EF-AFBA-07BE5E3B654D}"/>
                </a:ext>
              </a:extLst>
            </p:cNvPr>
            <p:cNvSpPr/>
            <p:nvPr/>
          </p:nvSpPr>
          <p:spPr bwMode="auto">
            <a:xfrm>
              <a:off x="1337526" y="2888016"/>
              <a:ext cx="253075" cy="3245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7" name="Group 126">
            <a:extLst>
              <a:ext uri="{FF2B5EF4-FFF2-40B4-BE49-F238E27FC236}">
                <a16:creationId xmlns:a16="http://schemas.microsoft.com/office/drawing/2014/main" id="{488FFE63-B9F7-43FF-B74E-0DA86A0C8534}"/>
              </a:ext>
            </a:extLst>
          </p:cNvPr>
          <p:cNvGrpSpPr/>
          <p:nvPr/>
        </p:nvGrpSpPr>
        <p:grpSpPr>
          <a:xfrm>
            <a:off x="11072357" y="3343820"/>
            <a:ext cx="590411" cy="373883"/>
            <a:chOff x="1029392" y="2747554"/>
            <a:chExt cx="843218" cy="533975"/>
          </a:xfrm>
        </p:grpSpPr>
        <p:sp>
          <p:nvSpPr>
            <p:cNvPr id="128" name="Freeform 140">
              <a:extLst>
                <a:ext uri="{FF2B5EF4-FFF2-40B4-BE49-F238E27FC236}">
                  <a16:creationId xmlns:a16="http://schemas.microsoft.com/office/drawing/2014/main" id="{3DB06D6D-EBC1-4923-9A0A-1B08E06872C9}"/>
                </a:ext>
              </a:extLst>
            </p:cNvPr>
            <p:cNvSpPr>
              <a:spLocks noChangeAspect="1"/>
            </p:cNvSpPr>
            <p:nvPr/>
          </p:nvSpPr>
          <p:spPr bwMode="auto">
            <a:xfrm>
              <a:off x="1029392" y="2747554"/>
              <a:ext cx="843218" cy="53397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9" name="Freeform 141">
              <a:extLst>
                <a:ext uri="{FF2B5EF4-FFF2-40B4-BE49-F238E27FC236}">
                  <a16:creationId xmlns:a16="http://schemas.microsoft.com/office/drawing/2014/main" id="{8A7994E2-FCA2-4364-866A-DC2946ED1748}"/>
                </a:ext>
              </a:extLst>
            </p:cNvPr>
            <p:cNvSpPr/>
            <p:nvPr/>
          </p:nvSpPr>
          <p:spPr bwMode="auto">
            <a:xfrm>
              <a:off x="1337526" y="2888016"/>
              <a:ext cx="253075" cy="3245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0" name="Group 129"/>
          <p:cNvGrpSpPr/>
          <p:nvPr/>
        </p:nvGrpSpPr>
        <p:grpSpPr>
          <a:xfrm>
            <a:off x="396763" y="6307147"/>
            <a:ext cx="345034" cy="409611"/>
            <a:chOff x="10467703" y="-2406750"/>
            <a:chExt cx="798347" cy="947769"/>
          </a:xfrm>
        </p:grpSpPr>
        <p:sp>
          <p:nvSpPr>
            <p:cNvPr id="131" name="Freeform 130"/>
            <p:cNvSpPr/>
            <p:nvPr/>
          </p:nvSpPr>
          <p:spPr>
            <a:xfrm rot="10800000" flipH="1">
              <a:off x="10467703" y="-2406750"/>
              <a:ext cx="798347" cy="947769"/>
            </a:xfrm>
            <a:custGeom>
              <a:avLst/>
              <a:gdLst>
                <a:gd name="connsiteX0" fmla="*/ 0 w 797833"/>
                <a:gd name="connsiteY0" fmla="*/ 947773 h 947773"/>
                <a:gd name="connsiteX1" fmla="*/ 797832 w 797833"/>
                <a:gd name="connsiteY1" fmla="*/ 947773 h 947773"/>
                <a:gd name="connsiteX2" fmla="*/ 797832 w 797833"/>
                <a:gd name="connsiteY2" fmla="*/ 947771 h 947773"/>
                <a:gd name="connsiteX3" fmla="*/ 797833 w 797833"/>
                <a:gd name="connsiteY3" fmla="*/ 947771 h 947773"/>
                <a:gd name="connsiteX4" fmla="*/ 797833 w 797833"/>
                <a:gd name="connsiteY4" fmla="*/ 422989 h 947773"/>
                <a:gd name="connsiteX5" fmla="*/ 797831 w 797833"/>
                <a:gd name="connsiteY5" fmla="*/ 422987 h 947773"/>
                <a:gd name="connsiteX6" fmla="*/ 789773 w 797833"/>
                <a:gd name="connsiteY6" fmla="*/ 389753 h 947773"/>
                <a:gd name="connsiteX7" fmla="*/ 479628 w 797833"/>
                <a:gd name="connsiteY7" fmla="*/ 29420 h 947773"/>
                <a:gd name="connsiteX8" fmla="*/ 398920 w 797833"/>
                <a:gd name="connsiteY8" fmla="*/ 4 h 947773"/>
                <a:gd name="connsiteX9" fmla="*/ 398917 w 797833"/>
                <a:gd name="connsiteY9" fmla="*/ 0 h 947773"/>
                <a:gd name="connsiteX10" fmla="*/ 1 w 797833"/>
                <a:gd name="connsiteY10" fmla="*/ 422989 h 947773"/>
                <a:gd name="connsiteX11" fmla="*/ 1 w 797833"/>
                <a:gd name="connsiteY11" fmla="*/ 422990 h 947773"/>
                <a:gd name="connsiteX12" fmla="*/ 0 w 797833"/>
                <a:gd name="connsiteY12" fmla="*/ 422991 h 947773"/>
                <a:gd name="connsiteX0" fmla="*/ 0 w 797833"/>
                <a:gd name="connsiteY0" fmla="*/ 947773 h 947773"/>
                <a:gd name="connsiteX1" fmla="*/ 797832 w 797833"/>
                <a:gd name="connsiteY1" fmla="*/ 947773 h 947773"/>
                <a:gd name="connsiteX2" fmla="*/ 797832 w 797833"/>
                <a:gd name="connsiteY2" fmla="*/ 947771 h 947773"/>
                <a:gd name="connsiteX3" fmla="*/ 797833 w 797833"/>
                <a:gd name="connsiteY3" fmla="*/ 947771 h 947773"/>
                <a:gd name="connsiteX4" fmla="*/ 797833 w 797833"/>
                <a:gd name="connsiteY4" fmla="*/ 422989 h 947773"/>
                <a:gd name="connsiteX5" fmla="*/ 797831 w 797833"/>
                <a:gd name="connsiteY5" fmla="*/ 422987 h 947773"/>
                <a:gd name="connsiteX6" fmla="*/ 789773 w 797833"/>
                <a:gd name="connsiteY6" fmla="*/ 389753 h 947773"/>
                <a:gd name="connsiteX7" fmla="*/ 398920 w 797833"/>
                <a:gd name="connsiteY7" fmla="*/ 4 h 947773"/>
                <a:gd name="connsiteX8" fmla="*/ 398917 w 797833"/>
                <a:gd name="connsiteY8" fmla="*/ 0 h 947773"/>
                <a:gd name="connsiteX9" fmla="*/ 1 w 797833"/>
                <a:gd name="connsiteY9" fmla="*/ 422989 h 947773"/>
                <a:gd name="connsiteX10" fmla="*/ 1 w 797833"/>
                <a:gd name="connsiteY10" fmla="*/ 422990 h 947773"/>
                <a:gd name="connsiteX11" fmla="*/ 0 w 797833"/>
                <a:gd name="connsiteY11" fmla="*/ 422991 h 947773"/>
                <a:gd name="connsiteX12" fmla="*/ 0 w 797833"/>
                <a:gd name="connsiteY12" fmla="*/ 947773 h 947773"/>
                <a:gd name="connsiteX0" fmla="*/ 0 w 797833"/>
                <a:gd name="connsiteY0" fmla="*/ 947773 h 947773"/>
                <a:gd name="connsiteX1" fmla="*/ 797832 w 797833"/>
                <a:gd name="connsiteY1" fmla="*/ 947773 h 947773"/>
                <a:gd name="connsiteX2" fmla="*/ 797832 w 797833"/>
                <a:gd name="connsiteY2" fmla="*/ 947771 h 947773"/>
                <a:gd name="connsiteX3" fmla="*/ 797833 w 797833"/>
                <a:gd name="connsiteY3" fmla="*/ 947771 h 947773"/>
                <a:gd name="connsiteX4" fmla="*/ 797833 w 797833"/>
                <a:gd name="connsiteY4" fmla="*/ 422989 h 947773"/>
                <a:gd name="connsiteX5" fmla="*/ 797831 w 797833"/>
                <a:gd name="connsiteY5" fmla="*/ 422987 h 947773"/>
                <a:gd name="connsiteX6" fmla="*/ 398920 w 797833"/>
                <a:gd name="connsiteY6" fmla="*/ 4 h 947773"/>
                <a:gd name="connsiteX7" fmla="*/ 398917 w 797833"/>
                <a:gd name="connsiteY7" fmla="*/ 0 h 947773"/>
                <a:gd name="connsiteX8" fmla="*/ 1 w 797833"/>
                <a:gd name="connsiteY8" fmla="*/ 422989 h 947773"/>
                <a:gd name="connsiteX9" fmla="*/ 1 w 797833"/>
                <a:gd name="connsiteY9" fmla="*/ 422990 h 947773"/>
                <a:gd name="connsiteX10" fmla="*/ 0 w 797833"/>
                <a:gd name="connsiteY10" fmla="*/ 422991 h 947773"/>
                <a:gd name="connsiteX11" fmla="*/ 0 w 797833"/>
                <a:gd name="connsiteY11" fmla="*/ 947773 h 947773"/>
                <a:gd name="connsiteX0" fmla="*/ 0 w 797833"/>
                <a:gd name="connsiteY0" fmla="*/ 947773 h 947773"/>
                <a:gd name="connsiteX1" fmla="*/ 797832 w 797833"/>
                <a:gd name="connsiteY1" fmla="*/ 947773 h 947773"/>
                <a:gd name="connsiteX2" fmla="*/ 797832 w 797833"/>
                <a:gd name="connsiteY2" fmla="*/ 947771 h 947773"/>
                <a:gd name="connsiteX3" fmla="*/ 797833 w 797833"/>
                <a:gd name="connsiteY3" fmla="*/ 947771 h 947773"/>
                <a:gd name="connsiteX4" fmla="*/ 797833 w 797833"/>
                <a:gd name="connsiteY4" fmla="*/ 422989 h 947773"/>
                <a:gd name="connsiteX5" fmla="*/ 797831 w 797833"/>
                <a:gd name="connsiteY5" fmla="*/ 422987 h 947773"/>
                <a:gd name="connsiteX6" fmla="*/ 398920 w 797833"/>
                <a:gd name="connsiteY6" fmla="*/ 4 h 947773"/>
                <a:gd name="connsiteX7" fmla="*/ 398917 w 797833"/>
                <a:gd name="connsiteY7" fmla="*/ 0 h 947773"/>
                <a:gd name="connsiteX8" fmla="*/ 1 w 797833"/>
                <a:gd name="connsiteY8" fmla="*/ 422989 h 947773"/>
                <a:gd name="connsiteX9" fmla="*/ 1 w 797833"/>
                <a:gd name="connsiteY9" fmla="*/ 422990 h 947773"/>
                <a:gd name="connsiteX10" fmla="*/ 0 w 797833"/>
                <a:gd name="connsiteY10" fmla="*/ 422991 h 947773"/>
                <a:gd name="connsiteX11" fmla="*/ 0 w 797833"/>
                <a:gd name="connsiteY11" fmla="*/ 947773 h 947773"/>
                <a:gd name="connsiteX0" fmla="*/ 0 w 797839"/>
                <a:gd name="connsiteY0" fmla="*/ 947773 h 947773"/>
                <a:gd name="connsiteX1" fmla="*/ 797832 w 797839"/>
                <a:gd name="connsiteY1" fmla="*/ 947773 h 947773"/>
                <a:gd name="connsiteX2" fmla="*/ 797832 w 797839"/>
                <a:gd name="connsiteY2" fmla="*/ 947771 h 947773"/>
                <a:gd name="connsiteX3" fmla="*/ 797833 w 797839"/>
                <a:gd name="connsiteY3" fmla="*/ 947771 h 947773"/>
                <a:gd name="connsiteX4" fmla="*/ 797833 w 797839"/>
                <a:gd name="connsiteY4" fmla="*/ 422989 h 947773"/>
                <a:gd name="connsiteX5" fmla="*/ 797831 w 797839"/>
                <a:gd name="connsiteY5" fmla="*/ 422987 h 947773"/>
                <a:gd name="connsiteX6" fmla="*/ 398920 w 797839"/>
                <a:gd name="connsiteY6" fmla="*/ 4 h 947773"/>
                <a:gd name="connsiteX7" fmla="*/ 398917 w 797839"/>
                <a:gd name="connsiteY7" fmla="*/ 0 h 947773"/>
                <a:gd name="connsiteX8" fmla="*/ 1 w 797839"/>
                <a:gd name="connsiteY8" fmla="*/ 422989 h 947773"/>
                <a:gd name="connsiteX9" fmla="*/ 1 w 797839"/>
                <a:gd name="connsiteY9" fmla="*/ 422990 h 947773"/>
                <a:gd name="connsiteX10" fmla="*/ 0 w 797839"/>
                <a:gd name="connsiteY10" fmla="*/ 422991 h 947773"/>
                <a:gd name="connsiteX11" fmla="*/ 0 w 797839"/>
                <a:gd name="connsiteY11" fmla="*/ 947773 h 947773"/>
                <a:gd name="connsiteX0" fmla="*/ 0 w 797839"/>
                <a:gd name="connsiteY0" fmla="*/ 947773 h 947773"/>
                <a:gd name="connsiteX1" fmla="*/ 797832 w 797839"/>
                <a:gd name="connsiteY1" fmla="*/ 947773 h 947773"/>
                <a:gd name="connsiteX2" fmla="*/ 797832 w 797839"/>
                <a:gd name="connsiteY2" fmla="*/ 947771 h 947773"/>
                <a:gd name="connsiteX3" fmla="*/ 797833 w 797839"/>
                <a:gd name="connsiteY3" fmla="*/ 947771 h 947773"/>
                <a:gd name="connsiteX4" fmla="*/ 797833 w 797839"/>
                <a:gd name="connsiteY4" fmla="*/ 422989 h 947773"/>
                <a:gd name="connsiteX5" fmla="*/ 797831 w 797839"/>
                <a:gd name="connsiteY5" fmla="*/ 422987 h 947773"/>
                <a:gd name="connsiteX6" fmla="*/ 398920 w 797839"/>
                <a:gd name="connsiteY6" fmla="*/ 4 h 947773"/>
                <a:gd name="connsiteX7" fmla="*/ 398917 w 797839"/>
                <a:gd name="connsiteY7" fmla="*/ 0 h 947773"/>
                <a:gd name="connsiteX8" fmla="*/ 1 w 797839"/>
                <a:gd name="connsiteY8" fmla="*/ 422989 h 947773"/>
                <a:gd name="connsiteX9" fmla="*/ 1 w 797839"/>
                <a:gd name="connsiteY9" fmla="*/ 422990 h 947773"/>
                <a:gd name="connsiteX10" fmla="*/ 0 w 797839"/>
                <a:gd name="connsiteY10" fmla="*/ 422991 h 947773"/>
                <a:gd name="connsiteX11" fmla="*/ 0 w 797839"/>
                <a:gd name="connsiteY11" fmla="*/ 947773 h 947773"/>
                <a:gd name="connsiteX0" fmla="*/ 0 w 797839"/>
                <a:gd name="connsiteY0" fmla="*/ 968938 h 968938"/>
                <a:gd name="connsiteX1" fmla="*/ 797832 w 797839"/>
                <a:gd name="connsiteY1" fmla="*/ 968938 h 968938"/>
                <a:gd name="connsiteX2" fmla="*/ 797832 w 797839"/>
                <a:gd name="connsiteY2" fmla="*/ 968936 h 968938"/>
                <a:gd name="connsiteX3" fmla="*/ 797833 w 797839"/>
                <a:gd name="connsiteY3" fmla="*/ 968936 h 968938"/>
                <a:gd name="connsiteX4" fmla="*/ 797833 w 797839"/>
                <a:gd name="connsiteY4" fmla="*/ 444154 h 968938"/>
                <a:gd name="connsiteX5" fmla="*/ 797831 w 797839"/>
                <a:gd name="connsiteY5" fmla="*/ 444152 h 968938"/>
                <a:gd name="connsiteX6" fmla="*/ 398920 w 797839"/>
                <a:gd name="connsiteY6" fmla="*/ 21169 h 968938"/>
                <a:gd name="connsiteX7" fmla="*/ 398917 w 797839"/>
                <a:gd name="connsiteY7" fmla="*/ 21165 h 968938"/>
                <a:gd name="connsiteX8" fmla="*/ 1 w 797839"/>
                <a:gd name="connsiteY8" fmla="*/ 444154 h 968938"/>
                <a:gd name="connsiteX9" fmla="*/ 1 w 797839"/>
                <a:gd name="connsiteY9" fmla="*/ 444155 h 968938"/>
                <a:gd name="connsiteX10" fmla="*/ 0 w 797839"/>
                <a:gd name="connsiteY10" fmla="*/ 444156 h 968938"/>
                <a:gd name="connsiteX11" fmla="*/ 0 w 797839"/>
                <a:gd name="connsiteY11" fmla="*/ 968938 h 968938"/>
                <a:gd name="connsiteX0" fmla="*/ 0 w 797839"/>
                <a:gd name="connsiteY0" fmla="*/ 968938 h 968938"/>
                <a:gd name="connsiteX1" fmla="*/ 797832 w 797839"/>
                <a:gd name="connsiteY1" fmla="*/ 968938 h 968938"/>
                <a:gd name="connsiteX2" fmla="*/ 797832 w 797839"/>
                <a:gd name="connsiteY2" fmla="*/ 968936 h 968938"/>
                <a:gd name="connsiteX3" fmla="*/ 797833 w 797839"/>
                <a:gd name="connsiteY3" fmla="*/ 968936 h 968938"/>
                <a:gd name="connsiteX4" fmla="*/ 797833 w 797839"/>
                <a:gd name="connsiteY4" fmla="*/ 444154 h 968938"/>
                <a:gd name="connsiteX5" fmla="*/ 797831 w 797839"/>
                <a:gd name="connsiteY5" fmla="*/ 444152 h 968938"/>
                <a:gd name="connsiteX6" fmla="*/ 398920 w 797839"/>
                <a:gd name="connsiteY6" fmla="*/ 21169 h 968938"/>
                <a:gd name="connsiteX7" fmla="*/ 398917 w 797839"/>
                <a:gd name="connsiteY7" fmla="*/ 21165 h 968938"/>
                <a:gd name="connsiteX8" fmla="*/ 1 w 797839"/>
                <a:gd name="connsiteY8" fmla="*/ 444154 h 968938"/>
                <a:gd name="connsiteX9" fmla="*/ 1 w 797839"/>
                <a:gd name="connsiteY9" fmla="*/ 444155 h 968938"/>
                <a:gd name="connsiteX10" fmla="*/ 0 w 797839"/>
                <a:gd name="connsiteY10" fmla="*/ 444156 h 968938"/>
                <a:gd name="connsiteX11" fmla="*/ 0 w 797839"/>
                <a:gd name="connsiteY11" fmla="*/ 968938 h 968938"/>
                <a:gd name="connsiteX0" fmla="*/ 0 w 797839"/>
                <a:gd name="connsiteY0" fmla="*/ 947773 h 947773"/>
                <a:gd name="connsiteX1" fmla="*/ 797832 w 797839"/>
                <a:gd name="connsiteY1" fmla="*/ 947773 h 947773"/>
                <a:gd name="connsiteX2" fmla="*/ 797832 w 797839"/>
                <a:gd name="connsiteY2" fmla="*/ 947771 h 947773"/>
                <a:gd name="connsiteX3" fmla="*/ 797833 w 797839"/>
                <a:gd name="connsiteY3" fmla="*/ 947771 h 947773"/>
                <a:gd name="connsiteX4" fmla="*/ 797833 w 797839"/>
                <a:gd name="connsiteY4" fmla="*/ 422989 h 947773"/>
                <a:gd name="connsiteX5" fmla="*/ 797831 w 797839"/>
                <a:gd name="connsiteY5" fmla="*/ 422987 h 947773"/>
                <a:gd name="connsiteX6" fmla="*/ 398920 w 797839"/>
                <a:gd name="connsiteY6" fmla="*/ 4 h 947773"/>
                <a:gd name="connsiteX7" fmla="*/ 398917 w 797839"/>
                <a:gd name="connsiteY7" fmla="*/ 0 h 947773"/>
                <a:gd name="connsiteX8" fmla="*/ 1 w 797839"/>
                <a:gd name="connsiteY8" fmla="*/ 422989 h 947773"/>
                <a:gd name="connsiteX9" fmla="*/ 1 w 797839"/>
                <a:gd name="connsiteY9" fmla="*/ 422990 h 947773"/>
                <a:gd name="connsiteX10" fmla="*/ 0 w 797839"/>
                <a:gd name="connsiteY10" fmla="*/ 422991 h 947773"/>
                <a:gd name="connsiteX11" fmla="*/ 0 w 797839"/>
                <a:gd name="connsiteY11" fmla="*/ 947773 h 947773"/>
                <a:gd name="connsiteX0" fmla="*/ 0 w 797839"/>
                <a:gd name="connsiteY0" fmla="*/ 947769 h 947769"/>
                <a:gd name="connsiteX1" fmla="*/ 797832 w 797839"/>
                <a:gd name="connsiteY1" fmla="*/ 947769 h 947769"/>
                <a:gd name="connsiteX2" fmla="*/ 797832 w 797839"/>
                <a:gd name="connsiteY2" fmla="*/ 947767 h 947769"/>
                <a:gd name="connsiteX3" fmla="*/ 797833 w 797839"/>
                <a:gd name="connsiteY3" fmla="*/ 947767 h 947769"/>
                <a:gd name="connsiteX4" fmla="*/ 797833 w 797839"/>
                <a:gd name="connsiteY4" fmla="*/ 422985 h 947769"/>
                <a:gd name="connsiteX5" fmla="*/ 797831 w 797839"/>
                <a:gd name="connsiteY5" fmla="*/ 422983 h 947769"/>
                <a:gd name="connsiteX6" fmla="*/ 398920 w 797839"/>
                <a:gd name="connsiteY6" fmla="*/ 0 h 947769"/>
                <a:gd name="connsiteX7" fmla="*/ 1 w 797839"/>
                <a:gd name="connsiteY7" fmla="*/ 422985 h 947769"/>
                <a:gd name="connsiteX8" fmla="*/ 1 w 797839"/>
                <a:gd name="connsiteY8" fmla="*/ 422986 h 947769"/>
                <a:gd name="connsiteX9" fmla="*/ 0 w 797839"/>
                <a:gd name="connsiteY9" fmla="*/ 422987 h 947769"/>
                <a:gd name="connsiteX10" fmla="*/ 0 w 797839"/>
                <a:gd name="connsiteY10" fmla="*/ 947769 h 947769"/>
                <a:gd name="connsiteX0" fmla="*/ 0 w 797839"/>
                <a:gd name="connsiteY0" fmla="*/ 947769 h 947769"/>
                <a:gd name="connsiteX1" fmla="*/ 797832 w 797839"/>
                <a:gd name="connsiteY1" fmla="*/ 947769 h 947769"/>
                <a:gd name="connsiteX2" fmla="*/ 797832 w 797839"/>
                <a:gd name="connsiteY2" fmla="*/ 947767 h 947769"/>
                <a:gd name="connsiteX3" fmla="*/ 797833 w 797839"/>
                <a:gd name="connsiteY3" fmla="*/ 947767 h 947769"/>
                <a:gd name="connsiteX4" fmla="*/ 797833 w 797839"/>
                <a:gd name="connsiteY4" fmla="*/ 422985 h 947769"/>
                <a:gd name="connsiteX5" fmla="*/ 797831 w 797839"/>
                <a:gd name="connsiteY5" fmla="*/ 422983 h 947769"/>
                <a:gd name="connsiteX6" fmla="*/ 398920 w 797839"/>
                <a:gd name="connsiteY6" fmla="*/ 0 h 947769"/>
                <a:gd name="connsiteX7" fmla="*/ 1 w 797839"/>
                <a:gd name="connsiteY7" fmla="*/ 422985 h 947769"/>
                <a:gd name="connsiteX8" fmla="*/ 1 w 797839"/>
                <a:gd name="connsiteY8" fmla="*/ 422986 h 947769"/>
                <a:gd name="connsiteX9" fmla="*/ 0 w 797839"/>
                <a:gd name="connsiteY9" fmla="*/ 422987 h 947769"/>
                <a:gd name="connsiteX10" fmla="*/ 0 w 797839"/>
                <a:gd name="connsiteY10" fmla="*/ 947769 h 947769"/>
                <a:gd name="connsiteX0" fmla="*/ 0 w 797843"/>
                <a:gd name="connsiteY0" fmla="*/ 947769 h 947769"/>
                <a:gd name="connsiteX1" fmla="*/ 797832 w 797843"/>
                <a:gd name="connsiteY1" fmla="*/ 947769 h 947769"/>
                <a:gd name="connsiteX2" fmla="*/ 797832 w 797843"/>
                <a:gd name="connsiteY2" fmla="*/ 947767 h 947769"/>
                <a:gd name="connsiteX3" fmla="*/ 797833 w 797843"/>
                <a:gd name="connsiteY3" fmla="*/ 947767 h 947769"/>
                <a:gd name="connsiteX4" fmla="*/ 797833 w 797843"/>
                <a:gd name="connsiteY4" fmla="*/ 422985 h 947769"/>
                <a:gd name="connsiteX5" fmla="*/ 797831 w 797843"/>
                <a:gd name="connsiteY5" fmla="*/ 422983 h 947769"/>
                <a:gd name="connsiteX6" fmla="*/ 398920 w 797843"/>
                <a:gd name="connsiteY6" fmla="*/ 0 h 947769"/>
                <a:gd name="connsiteX7" fmla="*/ 1 w 797843"/>
                <a:gd name="connsiteY7" fmla="*/ 422985 h 947769"/>
                <a:gd name="connsiteX8" fmla="*/ 1 w 797843"/>
                <a:gd name="connsiteY8" fmla="*/ 422986 h 947769"/>
                <a:gd name="connsiteX9" fmla="*/ 0 w 797843"/>
                <a:gd name="connsiteY9" fmla="*/ 422987 h 947769"/>
                <a:gd name="connsiteX10" fmla="*/ 0 w 797843"/>
                <a:gd name="connsiteY10" fmla="*/ 947769 h 947769"/>
                <a:gd name="connsiteX0" fmla="*/ 604 w 798447"/>
                <a:gd name="connsiteY0" fmla="*/ 947769 h 947769"/>
                <a:gd name="connsiteX1" fmla="*/ 798436 w 798447"/>
                <a:gd name="connsiteY1" fmla="*/ 947769 h 947769"/>
                <a:gd name="connsiteX2" fmla="*/ 798436 w 798447"/>
                <a:gd name="connsiteY2" fmla="*/ 947767 h 947769"/>
                <a:gd name="connsiteX3" fmla="*/ 798437 w 798447"/>
                <a:gd name="connsiteY3" fmla="*/ 947767 h 947769"/>
                <a:gd name="connsiteX4" fmla="*/ 798437 w 798447"/>
                <a:gd name="connsiteY4" fmla="*/ 422985 h 947769"/>
                <a:gd name="connsiteX5" fmla="*/ 798435 w 798447"/>
                <a:gd name="connsiteY5" fmla="*/ 422983 h 947769"/>
                <a:gd name="connsiteX6" fmla="*/ 399524 w 798447"/>
                <a:gd name="connsiteY6" fmla="*/ 0 h 947769"/>
                <a:gd name="connsiteX7" fmla="*/ 605 w 798447"/>
                <a:gd name="connsiteY7" fmla="*/ 422985 h 947769"/>
                <a:gd name="connsiteX8" fmla="*/ 605 w 798447"/>
                <a:gd name="connsiteY8" fmla="*/ 422986 h 947769"/>
                <a:gd name="connsiteX9" fmla="*/ 604 w 798447"/>
                <a:gd name="connsiteY9" fmla="*/ 422987 h 947769"/>
                <a:gd name="connsiteX10" fmla="*/ 604 w 798447"/>
                <a:gd name="connsiteY10" fmla="*/ 947769 h 947769"/>
                <a:gd name="connsiteX0" fmla="*/ 59098 w 856941"/>
                <a:gd name="connsiteY0" fmla="*/ 947769 h 947769"/>
                <a:gd name="connsiteX1" fmla="*/ 856930 w 856941"/>
                <a:gd name="connsiteY1" fmla="*/ 947769 h 947769"/>
                <a:gd name="connsiteX2" fmla="*/ 856930 w 856941"/>
                <a:gd name="connsiteY2" fmla="*/ 947767 h 947769"/>
                <a:gd name="connsiteX3" fmla="*/ 856931 w 856941"/>
                <a:gd name="connsiteY3" fmla="*/ 947767 h 947769"/>
                <a:gd name="connsiteX4" fmla="*/ 856931 w 856941"/>
                <a:gd name="connsiteY4" fmla="*/ 422985 h 947769"/>
                <a:gd name="connsiteX5" fmla="*/ 856929 w 856941"/>
                <a:gd name="connsiteY5" fmla="*/ 422983 h 947769"/>
                <a:gd name="connsiteX6" fmla="*/ 458018 w 856941"/>
                <a:gd name="connsiteY6" fmla="*/ 0 h 947769"/>
                <a:gd name="connsiteX7" fmla="*/ 59099 w 856941"/>
                <a:gd name="connsiteY7" fmla="*/ 422985 h 947769"/>
                <a:gd name="connsiteX8" fmla="*/ 59099 w 856941"/>
                <a:gd name="connsiteY8" fmla="*/ 422986 h 947769"/>
                <a:gd name="connsiteX9" fmla="*/ 59098 w 856941"/>
                <a:gd name="connsiteY9" fmla="*/ 947769 h 947769"/>
                <a:gd name="connsiteX0" fmla="*/ 59098 w 856931"/>
                <a:gd name="connsiteY0" fmla="*/ 947769 h 947769"/>
                <a:gd name="connsiteX1" fmla="*/ 856930 w 856931"/>
                <a:gd name="connsiteY1" fmla="*/ 947769 h 947769"/>
                <a:gd name="connsiteX2" fmla="*/ 856930 w 856931"/>
                <a:gd name="connsiteY2" fmla="*/ 947767 h 947769"/>
                <a:gd name="connsiteX3" fmla="*/ 856931 w 856931"/>
                <a:gd name="connsiteY3" fmla="*/ 947767 h 947769"/>
                <a:gd name="connsiteX4" fmla="*/ 856931 w 856931"/>
                <a:gd name="connsiteY4" fmla="*/ 422985 h 947769"/>
                <a:gd name="connsiteX5" fmla="*/ 458018 w 856931"/>
                <a:gd name="connsiteY5" fmla="*/ 0 h 947769"/>
                <a:gd name="connsiteX6" fmla="*/ 59099 w 856931"/>
                <a:gd name="connsiteY6" fmla="*/ 422985 h 947769"/>
                <a:gd name="connsiteX7" fmla="*/ 59099 w 856931"/>
                <a:gd name="connsiteY7" fmla="*/ 422986 h 947769"/>
                <a:gd name="connsiteX8" fmla="*/ 59098 w 856931"/>
                <a:gd name="connsiteY8" fmla="*/ 947769 h 947769"/>
                <a:gd name="connsiteX0" fmla="*/ 0 w 797833"/>
                <a:gd name="connsiteY0" fmla="*/ 947769 h 947769"/>
                <a:gd name="connsiteX1" fmla="*/ 797832 w 797833"/>
                <a:gd name="connsiteY1" fmla="*/ 947769 h 947769"/>
                <a:gd name="connsiteX2" fmla="*/ 797832 w 797833"/>
                <a:gd name="connsiteY2" fmla="*/ 947767 h 947769"/>
                <a:gd name="connsiteX3" fmla="*/ 797833 w 797833"/>
                <a:gd name="connsiteY3" fmla="*/ 947767 h 947769"/>
                <a:gd name="connsiteX4" fmla="*/ 797833 w 797833"/>
                <a:gd name="connsiteY4" fmla="*/ 422985 h 947769"/>
                <a:gd name="connsiteX5" fmla="*/ 398920 w 797833"/>
                <a:gd name="connsiteY5" fmla="*/ 0 h 947769"/>
                <a:gd name="connsiteX6" fmla="*/ 1 w 797833"/>
                <a:gd name="connsiteY6" fmla="*/ 422985 h 947769"/>
                <a:gd name="connsiteX7" fmla="*/ 1 w 797833"/>
                <a:gd name="connsiteY7" fmla="*/ 422986 h 947769"/>
                <a:gd name="connsiteX8" fmla="*/ 0 w 797833"/>
                <a:gd name="connsiteY8" fmla="*/ 947769 h 947769"/>
                <a:gd name="connsiteX0" fmla="*/ 59098 w 856931"/>
                <a:gd name="connsiteY0" fmla="*/ 947769 h 947769"/>
                <a:gd name="connsiteX1" fmla="*/ 856930 w 856931"/>
                <a:gd name="connsiteY1" fmla="*/ 947769 h 947769"/>
                <a:gd name="connsiteX2" fmla="*/ 856930 w 856931"/>
                <a:gd name="connsiteY2" fmla="*/ 947767 h 947769"/>
                <a:gd name="connsiteX3" fmla="*/ 856931 w 856931"/>
                <a:gd name="connsiteY3" fmla="*/ 947767 h 947769"/>
                <a:gd name="connsiteX4" fmla="*/ 856931 w 856931"/>
                <a:gd name="connsiteY4" fmla="*/ 422985 h 947769"/>
                <a:gd name="connsiteX5" fmla="*/ 458018 w 856931"/>
                <a:gd name="connsiteY5" fmla="*/ 0 h 947769"/>
                <a:gd name="connsiteX6" fmla="*/ 59099 w 856931"/>
                <a:gd name="connsiteY6" fmla="*/ 422985 h 947769"/>
                <a:gd name="connsiteX7" fmla="*/ 59099 w 856931"/>
                <a:gd name="connsiteY7" fmla="*/ 422986 h 947769"/>
                <a:gd name="connsiteX8" fmla="*/ 59098 w 856931"/>
                <a:gd name="connsiteY8" fmla="*/ 947769 h 947769"/>
                <a:gd name="connsiteX0" fmla="*/ 58202 w 856035"/>
                <a:gd name="connsiteY0" fmla="*/ 947769 h 947769"/>
                <a:gd name="connsiteX1" fmla="*/ 856034 w 856035"/>
                <a:gd name="connsiteY1" fmla="*/ 947769 h 947769"/>
                <a:gd name="connsiteX2" fmla="*/ 856034 w 856035"/>
                <a:gd name="connsiteY2" fmla="*/ 947767 h 947769"/>
                <a:gd name="connsiteX3" fmla="*/ 856035 w 856035"/>
                <a:gd name="connsiteY3" fmla="*/ 947767 h 947769"/>
                <a:gd name="connsiteX4" fmla="*/ 856035 w 856035"/>
                <a:gd name="connsiteY4" fmla="*/ 422985 h 947769"/>
                <a:gd name="connsiteX5" fmla="*/ 457122 w 856035"/>
                <a:gd name="connsiteY5" fmla="*/ 0 h 947769"/>
                <a:gd name="connsiteX6" fmla="*/ 58203 w 856035"/>
                <a:gd name="connsiteY6" fmla="*/ 422985 h 947769"/>
                <a:gd name="connsiteX7" fmla="*/ 58203 w 856035"/>
                <a:gd name="connsiteY7" fmla="*/ 422986 h 947769"/>
                <a:gd name="connsiteX8" fmla="*/ 58202 w 856035"/>
                <a:gd name="connsiteY8" fmla="*/ 947769 h 947769"/>
                <a:gd name="connsiteX0" fmla="*/ 1814 w 799647"/>
                <a:gd name="connsiteY0" fmla="*/ 947769 h 947769"/>
                <a:gd name="connsiteX1" fmla="*/ 799646 w 799647"/>
                <a:gd name="connsiteY1" fmla="*/ 947769 h 947769"/>
                <a:gd name="connsiteX2" fmla="*/ 799646 w 799647"/>
                <a:gd name="connsiteY2" fmla="*/ 947767 h 947769"/>
                <a:gd name="connsiteX3" fmla="*/ 799647 w 799647"/>
                <a:gd name="connsiteY3" fmla="*/ 947767 h 947769"/>
                <a:gd name="connsiteX4" fmla="*/ 799647 w 799647"/>
                <a:gd name="connsiteY4" fmla="*/ 422985 h 947769"/>
                <a:gd name="connsiteX5" fmla="*/ 400734 w 799647"/>
                <a:gd name="connsiteY5" fmla="*/ 0 h 947769"/>
                <a:gd name="connsiteX6" fmla="*/ 1815 w 799647"/>
                <a:gd name="connsiteY6" fmla="*/ 422985 h 947769"/>
                <a:gd name="connsiteX7" fmla="*/ 1815 w 799647"/>
                <a:gd name="connsiteY7" fmla="*/ 422986 h 947769"/>
                <a:gd name="connsiteX8" fmla="*/ 1814 w 799647"/>
                <a:gd name="connsiteY8" fmla="*/ 947769 h 947769"/>
                <a:gd name="connsiteX0" fmla="*/ 19956 w 817789"/>
                <a:gd name="connsiteY0" fmla="*/ 947769 h 947769"/>
                <a:gd name="connsiteX1" fmla="*/ 817788 w 817789"/>
                <a:gd name="connsiteY1" fmla="*/ 947769 h 947769"/>
                <a:gd name="connsiteX2" fmla="*/ 817788 w 817789"/>
                <a:gd name="connsiteY2" fmla="*/ 947767 h 947769"/>
                <a:gd name="connsiteX3" fmla="*/ 817789 w 817789"/>
                <a:gd name="connsiteY3" fmla="*/ 947767 h 947769"/>
                <a:gd name="connsiteX4" fmla="*/ 817789 w 817789"/>
                <a:gd name="connsiteY4" fmla="*/ 422985 h 947769"/>
                <a:gd name="connsiteX5" fmla="*/ 418876 w 817789"/>
                <a:gd name="connsiteY5" fmla="*/ 0 h 947769"/>
                <a:gd name="connsiteX6" fmla="*/ 19957 w 817789"/>
                <a:gd name="connsiteY6" fmla="*/ 422985 h 947769"/>
                <a:gd name="connsiteX7" fmla="*/ 19957 w 817789"/>
                <a:gd name="connsiteY7" fmla="*/ 422986 h 947769"/>
                <a:gd name="connsiteX8" fmla="*/ 19956 w 817789"/>
                <a:gd name="connsiteY8" fmla="*/ 947769 h 947769"/>
                <a:gd name="connsiteX0" fmla="*/ 76771 w 874604"/>
                <a:gd name="connsiteY0" fmla="*/ 947769 h 947769"/>
                <a:gd name="connsiteX1" fmla="*/ 874603 w 874604"/>
                <a:gd name="connsiteY1" fmla="*/ 947769 h 947769"/>
                <a:gd name="connsiteX2" fmla="*/ 874603 w 874604"/>
                <a:gd name="connsiteY2" fmla="*/ 947767 h 947769"/>
                <a:gd name="connsiteX3" fmla="*/ 874604 w 874604"/>
                <a:gd name="connsiteY3" fmla="*/ 947767 h 947769"/>
                <a:gd name="connsiteX4" fmla="*/ 874604 w 874604"/>
                <a:gd name="connsiteY4" fmla="*/ 422985 h 947769"/>
                <a:gd name="connsiteX5" fmla="*/ 475691 w 874604"/>
                <a:gd name="connsiteY5" fmla="*/ 0 h 947769"/>
                <a:gd name="connsiteX6" fmla="*/ 76772 w 874604"/>
                <a:gd name="connsiteY6" fmla="*/ 422985 h 947769"/>
                <a:gd name="connsiteX7" fmla="*/ 76771 w 874604"/>
                <a:gd name="connsiteY7" fmla="*/ 947769 h 947769"/>
                <a:gd name="connsiteX0" fmla="*/ 76771 w 874604"/>
                <a:gd name="connsiteY0" fmla="*/ 947769 h 947769"/>
                <a:gd name="connsiteX1" fmla="*/ 874603 w 874604"/>
                <a:gd name="connsiteY1" fmla="*/ 947769 h 947769"/>
                <a:gd name="connsiteX2" fmla="*/ 874603 w 874604"/>
                <a:gd name="connsiteY2" fmla="*/ 947767 h 947769"/>
                <a:gd name="connsiteX3" fmla="*/ 874604 w 874604"/>
                <a:gd name="connsiteY3" fmla="*/ 947767 h 947769"/>
                <a:gd name="connsiteX4" fmla="*/ 874604 w 874604"/>
                <a:gd name="connsiteY4" fmla="*/ 422985 h 947769"/>
                <a:gd name="connsiteX5" fmla="*/ 475691 w 874604"/>
                <a:gd name="connsiteY5" fmla="*/ 0 h 947769"/>
                <a:gd name="connsiteX6" fmla="*/ 76772 w 874604"/>
                <a:gd name="connsiteY6" fmla="*/ 422985 h 947769"/>
                <a:gd name="connsiteX7" fmla="*/ 76771 w 874604"/>
                <a:gd name="connsiteY7" fmla="*/ 947769 h 947769"/>
                <a:gd name="connsiteX0" fmla="*/ 60597 w 858430"/>
                <a:gd name="connsiteY0" fmla="*/ 947769 h 947769"/>
                <a:gd name="connsiteX1" fmla="*/ 858429 w 858430"/>
                <a:gd name="connsiteY1" fmla="*/ 947769 h 947769"/>
                <a:gd name="connsiteX2" fmla="*/ 858429 w 858430"/>
                <a:gd name="connsiteY2" fmla="*/ 947767 h 947769"/>
                <a:gd name="connsiteX3" fmla="*/ 858430 w 858430"/>
                <a:gd name="connsiteY3" fmla="*/ 947767 h 947769"/>
                <a:gd name="connsiteX4" fmla="*/ 858430 w 858430"/>
                <a:gd name="connsiteY4" fmla="*/ 422985 h 947769"/>
                <a:gd name="connsiteX5" fmla="*/ 459517 w 858430"/>
                <a:gd name="connsiteY5" fmla="*/ 0 h 947769"/>
                <a:gd name="connsiteX6" fmla="*/ 60598 w 858430"/>
                <a:gd name="connsiteY6" fmla="*/ 422985 h 947769"/>
                <a:gd name="connsiteX7" fmla="*/ 60597 w 858430"/>
                <a:gd name="connsiteY7" fmla="*/ 947769 h 947769"/>
                <a:gd name="connsiteX0" fmla="*/ 0 w 797833"/>
                <a:gd name="connsiteY0" fmla="*/ 947769 h 947769"/>
                <a:gd name="connsiteX1" fmla="*/ 797832 w 797833"/>
                <a:gd name="connsiteY1" fmla="*/ 947769 h 947769"/>
                <a:gd name="connsiteX2" fmla="*/ 797832 w 797833"/>
                <a:gd name="connsiteY2" fmla="*/ 947767 h 947769"/>
                <a:gd name="connsiteX3" fmla="*/ 797833 w 797833"/>
                <a:gd name="connsiteY3" fmla="*/ 947767 h 947769"/>
                <a:gd name="connsiteX4" fmla="*/ 797833 w 797833"/>
                <a:gd name="connsiteY4" fmla="*/ 422985 h 947769"/>
                <a:gd name="connsiteX5" fmla="*/ 398920 w 797833"/>
                <a:gd name="connsiteY5" fmla="*/ 0 h 947769"/>
                <a:gd name="connsiteX6" fmla="*/ 1 w 797833"/>
                <a:gd name="connsiteY6" fmla="*/ 422985 h 947769"/>
                <a:gd name="connsiteX7" fmla="*/ 0 w 797833"/>
                <a:gd name="connsiteY7" fmla="*/ 947769 h 947769"/>
                <a:gd name="connsiteX0" fmla="*/ 0 w 827382"/>
                <a:gd name="connsiteY0" fmla="*/ 947769 h 947769"/>
                <a:gd name="connsiteX1" fmla="*/ 797832 w 827382"/>
                <a:gd name="connsiteY1" fmla="*/ 947769 h 947769"/>
                <a:gd name="connsiteX2" fmla="*/ 797832 w 827382"/>
                <a:gd name="connsiteY2" fmla="*/ 947767 h 947769"/>
                <a:gd name="connsiteX3" fmla="*/ 797833 w 827382"/>
                <a:gd name="connsiteY3" fmla="*/ 947767 h 947769"/>
                <a:gd name="connsiteX4" fmla="*/ 797833 w 827382"/>
                <a:gd name="connsiteY4" fmla="*/ 422985 h 947769"/>
                <a:gd name="connsiteX5" fmla="*/ 398920 w 827382"/>
                <a:gd name="connsiteY5" fmla="*/ 0 h 947769"/>
                <a:gd name="connsiteX6" fmla="*/ 1 w 827382"/>
                <a:gd name="connsiteY6" fmla="*/ 422985 h 947769"/>
                <a:gd name="connsiteX7" fmla="*/ 0 w 827382"/>
                <a:gd name="connsiteY7" fmla="*/ 947769 h 947769"/>
                <a:gd name="connsiteX0" fmla="*/ 0 w 797833"/>
                <a:gd name="connsiteY0" fmla="*/ 947769 h 947769"/>
                <a:gd name="connsiteX1" fmla="*/ 797832 w 797833"/>
                <a:gd name="connsiteY1" fmla="*/ 947769 h 947769"/>
                <a:gd name="connsiteX2" fmla="*/ 797832 w 797833"/>
                <a:gd name="connsiteY2" fmla="*/ 947767 h 947769"/>
                <a:gd name="connsiteX3" fmla="*/ 797833 w 797833"/>
                <a:gd name="connsiteY3" fmla="*/ 947767 h 947769"/>
                <a:gd name="connsiteX4" fmla="*/ 797833 w 797833"/>
                <a:gd name="connsiteY4" fmla="*/ 422985 h 947769"/>
                <a:gd name="connsiteX5" fmla="*/ 398920 w 797833"/>
                <a:gd name="connsiteY5" fmla="*/ 0 h 947769"/>
                <a:gd name="connsiteX6" fmla="*/ 1 w 797833"/>
                <a:gd name="connsiteY6" fmla="*/ 422985 h 947769"/>
                <a:gd name="connsiteX7" fmla="*/ 0 w 797833"/>
                <a:gd name="connsiteY7" fmla="*/ 947769 h 947769"/>
                <a:gd name="connsiteX0" fmla="*/ 0 w 797919"/>
                <a:gd name="connsiteY0" fmla="*/ 947769 h 947769"/>
                <a:gd name="connsiteX1" fmla="*/ 797832 w 797919"/>
                <a:gd name="connsiteY1" fmla="*/ 947769 h 947769"/>
                <a:gd name="connsiteX2" fmla="*/ 797832 w 797919"/>
                <a:gd name="connsiteY2" fmla="*/ 947767 h 947769"/>
                <a:gd name="connsiteX3" fmla="*/ 797833 w 797919"/>
                <a:gd name="connsiteY3" fmla="*/ 947767 h 947769"/>
                <a:gd name="connsiteX4" fmla="*/ 797833 w 797919"/>
                <a:gd name="connsiteY4" fmla="*/ 422985 h 947769"/>
                <a:gd name="connsiteX5" fmla="*/ 398920 w 797919"/>
                <a:gd name="connsiteY5" fmla="*/ 0 h 947769"/>
                <a:gd name="connsiteX6" fmla="*/ 1 w 797919"/>
                <a:gd name="connsiteY6" fmla="*/ 422985 h 947769"/>
                <a:gd name="connsiteX7" fmla="*/ 0 w 797919"/>
                <a:gd name="connsiteY7" fmla="*/ 947769 h 947769"/>
                <a:gd name="connsiteX0" fmla="*/ 0 w 797919"/>
                <a:gd name="connsiteY0" fmla="*/ 947769 h 947769"/>
                <a:gd name="connsiteX1" fmla="*/ 797832 w 797919"/>
                <a:gd name="connsiteY1" fmla="*/ 947769 h 947769"/>
                <a:gd name="connsiteX2" fmla="*/ 797832 w 797919"/>
                <a:gd name="connsiteY2" fmla="*/ 947767 h 947769"/>
                <a:gd name="connsiteX3" fmla="*/ 797833 w 797919"/>
                <a:gd name="connsiteY3" fmla="*/ 947767 h 947769"/>
                <a:gd name="connsiteX4" fmla="*/ 797833 w 797919"/>
                <a:gd name="connsiteY4" fmla="*/ 422985 h 947769"/>
                <a:gd name="connsiteX5" fmla="*/ 398920 w 797919"/>
                <a:gd name="connsiteY5" fmla="*/ 0 h 947769"/>
                <a:gd name="connsiteX6" fmla="*/ 1 w 797919"/>
                <a:gd name="connsiteY6" fmla="*/ 422985 h 947769"/>
                <a:gd name="connsiteX7" fmla="*/ 0 w 797919"/>
                <a:gd name="connsiteY7" fmla="*/ 947769 h 947769"/>
                <a:gd name="connsiteX0" fmla="*/ 0 w 797833"/>
                <a:gd name="connsiteY0" fmla="*/ 947769 h 947769"/>
                <a:gd name="connsiteX1" fmla="*/ 797832 w 797833"/>
                <a:gd name="connsiteY1" fmla="*/ 947769 h 947769"/>
                <a:gd name="connsiteX2" fmla="*/ 797832 w 797833"/>
                <a:gd name="connsiteY2" fmla="*/ 947767 h 947769"/>
                <a:gd name="connsiteX3" fmla="*/ 797833 w 797833"/>
                <a:gd name="connsiteY3" fmla="*/ 947767 h 947769"/>
                <a:gd name="connsiteX4" fmla="*/ 797833 w 797833"/>
                <a:gd name="connsiteY4" fmla="*/ 422985 h 947769"/>
                <a:gd name="connsiteX5" fmla="*/ 398920 w 797833"/>
                <a:gd name="connsiteY5" fmla="*/ 0 h 947769"/>
                <a:gd name="connsiteX6" fmla="*/ 1 w 797833"/>
                <a:gd name="connsiteY6" fmla="*/ 422985 h 947769"/>
                <a:gd name="connsiteX7" fmla="*/ 0 w 797833"/>
                <a:gd name="connsiteY7" fmla="*/ 947769 h 947769"/>
                <a:gd name="connsiteX0" fmla="*/ 0 w 797833"/>
                <a:gd name="connsiteY0" fmla="*/ 947769 h 947769"/>
                <a:gd name="connsiteX1" fmla="*/ 797832 w 797833"/>
                <a:gd name="connsiteY1" fmla="*/ 947769 h 947769"/>
                <a:gd name="connsiteX2" fmla="*/ 797832 w 797833"/>
                <a:gd name="connsiteY2" fmla="*/ 947767 h 947769"/>
                <a:gd name="connsiteX3" fmla="*/ 797833 w 797833"/>
                <a:gd name="connsiteY3" fmla="*/ 947767 h 947769"/>
                <a:gd name="connsiteX4" fmla="*/ 797833 w 797833"/>
                <a:gd name="connsiteY4" fmla="*/ 422985 h 947769"/>
                <a:gd name="connsiteX5" fmla="*/ 398920 w 797833"/>
                <a:gd name="connsiteY5" fmla="*/ 0 h 947769"/>
                <a:gd name="connsiteX6" fmla="*/ 1 w 797833"/>
                <a:gd name="connsiteY6" fmla="*/ 422985 h 947769"/>
                <a:gd name="connsiteX7" fmla="*/ 0 w 797833"/>
                <a:gd name="connsiteY7" fmla="*/ 947769 h 947769"/>
                <a:gd name="connsiteX0" fmla="*/ 0 w 797833"/>
                <a:gd name="connsiteY0" fmla="*/ 947817 h 947817"/>
                <a:gd name="connsiteX1" fmla="*/ 797832 w 797833"/>
                <a:gd name="connsiteY1" fmla="*/ 947817 h 947817"/>
                <a:gd name="connsiteX2" fmla="*/ 797832 w 797833"/>
                <a:gd name="connsiteY2" fmla="*/ 947815 h 947817"/>
                <a:gd name="connsiteX3" fmla="*/ 797833 w 797833"/>
                <a:gd name="connsiteY3" fmla="*/ 947815 h 947817"/>
                <a:gd name="connsiteX4" fmla="*/ 797833 w 797833"/>
                <a:gd name="connsiteY4" fmla="*/ 423033 h 947817"/>
                <a:gd name="connsiteX5" fmla="*/ 398920 w 797833"/>
                <a:gd name="connsiteY5" fmla="*/ 48 h 947817"/>
                <a:gd name="connsiteX6" fmla="*/ 1 w 797833"/>
                <a:gd name="connsiteY6" fmla="*/ 423033 h 947817"/>
                <a:gd name="connsiteX7" fmla="*/ 0 w 797833"/>
                <a:gd name="connsiteY7" fmla="*/ 947817 h 947817"/>
                <a:gd name="connsiteX0" fmla="*/ 0 w 798347"/>
                <a:gd name="connsiteY0" fmla="*/ 947817 h 947817"/>
                <a:gd name="connsiteX1" fmla="*/ 797832 w 798347"/>
                <a:gd name="connsiteY1" fmla="*/ 947817 h 947817"/>
                <a:gd name="connsiteX2" fmla="*/ 797832 w 798347"/>
                <a:gd name="connsiteY2" fmla="*/ 947815 h 947817"/>
                <a:gd name="connsiteX3" fmla="*/ 797833 w 798347"/>
                <a:gd name="connsiteY3" fmla="*/ 947815 h 947817"/>
                <a:gd name="connsiteX4" fmla="*/ 797833 w 798347"/>
                <a:gd name="connsiteY4" fmla="*/ 423033 h 947817"/>
                <a:gd name="connsiteX5" fmla="*/ 398920 w 798347"/>
                <a:gd name="connsiteY5" fmla="*/ 48 h 947817"/>
                <a:gd name="connsiteX6" fmla="*/ 1 w 798347"/>
                <a:gd name="connsiteY6" fmla="*/ 423033 h 947817"/>
                <a:gd name="connsiteX7" fmla="*/ 0 w 798347"/>
                <a:gd name="connsiteY7" fmla="*/ 947817 h 947817"/>
                <a:gd name="connsiteX0" fmla="*/ 0 w 798347"/>
                <a:gd name="connsiteY0" fmla="*/ 947817 h 947817"/>
                <a:gd name="connsiteX1" fmla="*/ 797832 w 798347"/>
                <a:gd name="connsiteY1" fmla="*/ 947817 h 947817"/>
                <a:gd name="connsiteX2" fmla="*/ 797832 w 798347"/>
                <a:gd name="connsiteY2" fmla="*/ 947815 h 947817"/>
                <a:gd name="connsiteX3" fmla="*/ 797833 w 798347"/>
                <a:gd name="connsiteY3" fmla="*/ 947815 h 947817"/>
                <a:gd name="connsiteX4" fmla="*/ 797833 w 798347"/>
                <a:gd name="connsiteY4" fmla="*/ 423033 h 947817"/>
                <a:gd name="connsiteX5" fmla="*/ 398920 w 798347"/>
                <a:gd name="connsiteY5" fmla="*/ 48 h 947817"/>
                <a:gd name="connsiteX6" fmla="*/ 1 w 798347"/>
                <a:gd name="connsiteY6" fmla="*/ 423033 h 947817"/>
                <a:gd name="connsiteX7" fmla="*/ 0 w 798347"/>
                <a:gd name="connsiteY7" fmla="*/ 947817 h 947817"/>
                <a:gd name="connsiteX0" fmla="*/ 0 w 798347"/>
                <a:gd name="connsiteY0" fmla="*/ 947817 h 947817"/>
                <a:gd name="connsiteX1" fmla="*/ 797832 w 798347"/>
                <a:gd name="connsiteY1" fmla="*/ 947817 h 947817"/>
                <a:gd name="connsiteX2" fmla="*/ 797832 w 798347"/>
                <a:gd name="connsiteY2" fmla="*/ 947815 h 947817"/>
                <a:gd name="connsiteX3" fmla="*/ 797833 w 798347"/>
                <a:gd name="connsiteY3" fmla="*/ 947815 h 947817"/>
                <a:gd name="connsiteX4" fmla="*/ 797833 w 798347"/>
                <a:gd name="connsiteY4" fmla="*/ 423033 h 947817"/>
                <a:gd name="connsiteX5" fmla="*/ 398920 w 798347"/>
                <a:gd name="connsiteY5" fmla="*/ 48 h 947817"/>
                <a:gd name="connsiteX6" fmla="*/ 1 w 798347"/>
                <a:gd name="connsiteY6" fmla="*/ 423033 h 947817"/>
                <a:gd name="connsiteX7" fmla="*/ 0 w 798347"/>
                <a:gd name="connsiteY7" fmla="*/ 947817 h 947817"/>
                <a:gd name="connsiteX0" fmla="*/ 0 w 798347"/>
                <a:gd name="connsiteY0" fmla="*/ 947769 h 947769"/>
                <a:gd name="connsiteX1" fmla="*/ 797832 w 798347"/>
                <a:gd name="connsiteY1" fmla="*/ 947769 h 947769"/>
                <a:gd name="connsiteX2" fmla="*/ 797832 w 798347"/>
                <a:gd name="connsiteY2" fmla="*/ 947767 h 947769"/>
                <a:gd name="connsiteX3" fmla="*/ 797833 w 798347"/>
                <a:gd name="connsiteY3" fmla="*/ 947767 h 947769"/>
                <a:gd name="connsiteX4" fmla="*/ 797833 w 798347"/>
                <a:gd name="connsiteY4" fmla="*/ 422985 h 947769"/>
                <a:gd name="connsiteX5" fmla="*/ 398920 w 798347"/>
                <a:gd name="connsiteY5" fmla="*/ 0 h 947769"/>
                <a:gd name="connsiteX6" fmla="*/ 1 w 798347"/>
                <a:gd name="connsiteY6" fmla="*/ 422985 h 947769"/>
                <a:gd name="connsiteX7" fmla="*/ 0 w 798347"/>
                <a:gd name="connsiteY7" fmla="*/ 947769 h 947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8347" h="947769">
                  <a:moveTo>
                    <a:pt x="0" y="947769"/>
                  </a:moveTo>
                  <a:lnTo>
                    <a:pt x="797832" y="947769"/>
                  </a:lnTo>
                  <a:lnTo>
                    <a:pt x="797832" y="947767"/>
                  </a:lnTo>
                  <a:lnTo>
                    <a:pt x="797833" y="947767"/>
                  </a:lnTo>
                  <a:cubicBezTo>
                    <a:pt x="797833" y="772840"/>
                    <a:pt x="798991" y="597908"/>
                    <a:pt x="797833" y="422985"/>
                  </a:cubicBezTo>
                  <a:cubicBezTo>
                    <a:pt x="796661" y="245974"/>
                    <a:pt x="503317" y="23132"/>
                    <a:pt x="398920" y="0"/>
                  </a:cubicBezTo>
                  <a:cubicBezTo>
                    <a:pt x="297244" y="19050"/>
                    <a:pt x="6616" y="248695"/>
                    <a:pt x="1" y="422985"/>
                  </a:cubicBezTo>
                  <a:cubicBezTo>
                    <a:pt x="1" y="597913"/>
                    <a:pt x="0" y="772841"/>
                    <a:pt x="0" y="94776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2" name="Freeform 132"/>
            <p:cNvSpPr/>
            <p:nvPr/>
          </p:nvSpPr>
          <p:spPr>
            <a:xfrm>
              <a:off x="10774490" y="-2170559"/>
              <a:ext cx="184772" cy="321502"/>
            </a:xfrm>
            <a:custGeom>
              <a:avLst/>
              <a:gdLst>
                <a:gd name="connsiteX0" fmla="*/ 57150 w 114300"/>
                <a:gd name="connsiteY0" fmla="*/ 0 h 198881"/>
                <a:gd name="connsiteX1" fmla="*/ 114300 w 114300"/>
                <a:gd name="connsiteY1" fmla="*/ 57150 h 198881"/>
                <a:gd name="connsiteX2" fmla="*/ 97561 w 114300"/>
                <a:gd name="connsiteY2" fmla="*/ 97561 h 198881"/>
                <a:gd name="connsiteX3" fmla="*/ 83608 w 114300"/>
                <a:gd name="connsiteY3" fmla="*/ 103341 h 198881"/>
                <a:gd name="connsiteX4" fmla="*/ 103415 w 114300"/>
                <a:gd name="connsiteY4" fmla="*/ 198881 h 198881"/>
                <a:gd name="connsiteX5" fmla="*/ 10885 w 114300"/>
                <a:gd name="connsiteY5" fmla="*/ 198881 h 198881"/>
                <a:gd name="connsiteX6" fmla="*/ 30693 w 114300"/>
                <a:gd name="connsiteY6" fmla="*/ 103341 h 198881"/>
                <a:gd name="connsiteX7" fmla="*/ 16739 w 114300"/>
                <a:gd name="connsiteY7" fmla="*/ 97561 h 198881"/>
                <a:gd name="connsiteX8" fmla="*/ 0 w 114300"/>
                <a:gd name="connsiteY8" fmla="*/ 57150 h 198881"/>
                <a:gd name="connsiteX9" fmla="*/ 57150 w 114300"/>
                <a:gd name="connsiteY9" fmla="*/ 0 h 198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198881">
                  <a:moveTo>
                    <a:pt x="57150" y="0"/>
                  </a:moveTo>
                  <a:cubicBezTo>
                    <a:pt x="88713" y="0"/>
                    <a:pt x="114300" y="25587"/>
                    <a:pt x="114300" y="57150"/>
                  </a:cubicBezTo>
                  <a:cubicBezTo>
                    <a:pt x="114300" y="72931"/>
                    <a:pt x="107903" y="87219"/>
                    <a:pt x="97561" y="97561"/>
                  </a:cubicBezTo>
                  <a:lnTo>
                    <a:pt x="83608" y="103341"/>
                  </a:lnTo>
                  <a:lnTo>
                    <a:pt x="103415" y="198881"/>
                  </a:lnTo>
                  <a:lnTo>
                    <a:pt x="10885" y="198881"/>
                  </a:lnTo>
                  <a:lnTo>
                    <a:pt x="30693" y="103341"/>
                  </a:lnTo>
                  <a:lnTo>
                    <a:pt x="16739" y="97561"/>
                  </a:lnTo>
                  <a:cubicBezTo>
                    <a:pt x="6397" y="87219"/>
                    <a:pt x="0" y="72931"/>
                    <a:pt x="0" y="57150"/>
                  </a:cubicBezTo>
                  <a:cubicBezTo>
                    <a:pt x="0" y="25587"/>
                    <a:pt x="25587" y="0"/>
                    <a:pt x="57150" y="0"/>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33" name="Rectangle 132"/>
          <p:cNvSpPr>
            <a:spLocks noChangeAspect="1"/>
          </p:cNvSpPr>
          <p:nvPr/>
        </p:nvSpPr>
        <p:spPr bwMode="auto">
          <a:xfrm>
            <a:off x="739925" y="6292859"/>
            <a:ext cx="2452307" cy="5009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91440" rIns="91440" bIns="4663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Secures &amp; protects</a:t>
            </a:r>
          </a:p>
        </p:txBody>
      </p:sp>
      <p:sp>
        <p:nvSpPr>
          <p:cNvPr id="134" name="Pentagon 133"/>
          <p:cNvSpPr/>
          <p:nvPr/>
        </p:nvSpPr>
        <p:spPr bwMode="auto">
          <a:xfrm>
            <a:off x="0" y="6242853"/>
            <a:ext cx="192024" cy="481395"/>
          </a:xfrm>
          <a:prstGeom prst="homePlate">
            <a:avLst>
              <a:gd name="adj" fmla="val 23545"/>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135" name="Group 134">
            <a:extLst>
              <a:ext uri="{FF2B5EF4-FFF2-40B4-BE49-F238E27FC236}">
                <a16:creationId xmlns:a16="http://schemas.microsoft.com/office/drawing/2014/main" id="{169FB048-9DD6-40E1-977B-E7143FF8416B}"/>
              </a:ext>
            </a:extLst>
          </p:cNvPr>
          <p:cNvGrpSpPr/>
          <p:nvPr/>
        </p:nvGrpSpPr>
        <p:grpSpPr>
          <a:xfrm>
            <a:off x="6423581" y="4358485"/>
            <a:ext cx="258036" cy="258036"/>
            <a:chOff x="5298510" y="3607496"/>
            <a:chExt cx="288099" cy="288099"/>
          </a:xfrm>
        </p:grpSpPr>
        <p:sp>
          <p:nvSpPr>
            <p:cNvPr id="136" name="Oval 135">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Oval 136">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8" name="Group 137">
            <a:extLst>
              <a:ext uri="{FF2B5EF4-FFF2-40B4-BE49-F238E27FC236}">
                <a16:creationId xmlns:a16="http://schemas.microsoft.com/office/drawing/2014/main" id="{169FB048-9DD6-40E1-977B-E7143FF8416B}"/>
              </a:ext>
            </a:extLst>
          </p:cNvPr>
          <p:cNvGrpSpPr/>
          <p:nvPr/>
        </p:nvGrpSpPr>
        <p:grpSpPr>
          <a:xfrm>
            <a:off x="6784291" y="3910665"/>
            <a:ext cx="258036" cy="258036"/>
            <a:chOff x="5298510" y="3607496"/>
            <a:chExt cx="288099" cy="288099"/>
          </a:xfrm>
        </p:grpSpPr>
        <p:sp>
          <p:nvSpPr>
            <p:cNvPr id="139" name="Oval 138">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Oval 139">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1" name="Group 140">
            <a:extLst>
              <a:ext uri="{FF2B5EF4-FFF2-40B4-BE49-F238E27FC236}">
                <a16:creationId xmlns:a16="http://schemas.microsoft.com/office/drawing/2014/main" id="{169FB048-9DD6-40E1-977B-E7143FF8416B}"/>
              </a:ext>
            </a:extLst>
          </p:cNvPr>
          <p:cNvGrpSpPr/>
          <p:nvPr/>
        </p:nvGrpSpPr>
        <p:grpSpPr>
          <a:xfrm>
            <a:off x="6931847" y="4142002"/>
            <a:ext cx="258036" cy="258036"/>
            <a:chOff x="5298510" y="3607496"/>
            <a:chExt cx="288099" cy="288099"/>
          </a:xfrm>
        </p:grpSpPr>
        <p:sp>
          <p:nvSpPr>
            <p:cNvPr id="142" name="Oval 141">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Oval 142">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4" name="Group 143">
            <a:extLst>
              <a:ext uri="{FF2B5EF4-FFF2-40B4-BE49-F238E27FC236}">
                <a16:creationId xmlns:a16="http://schemas.microsoft.com/office/drawing/2014/main" id="{169FB048-9DD6-40E1-977B-E7143FF8416B}"/>
              </a:ext>
            </a:extLst>
          </p:cNvPr>
          <p:cNvGrpSpPr/>
          <p:nvPr/>
        </p:nvGrpSpPr>
        <p:grpSpPr>
          <a:xfrm>
            <a:off x="7352696" y="5188132"/>
            <a:ext cx="258036" cy="258036"/>
            <a:chOff x="5298510" y="3607496"/>
            <a:chExt cx="288099" cy="288099"/>
          </a:xfrm>
        </p:grpSpPr>
        <p:sp>
          <p:nvSpPr>
            <p:cNvPr id="145" name="Oval 144">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Oval 145">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7" name="Group 146">
            <a:extLst>
              <a:ext uri="{FF2B5EF4-FFF2-40B4-BE49-F238E27FC236}">
                <a16:creationId xmlns:a16="http://schemas.microsoft.com/office/drawing/2014/main" id="{169FB048-9DD6-40E1-977B-E7143FF8416B}"/>
              </a:ext>
            </a:extLst>
          </p:cNvPr>
          <p:cNvGrpSpPr/>
          <p:nvPr/>
        </p:nvGrpSpPr>
        <p:grpSpPr>
          <a:xfrm>
            <a:off x="10834152" y="5290775"/>
            <a:ext cx="258036" cy="258036"/>
            <a:chOff x="5298510" y="3607496"/>
            <a:chExt cx="288099" cy="288099"/>
          </a:xfrm>
        </p:grpSpPr>
        <p:sp>
          <p:nvSpPr>
            <p:cNvPr id="148" name="Oval 147">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0" name="Group 149">
            <a:extLst>
              <a:ext uri="{FF2B5EF4-FFF2-40B4-BE49-F238E27FC236}">
                <a16:creationId xmlns:a16="http://schemas.microsoft.com/office/drawing/2014/main" id="{169FB048-9DD6-40E1-977B-E7143FF8416B}"/>
              </a:ext>
            </a:extLst>
          </p:cNvPr>
          <p:cNvGrpSpPr/>
          <p:nvPr/>
        </p:nvGrpSpPr>
        <p:grpSpPr>
          <a:xfrm>
            <a:off x="10307487" y="5022578"/>
            <a:ext cx="258036" cy="258036"/>
            <a:chOff x="5298510" y="3607496"/>
            <a:chExt cx="288099" cy="288099"/>
          </a:xfrm>
        </p:grpSpPr>
        <p:sp>
          <p:nvSpPr>
            <p:cNvPr id="151" name="Oval 150">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3" name="Group 152">
            <a:extLst>
              <a:ext uri="{FF2B5EF4-FFF2-40B4-BE49-F238E27FC236}">
                <a16:creationId xmlns:a16="http://schemas.microsoft.com/office/drawing/2014/main" id="{169FB048-9DD6-40E1-977B-E7143FF8416B}"/>
              </a:ext>
            </a:extLst>
          </p:cNvPr>
          <p:cNvGrpSpPr/>
          <p:nvPr/>
        </p:nvGrpSpPr>
        <p:grpSpPr>
          <a:xfrm>
            <a:off x="10713187" y="4367523"/>
            <a:ext cx="258036" cy="258036"/>
            <a:chOff x="5298510" y="3607496"/>
            <a:chExt cx="288099" cy="288099"/>
          </a:xfrm>
        </p:grpSpPr>
        <p:sp>
          <p:nvSpPr>
            <p:cNvPr id="154" name="Oval 153">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5" name="Oval 154">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6" name="Group 155">
            <a:extLst>
              <a:ext uri="{FF2B5EF4-FFF2-40B4-BE49-F238E27FC236}">
                <a16:creationId xmlns:a16="http://schemas.microsoft.com/office/drawing/2014/main" id="{169FB048-9DD6-40E1-977B-E7143FF8416B}"/>
              </a:ext>
            </a:extLst>
          </p:cNvPr>
          <p:cNvGrpSpPr/>
          <p:nvPr/>
        </p:nvGrpSpPr>
        <p:grpSpPr>
          <a:xfrm>
            <a:off x="10314019" y="3974192"/>
            <a:ext cx="258036" cy="258036"/>
            <a:chOff x="5298510" y="3607496"/>
            <a:chExt cx="288099" cy="288099"/>
          </a:xfrm>
        </p:grpSpPr>
        <p:sp>
          <p:nvSpPr>
            <p:cNvPr id="157" name="Oval 156">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8" name="Oval 157">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9" name="Group 158">
            <a:extLst>
              <a:ext uri="{FF2B5EF4-FFF2-40B4-BE49-F238E27FC236}">
                <a16:creationId xmlns:a16="http://schemas.microsoft.com/office/drawing/2014/main" id="{169FB048-9DD6-40E1-977B-E7143FF8416B}"/>
              </a:ext>
            </a:extLst>
          </p:cNvPr>
          <p:cNvGrpSpPr/>
          <p:nvPr/>
        </p:nvGrpSpPr>
        <p:grpSpPr>
          <a:xfrm>
            <a:off x="10486399" y="3702234"/>
            <a:ext cx="258036" cy="258036"/>
            <a:chOff x="5298510" y="3607496"/>
            <a:chExt cx="288099" cy="288099"/>
          </a:xfrm>
        </p:grpSpPr>
        <p:sp>
          <p:nvSpPr>
            <p:cNvPr id="160" name="Oval 159">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1" name="Oval 160">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62" name="Group 161">
            <a:extLst>
              <a:ext uri="{FF2B5EF4-FFF2-40B4-BE49-F238E27FC236}">
                <a16:creationId xmlns:a16="http://schemas.microsoft.com/office/drawing/2014/main" id="{169FB048-9DD6-40E1-977B-E7143FF8416B}"/>
              </a:ext>
            </a:extLst>
          </p:cNvPr>
          <p:cNvGrpSpPr/>
          <p:nvPr/>
        </p:nvGrpSpPr>
        <p:grpSpPr>
          <a:xfrm>
            <a:off x="10779055" y="3847301"/>
            <a:ext cx="258036" cy="258036"/>
            <a:chOff x="5298510" y="3607496"/>
            <a:chExt cx="288099" cy="288099"/>
          </a:xfrm>
        </p:grpSpPr>
        <p:sp>
          <p:nvSpPr>
            <p:cNvPr id="163" name="Oval 162">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4" name="Oval 163">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65" name="Group 164">
            <a:extLst>
              <a:ext uri="{FF2B5EF4-FFF2-40B4-BE49-F238E27FC236}">
                <a16:creationId xmlns:a16="http://schemas.microsoft.com/office/drawing/2014/main" id="{169FB048-9DD6-40E1-977B-E7143FF8416B}"/>
              </a:ext>
            </a:extLst>
          </p:cNvPr>
          <p:cNvGrpSpPr/>
          <p:nvPr/>
        </p:nvGrpSpPr>
        <p:grpSpPr>
          <a:xfrm>
            <a:off x="11204081" y="3823338"/>
            <a:ext cx="258036" cy="258036"/>
            <a:chOff x="5298510" y="3607496"/>
            <a:chExt cx="288099" cy="288099"/>
          </a:xfrm>
        </p:grpSpPr>
        <p:sp>
          <p:nvSpPr>
            <p:cNvPr id="166" name="Oval 165">
              <a:extLst>
                <a:ext uri="{FF2B5EF4-FFF2-40B4-BE49-F238E27FC236}">
                  <a16:creationId xmlns:a16="http://schemas.microsoft.com/office/drawing/2014/main" id="{AA3DCF2B-B1EF-406B-86CE-4811E8A181FC}"/>
                </a:ext>
              </a:extLst>
            </p:cNvPr>
            <p:cNvSpPr/>
            <p:nvPr/>
          </p:nvSpPr>
          <p:spPr bwMode="auto">
            <a:xfrm>
              <a:off x="5298510" y="3607496"/>
              <a:ext cx="288099" cy="288099"/>
            </a:xfrm>
            <a:prstGeom prst="ellipse">
              <a:avLst/>
            </a:prstGeom>
            <a:solidFill>
              <a:srgbClr val="89C40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7" name="Oval 166">
              <a:extLst>
                <a:ext uri="{FF2B5EF4-FFF2-40B4-BE49-F238E27FC236}">
                  <a16:creationId xmlns:a16="http://schemas.microsoft.com/office/drawing/2014/main" id="{A1B363AB-E503-4190-B9DB-83567B7C042C}"/>
                </a:ext>
              </a:extLst>
            </p:cNvPr>
            <p:cNvSpPr/>
            <p:nvPr/>
          </p:nvSpPr>
          <p:spPr bwMode="auto">
            <a:xfrm>
              <a:off x="5374188" y="3683174"/>
              <a:ext cx="136743" cy="136743"/>
            </a:xfrm>
            <a:prstGeom prst="ellipse">
              <a:avLst/>
            </a:prstGeom>
            <a:solidFill>
              <a:srgbClr val="89C40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6771926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1" y="1793631"/>
            <a:ext cx="11816742" cy="4111895"/>
          </a:xfrm>
        </p:spPr>
        <p:txBody>
          <a:bodyPr/>
          <a:lstStyle/>
          <a:p>
            <a:pPr lvl="0">
              <a:spcAft>
                <a:spcPts val="1200"/>
              </a:spcAft>
            </a:pPr>
            <a:r>
              <a:rPr lang="en-US" sz="2400" u="sng" dirty="0"/>
              <a:t>Login to Azure….</a:t>
            </a:r>
          </a:p>
          <a:p>
            <a:pPr>
              <a:spcAft>
                <a:spcPts val="1200"/>
              </a:spcAft>
            </a:pPr>
            <a:r>
              <a:rPr lang="en-US" sz="2400" dirty="0"/>
              <a:t> Open your browser to </a:t>
            </a:r>
            <a:r>
              <a:rPr lang="en-US" sz="2400" u="sng" dirty="0">
                <a:hlinkClick r:id="rId3"/>
              </a:rPr>
              <a:t>https://aka.ms/appmodernization</a:t>
            </a:r>
            <a:endParaRPr lang="en-US" sz="2400" dirty="0"/>
          </a:p>
          <a:p>
            <a:pPr lvl="0">
              <a:spcAft>
                <a:spcPts val="1200"/>
              </a:spcAft>
            </a:pPr>
            <a:r>
              <a:rPr lang="en-US" sz="2400" u="sng" dirty="0"/>
              <a:t>Press the Deploy to Azure Button </a:t>
            </a:r>
            <a:endParaRPr lang="en-US" sz="2400" dirty="0"/>
          </a:p>
          <a:p>
            <a:pPr lvl="0">
              <a:spcAft>
                <a:spcPts val="1200"/>
              </a:spcAft>
            </a:pPr>
            <a:r>
              <a:rPr lang="en-US" sz="2400" dirty="0"/>
              <a:t>Make sure to create a new Resource Group for your Team!!</a:t>
            </a:r>
          </a:p>
          <a:p>
            <a:pPr lvl="0">
              <a:spcAft>
                <a:spcPts val="1200"/>
              </a:spcAft>
            </a:pPr>
            <a:r>
              <a:rPr lang="en-US" sz="2400" dirty="0"/>
              <a:t>Accept the other defaults and agree to “purchase”</a:t>
            </a:r>
          </a:p>
          <a:p>
            <a:pPr lvl="0">
              <a:spcAft>
                <a:spcPts val="1200"/>
              </a:spcAft>
            </a:pPr>
            <a:endParaRPr lang="en-US" sz="2400" dirty="0"/>
          </a:p>
          <a:p>
            <a:pPr marL="0" lvl="0" indent="0">
              <a:spcAft>
                <a:spcPts val="1200"/>
              </a:spcAft>
              <a:buNone/>
            </a:pPr>
            <a:r>
              <a:rPr lang="en-US" sz="2400" b="1" dirty="0"/>
              <a:t>IT will take 30 mins or so to set up the environment</a:t>
            </a:r>
          </a:p>
        </p:txBody>
      </p:sp>
      <p:sp>
        <p:nvSpPr>
          <p:cNvPr id="3" name="Title 2"/>
          <p:cNvSpPr>
            <a:spLocks noGrp="1"/>
          </p:cNvSpPr>
          <p:nvPr>
            <p:ph type="title"/>
          </p:nvPr>
        </p:nvSpPr>
        <p:spPr/>
        <p:txBody>
          <a:bodyPr/>
          <a:lstStyle/>
          <a:p>
            <a:r>
              <a:rPr lang="en-US" dirty="0">
                <a:solidFill>
                  <a:schemeClr val="tx1"/>
                </a:solidFill>
              </a:rPr>
              <a:t>Challenge #0</a:t>
            </a:r>
            <a:br>
              <a:rPr lang="en-US" dirty="0">
                <a:solidFill>
                  <a:schemeClr val="tx1"/>
                </a:solidFill>
              </a:rPr>
            </a:br>
            <a:r>
              <a:rPr lang="en-US" sz="3600" dirty="0">
                <a:solidFill>
                  <a:schemeClr val="tx1"/>
                </a:solidFill>
              </a:rPr>
              <a:t>Get your “on premise” environment ready….</a:t>
            </a:r>
            <a:endParaRPr lang="en-US" dirty="0">
              <a:solidFill>
                <a:schemeClr val="tx1"/>
              </a:solidFill>
            </a:endParaRPr>
          </a:p>
        </p:txBody>
      </p:sp>
      <p:pic>
        <p:nvPicPr>
          <p:cNvPr id="4" name="Picture 3">
            <a:extLst>
              <a:ext uri="{FF2B5EF4-FFF2-40B4-BE49-F238E27FC236}">
                <a16:creationId xmlns:a16="http://schemas.microsoft.com/office/drawing/2014/main" id="{B69F9386-0A75-4C4A-9A75-BACE428A357D}"/>
              </a:ext>
            </a:extLst>
          </p:cNvPr>
          <p:cNvPicPr>
            <a:picLocks noChangeAspect="1"/>
          </p:cNvPicPr>
          <p:nvPr/>
        </p:nvPicPr>
        <p:blipFill>
          <a:blip r:embed="rId4"/>
          <a:stretch>
            <a:fillRect/>
          </a:stretch>
        </p:blipFill>
        <p:spPr>
          <a:xfrm>
            <a:off x="4964468" y="2997200"/>
            <a:ext cx="2044700" cy="431800"/>
          </a:xfrm>
          <a:prstGeom prst="rect">
            <a:avLst/>
          </a:prstGeom>
        </p:spPr>
      </p:pic>
    </p:spTree>
    <p:extLst>
      <p:ext uri="{BB962C8B-B14F-4D97-AF65-F5344CB8AC3E}">
        <p14:creationId xmlns:p14="http://schemas.microsoft.com/office/powerpoint/2010/main" val="398914336"/>
      </p:ext>
    </p:extLst>
  </p:cSld>
  <p:clrMapOvr>
    <a:masterClrMapping/>
  </p:clrMapOvr>
  <mc:AlternateContent xmlns:mc="http://schemas.openxmlformats.org/markup-compatibility/2006" xmlns:p14="http://schemas.microsoft.com/office/powerpoint/2010/main">
    <mc:Choice Requires="p14">
      <p:transition p14:dur="100" advClick="0" advTm="10000">
        <p:cut/>
      </p:transition>
    </mc:Choice>
    <mc:Fallback xmlns="">
      <p:transition advClick="0" advTm="10000">
        <p:cut/>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0285" y="128986"/>
            <a:ext cx="10515600" cy="1325563"/>
          </a:xfrm>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Challenge 5: Optimize &amp; Protect Data</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1612749"/>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Enable logging, monitoring, scaling of database.</a:t>
            </a:r>
          </a:p>
          <a:p>
            <a:pPr>
              <a:lnSpc>
                <a:spcPct val="90000"/>
              </a:lnSpc>
              <a:spcAft>
                <a:spcPts val="600"/>
              </a:spcAft>
            </a:pPr>
            <a:endParaRPr lang="en-US" sz="2400" dirty="0"/>
          </a:p>
        </p:txBody>
      </p:sp>
      <p:sp>
        <p:nvSpPr>
          <p:cNvPr id="4" name="Rectangle 3">
            <a:extLst>
              <a:ext uri="{FF2B5EF4-FFF2-40B4-BE49-F238E27FC236}">
                <a16:creationId xmlns:a16="http://schemas.microsoft.com/office/drawing/2014/main" id="{730E0394-DAB9-CC44-B34B-CE13B2318946}"/>
              </a:ext>
            </a:extLst>
          </p:cNvPr>
          <p:cNvSpPr/>
          <p:nvPr/>
        </p:nvSpPr>
        <p:spPr>
          <a:xfrm>
            <a:off x="7815042" y="4528412"/>
            <a:ext cx="4110038" cy="2200602"/>
          </a:xfrm>
          <a:prstGeom prst="rect">
            <a:avLst/>
          </a:prstGeom>
        </p:spPr>
        <p:txBody>
          <a:bodyPr wrap="square">
            <a:spAutoFit/>
          </a:bodyPr>
          <a:lstStyle/>
          <a:p>
            <a:pPr marR="288290">
              <a:spcBef>
                <a:spcPts val="600"/>
              </a:spcBef>
            </a:pPr>
            <a:r>
              <a:rPr lang="en-US" sz="2400" dirty="0">
                <a:ea typeface="Segoe UI"/>
                <a:cs typeface="Segoe UI"/>
              </a:rPr>
              <a:t>Default Accounts</a:t>
            </a:r>
          </a:p>
          <a:p>
            <a:pPr marR="288290">
              <a:spcBef>
                <a:spcPts val="600"/>
              </a:spcBef>
            </a:pPr>
            <a:r>
              <a:rPr lang="en-US" dirty="0">
                <a:ea typeface="Segoe UI"/>
                <a:cs typeface="Segoe UI"/>
              </a:rPr>
              <a:t>Admin User Name: sysadmin</a:t>
            </a:r>
            <a:br>
              <a:rPr lang="en-US" dirty="0">
                <a:ea typeface="Segoe UI"/>
                <a:cs typeface="Segoe UI"/>
              </a:rPr>
            </a:br>
            <a:r>
              <a:rPr lang="en-US" dirty="0">
                <a:ea typeface="Segoe UI"/>
                <a:cs typeface="Segoe UI"/>
              </a:rPr>
              <a:t>Admin User Password: Password$123</a:t>
            </a:r>
          </a:p>
          <a:p>
            <a:pPr marR="288290"/>
            <a:r>
              <a:rPr lang="en-US" dirty="0" err="1">
                <a:ea typeface="Segoe UI"/>
                <a:cs typeface="Segoe UI"/>
              </a:rPr>
              <a:t>db</a:t>
            </a:r>
            <a:r>
              <a:rPr lang="en-US" dirty="0">
                <a:ea typeface="Segoe UI"/>
                <a:cs typeface="Segoe UI"/>
              </a:rPr>
              <a:t> Login Name: </a:t>
            </a:r>
            <a:r>
              <a:rPr lang="en-US" dirty="0" err="1">
                <a:ea typeface="Segoe UI"/>
                <a:cs typeface="Segoe UI"/>
              </a:rPr>
              <a:t>workshopServiceAcc</a:t>
            </a:r>
            <a:br>
              <a:rPr lang="en-US" dirty="0">
                <a:ea typeface="Segoe UI"/>
                <a:cs typeface="Segoe UI"/>
              </a:rPr>
            </a:br>
            <a:r>
              <a:rPr lang="en-US" dirty="0" err="1">
                <a:ea typeface="Segoe UI"/>
                <a:cs typeface="Segoe UI"/>
              </a:rPr>
              <a:t>db</a:t>
            </a:r>
            <a:r>
              <a:rPr lang="en-US" dirty="0">
                <a:ea typeface="Segoe UI"/>
                <a:cs typeface="Segoe UI"/>
              </a:rPr>
              <a:t> User Name: </a:t>
            </a:r>
            <a:r>
              <a:rPr lang="en-US" dirty="0" err="1">
                <a:ea typeface="Segoe UI"/>
                <a:cs typeface="Segoe UI"/>
              </a:rPr>
              <a:t>workshopServiceAcc</a:t>
            </a:r>
            <a:br>
              <a:rPr lang="en-US" dirty="0">
                <a:ea typeface="Segoe UI"/>
                <a:cs typeface="Segoe UI"/>
              </a:rPr>
            </a:br>
            <a:r>
              <a:rPr lang="en-US" dirty="0" err="1">
                <a:ea typeface="Segoe UI"/>
                <a:cs typeface="Segoe UI"/>
              </a:rPr>
              <a:t>db</a:t>
            </a:r>
            <a:r>
              <a:rPr lang="en-US" dirty="0">
                <a:ea typeface="Segoe UI"/>
                <a:cs typeface="Segoe UI"/>
              </a:rPr>
              <a:t> User Password: P2ssw0rd</a:t>
            </a:r>
          </a:p>
          <a:p>
            <a:pPr marR="288290">
              <a:spcAft>
                <a:spcPts val="600"/>
              </a:spcAft>
            </a:pPr>
            <a:r>
              <a:rPr lang="en-US" dirty="0">
                <a:ea typeface="Segoe UI"/>
                <a:cs typeface="Segoe UI"/>
              </a:rPr>
              <a:t>Database Name: </a:t>
            </a:r>
            <a:r>
              <a:rPr lang="en-US" dirty="0" err="1">
                <a:ea typeface="Segoe UI"/>
                <a:cs typeface="Segoe UI"/>
              </a:rPr>
              <a:t>partsUnlimitedDB</a:t>
            </a:r>
            <a:endParaRPr lang="en-US" dirty="0">
              <a:ea typeface="Segoe UI"/>
              <a:cs typeface="Segoe UI"/>
            </a:endParaRPr>
          </a:p>
        </p:txBody>
      </p:sp>
      <p:sp>
        <p:nvSpPr>
          <p:cNvPr id="3" name="Rectangle 2">
            <a:extLst>
              <a:ext uri="{FF2B5EF4-FFF2-40B4-BE49-F238E27FC236}">
                <a16:creationId xmlns:a16="http://schemas.microsoft.com/office/drawing/2014/main" id="{4805B16F-47EE-7D44-9784-F7076311CF61}"/>
              </a:ext>
            </a:extLst>
          </p:cNvPr>
          <p:cNvSpPr/>
          <p:nvPr/>
        </p:nvSpPr>
        <p:spPr>
          <a:xfrm>
            <a:off x="340285" y="3231980"/>
            <a:ext cx="7247965" cy="3970318"/>
          </a:xfrm>
          <a:prstGeom prst="rect">
            <a:avLst/>
          </a:prstGeom>
        </p:spPr>
        <p:txBody>
          <a:bodyPr wrap="square">
            <a:spAutoFit/>
          </a:bodyPr>
          <a:lstStyle/>
          <a:p>
            <a:r>
              <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3"/>
              </a:rPr>
              <a:t>https://docs.microsoft.com/en-us/azure/sql-database/</a:t>
            </a:r>
            <a:endPar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endParaRPr>
          </a:p>
          <a:p>
            <a:endPar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endParaRPr>
          </a:p>
          <a:p>
            <a:r>
              <a:rPr lang="en-US" dirty="0">
                <a:hlinkClick r:id="rId4"/>
              </a:rPr>
              <a:t>https://docs.microsoft.com/en-us/sql/relational-databases/security/encryption/transparent-data-encryption-azure-sql?view=azuresqldb-current</a:t>
            </a:r>
            <a:endParaRPr lang="en-US" dirty="0"/>
          </a:p>
          <a:p>
            <a:endPar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endParaRPr>
          </a:p>
          <a:p>
            <a:r>
              <a:rPr lang="en-US" u="sng" dirty="0">
                <a:hlinkClick r:id="rId5"/>
              </a:rPr>
              <a:t>https://docs.microsoft.com/en-us/azure/sql-database/sql-advanced-threat-protection</a:t>
            </a:r>
            <a:endParaRPr lang="en-US" u="sng" dirty="0"/>
          </a:p>
          <a:p>
            <a:endPar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endParaRPr>
          </a:p>
          <a:p>
            <a:r>
              <a:rPr lang="en-US" u="sng" dirty="0">
                <a:hlinkClick r:id="rId6"/>
              </a:rPr>
              <a:t>https://</a:t>
            </a:r>
            <a:r>
              <a:rPr lang="en-US" u="sng" dirty="0" err="1">
                <a:hlinkClick r:id="rId6"/>
              </a:rPr>
              <a:t>docs.microsoft.com</a:t>
            </a:r>
            <a:r>
              <a:rPr lang="en-US" u="sng" dirty="0">
                <a:hlinkClick r:id="rId6"/>
              </a:rPr>
              <a:t>/</a:t>
            </a:r>
            <a:r>
              <a:rPr lang="en-US" u="sng" dirty="0" err="1">
                <a:hlinkClick r:id="rId6"/>
              </a:rPr>
              <a:t>en</a:t>
            </a:r>
            <a:r>
              <a:rPr lang="en-US" u="sng" dirty="0">
                <a:hlinkClick r:id="rId6"/>
              </a:rPr>
              <a:t>-us/azure/</a:t>
            </a:r>
            <a:r>
              <a:rPr lang="en-US" u="sng" dirty="0" err="1">
                <a:hlinkClick r:id="rId6"/>
              </a:rPr>
              <a:t>sql</a:t>
            </a:r>
            <a:r>
              <a:rPr lang="en-US" u="sng" dirty="0">
                <a:hlinkClick r:id="rId6"/>
              </a:rPr>
              <a:t>-database/</a:t>
            </a:r>
            <a:r>
              <a:rPr lang="en-US" u="sng" dirty="0" err="1">
                <a:hlinkClick r:id="rId6"/>
              </a:rPr>
              <a:t>sql</a:t>
            </a:r>
            <a:r>
              <a:rPr lang="en-US" u="sng" dirty="0">
                <a:hlinkClick r:id="rId6"/>
              </a:rPr>
              <a:t>-database-what-is-a-</a:t>
            </a:r>
            <a:r>
              <a:rPr lang="en-US" u="sng" dirty="0" err="1">
                <a:hlinkClick r:id="rId6"/>
              </a:rPr>
              <a:t>dtu</a:t>
            </a:r>
            <a:endPar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endParaRPr>
          </a:p>
          <a:p>
            <a:endPar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endParaRPr>
          </a:p>
          <a:p>
            <a:endPar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endParaRPr>
          </a:p>
          <a:p>
            <a:endParaRPr lang="en-US"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5307301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D2C4BFA1-2075-4901-9E24-E41D1FDD51F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55481" y="498348"/>
            <a:ext cx="9902663" cy="5861304"/>
            <a:chOff x="1155481" y="498348"/>
            <a:chExt cx="9902663" cy="5861304"/>
          </a:xfrm>
        </p:grpSpPr>
        <p:sp>
          <p:nvSpPr>
            <p:cNvPr id="12" name="Oval 5">
              <a:extLst>
                <a:ext uri="{FF2B5EF4-FFF2-40B4-BE49-F238E27FC236}">
                  <a16:creationId xmlns:a16="http://schemas.microsoft.com/office/drawing/2014/main" id="{985A7375-E3AF-4F5C-85AE-17E8832952CA}"/>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1155481" y="498348"/>
              <a:ext cx="5861304" cy="5861304"/>
            </a:xfrm>
            <a:prstGeom prst="ellipse">
              <a:avLst/>
            </a:prstGeom>
            <a:solidFill>
              <a:schemeClr val="accent1">
                <a:alpha val="55000"/>
              </a:schemeClr>
            </a:solidFill>
            <a:ln>
              <a:noFill/>
            </a:ln>
          </p:spPr>
        </p:sp>
        <p:sp>
          <p:nvSpPr>
            <p:cNvPr id="13" name="Oval 12">
              <a:extLst>
                <a:ext uri="{FF2B5EF4-FFF2-40B4-BE49-F238E27FC236}">
                  <a16:creationId xmlns:a16="http://schemas.microsoft.com/office/drawing/2014/main" id="{F0307F65-8304-4FA8-A841-D4D7625411BE}"/>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5196840" y="498348"/>
              <a:ext cx="5861304" cy="5861304"/>
            </a:xfrm>
            <a:prstGeom prst="ellipse">
              <a:avLst/>
            </a:prstGeom>
            <a:solidFill>
              <a:schemeClr val="accent1">
                <a:alpha val="55000"/>
              </a:schemeClr>
            </a:solidFill>
            <a:ln>
              <a:noFill/>
            </a:ln>
          </p:spPr>
        </p:sp>
        <p:sp>
          <p:nvSpPr>
            <p:cNvPr id="14" name="Oval 5">
              <a:extLst>
                <a:ext uri="{FF2B5EF4-FFF2-40B4-BE49-F238E27FC236}">
                  <a16:creationId xmlns:a16="http://schemas.microsoft.com/office/drawing/2014/main" id="{C8B8394C-136F-4E05-A002-D93A5E79CD50}"/>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3165348" y="498348"/>
              <a:ext cx="5861304" cy="5861304"/>
            </a:xfrm>
            <a:prstGeom prst="ellipse">
              <a:avLst/>
            </a:prstGeom>
            <a:solidFill>
              <a:schemeClr val="accent1">
                <a:alpha val="70000"/>
              </a:schemeClr>
            </a:solidFill>
            <a:ln>
              <a:noFill/>
            </a:ln>
          </p:spPr>
        </p:sp>
      </p:grpSp>
      <p:sp>
        <p:nvSpPr>
          <p:cNvPr id="16" name="Rectangle 15">
            <a:extLst>
              <a:ext uri="{FF2B5EF4-FFF2-40B4-BE49-F238E27FC236}">
                <a16:creationId xmlns:a16="http://schemas.microsoft.com/office/drawing/2014/main" id="{053FB2EE-284F-4C87-AB3D-BBF87A9FAB9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514600"/>
            <a:ext cx="12192000" cy="182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Title 1"/>
          <p:cNvSpPr>
            <a:spLocks noGrp="1"/>
          </p:cNvSpPr>
          <p:nvPr>
            <p:ph type="title"/>
          </p:nvPr>
        </p:nvSpPr>
        <p:spPr>
          <a:xfrm>
            <a:off x="1524000" y="2776538"/>
            <a:ext cx="9144000" cy="1381188"/>
          </a:xfrm>
        </p:spPr>
        <p:txBody>
          <a:bodyPr vert="horz" lIns="91440" tIns="45720" rIns="91440" bIns="45720" rtlCol="0" anchor="ctr">
            <a:norm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14400"/>
            <a:r>
              <a:rPr lang="en-US" sz="4000" kern="1200">
                <a:solidFill>
                  <a:schemeClr val="bg2"/>
                </a:solidFill>
                <a:latin typeface="+mj-lt"/>
                <a:ea typeface="+mj-ea"/>
                <a:cs typeface="+mj-cs"/>
              </a:rPr>
              <a:t>Azure Content Delivery Network (CDN)</a:t>
            </a:r>
            <a:br>
              <a:rPr lang="en-US" sz="4000" kern="1200">
                <a:solidFill>
                  <a:schemeClr val="bg2"/>
                </a:solidFill>
                <a:latin typeface="+mj-lt"/>
                <a:ea typeface="+mj-ea"/>
                <a:cs typeface="+mj-cs"/>
              </a:rPr>
            </a:br>
            <a:endParaRPr lang="en-US" sz="4000" kern="1200">
              <a:solidFill>
                <a:schemeClr val="bg2"/>
              </a:solidFill>
              <a:latin typeface="+mj-lt"/>
              <a:ea typeface="+mj-ea"/>
              <a:cs typeface="+mj-cs"/>
            </a:endParaRPr>
          </a:p>
        </p:txBody>
      </p:sp>
    </p:spTree>
    <p:extLst>
      <p:ext uri="{BB962C8B-B14F-4D97-AF65-F5344CB8AC3E}">
        <p14:creationId xmlns:p14="http://schemas.microsoft.com/office/powerpoint/2010/main" val="2127748084"/>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4096" y="470925"/>
            <a:ext cx="4381009" cy="5892104"/>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2"/>
          <p:cNvSpPr>
            <a:spLocks noGrp="1"/>
          </p:cNvSpPr>
          <p:nvPr>
            <p:ph type="title"/>
          </p:nvPr>
        </p:nvSpPr>
        <p:spPr>
          <a:xfrm>
            <a:off x="863029" y="1012004"/>
            <a:ext cx="3416158" cy="4795408"/>
          </a:xfrm>
        </p:spPr>
        <p:txBody>
          <a:bodyPr vert="horz" lIns="91440" tIns="45720" rIns="91440" bIns="45720" rtlCol="0" anchor="ctr">
            <a:norm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14400"/>
            <a:r>
              <a:rPr lang="en-US" sz="4400">
                <a:solidFill>
                  <a:srgbClr val="FFFFFF"/>
                </a:solidFill>
                <a:latin typeface="+mj-lt"/>
                <a:ea typeface="+mj-ea"/>
                <a:cs typeface="+mj-cs"/>
              </a:rPr>
              <a:t>Why is Azure CDN Important?</a:t>
            </a:r>
          </a:p>
        </p:txBody>
      </p:sp>
      <p:graphicFrame>
        <p:nvGraphicFramePr>
          <p:cNvPr id="5" name="Text Placeholder 1">
            <a:extLst>
              <a:ext uri="{FF2B5EF4-FFF2-40B4-BE49-F238E27FC236}">
                <a16:creationId xmlns:a16="http://schemas.microsoft.com/office/drawing/2014/main" id="{C3D8B228-982E-406C-B41E-36B69B195F6B}"/>
              </a:ext>
            </a:extLst>
          </p:cNvPr>
          <p:cNvGraphicFramePr/>
          <p:nvPr>
            <p:extLst>
              <p:ext uri="{D42A27DB-BD31-4B8C-83A1-F6EECF244321}">
                <p14:modId xmlns:p14="http://schemas.microsoft.com/office/powerpoint/2010/main" val="934909145"/>
              </p:ext>
            </p:extLst>
          </p:nvPr>
        </p:nvGraphicFramePr>
        <p:xfrm>
          <a:off x="5194300" y="470924"/>
          <a:ext cx="6513604" cy="58854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06961108"/>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3B854194-185D-494D-905C-7C7CB2E30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608211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B4F5FA0D-0104-4987-8241-EFF7C85B88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1998"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2897127E-6CEF-446C-BE87-93B7C46E49D1}"/>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Title 3">
            <a:extLst>
              <a:ext uri="{FF2B5EF4-FFF2-40B4-BE49-F238E27FC236}">
                <a16:creationId xmlns:a16="http://schemas.microsoft.com/office/drawing/2014/main" id="{7E674CA9-F116-164A-9F8A-CEB6AEEBD130}"/>
              </a:ext>
            </a:extLst>
          </p:cNvPr>
          <p:cNvSpPr>
            <a:spLocks noGrp="1"/>
          </p:cNvSpPr>
          <p:nvPr>
            <p:ph type="title"/>
          </p:nvPr>
        </p:nvSpPr>
        <p:spPr>
          <a:xfrm>
            <a:off x="640079" y="2053641"/>
            <a:ext cx="3669161" cy="2760098"/>
          </a:xfrm>
        </p:spPr>
        <p:txBody>
          <a:bodyPr vert="horz" lIns="91440" tIns="45720" rIns="91440" bIns="45720" rtlCol="0" anchor="ctr">
            <a:normAutofit/>
          </a:bodyPr>
          <a:lstStyle/>
          <a:p>
            <a:r>
              <a:rPr lang="en-US" kern="1200">
                <a:solidFill>
                  <a:srgbClr val="FFFFFF"/>
                </a:solidFill>
                <a:latin typeface="+mj-lt"/>
                <a:ea typeface="+mj-ea"/>
                <a:cs typeface="+mj-cs"/>
              </a:rPr>
              <a:t>Why Azure alone might not be enough</a:t>
            </a:r>
          </a:p>
        </p:txBody>
      </p:sp>
      <p:sp>
        <p:nvSpPr>
          <p:cNvPr id="5" name="Text Placeholder 4">
            <a:extLst>
              <a:ext uri="{FF2B5EF4-FFF2-40B4-BE49-F238E27FC236}">
                <a16:creationId xmlns:a16="http://schemas.microsoft.com/office/drawing/2014/main" id="{2D83B87A-8919-164B-9BDB-6972D0BE5EB6}"/>
              </a:ext>
            </a:extLst>
          </p:cNvPr>
          <p:cNvSpPr>
            <a:spLocks noGrp="1"/>
          </p:cNvSpPr>
          <p:nvPr>
            <p:ph type="body" sz="quarter" idx="10"/>
          </p:nvPr>
        </p:nvSpPr>
        <p:spPr>
          <a:xfrm>
            <a:off x="6090574" y="801866"/>
            <a:ext cx="5306084" cy="5230634"/>
          </a:xfrm>
        </p:spPr>
        <p:txBody>
          <a:bodyPr vert="horz" lIns="91440" tIns="45720" rIns="91440" bIns="45720" rtlCol="0" anchor="ctr">
            <a:normAutofit/>
          </a:bodyPr>
          <a:lstStyle/>
          <a:p>
            <a:r>
              <a:rPr lang="en-US" sz="2000" dirty="0">
                <a:solidFill>
                  <a:srgbClr val="000000"/>
                </a:solidFill>
              </a:rPr>
              <a:t>Internet does not optimize for performance</a:t>
            </a:r>
          </a:p>
          <a:p>
            <a:pPr lvl="1"/>
            <a:r>
              <a:rPr lang="en-US" sz="2000" dirty="0">
                <a:solidFill>
                  <a:srgbClr val="000000"/>
                </a:solidFill>
              </a:rPr>
              <a:t>Azure Data Centers globally rely on the Internet to deliver content to edge devices</a:t>
            </a:r>
          </a:p>
          <a:p>
            <a:pPr lvl="1"/>
            <a:r>
              <a:rPr lang="en-US" sz="2000" dirty="0">
                <a:solidFill>
                  <a:srgbClr val="000000"/>
                </a:solidFill>
              </a:rPr>
              <a:t>Without a CDN, delivery of content suffers yielding poor customer experience</a:t>
            </a:r>
          </a:p>
          <a:p>
            <a:pPr lvl="2"/>
            <a:r>
              <a:rPr lang="en-US" dirty="0">
                <a:solidFill>
                  <a:srgbClr val="000000"/>
                </a:solidFill>
              </a:rPr>
              <a:t>Routing complications, traffic and congestion, and security flaws</a:t>
            </a:r>
          </a:p>
          <a:p>
            <a:pPr lvl="2"/>
            <a:r>
              <a:rPr lang="en-US" dirty="0">
                <a:solidFill>
                  <a:srgbClr val="000000"/>
                </a:solidFill>
              </a:rPr>
              <a:t>Explosion of devices, network types</a:t>
            </a:r>
          </a:p>
          <a:p>
            <a:pPr lvl="2"/>
            <a:r>
              <a:rPr lang="en-US" dirty="0">
                <a:solidFill>
                  <a:srgbClr val="000000"/>
                </a:solidFill>
              </a:rPr>
              <a:t>Richer, more sophisticated content</a:t>
            </a:r>
          </a:p>
          <a:p>
            <a:pPr lvl="2"/>
            <a:r>
              <a:rPr lang="en-US" dirty="0">
                <a:solidFill>
                  <a:srgbClr val="000000"/>
                </a:solidFill>
              </a:rPr>
              <a:t>Evolving protocols and formats</a:t>
            </a:r>
          </a:p>
          <a:p>
            <a:pPr lvl="2"/>
            <a:r>
              <a:rPr lang="en-US" dirty="0">
                <a:solidFill>
                  <a:srgbClr val="000000"/>
                </a:solidFill>
              </a:rPr>
              <a:t>Attacks, increasing in scale, sophistication</a:t>
            </a:r>
          </a:p>
        </p:txBody>
      </p:sp>
    </p:spTree>
    <p:extLst>
      <p:ext uri="{BB962C8B-B14F-4D97-AF65-F5344CB8AC3E}">
        <p14:creationId xmlns:p14="http://schemas.microsoft.com/office/powerpoint/2010/main" val="220337929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95827" y="292316"/>
            <a:ext cx="9138536" cy="742246"/>
          </a:xfrm>
          <a:prstGeom prst="rect">
            <a:avLst/>
          </a:prstGeom>
        </p:spPr>
        <p:txBody>
          <a:bodyPr wrap="square">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042" eaLnBrk="1" fontAlgn="auto" latinLnBrk="0" hangingPunct="1">
              <a:lnSpc>
                <a:spcPct val="90000"/>
              </a:lnSpc>
              <a:spcBef>
                <a:spcPts val="0"/>
              </a:spcBef>
              <a:spcAft>
                <a:spcPts val="0"/>
              </a:spcAft>
              <a:buClrTx/>
              <a:buSzTx/>
              <a:buFontTx/>
              <a:buNone/>
              <a:tabLst/>
              <a:defRPr/>
            </a:pPr>
            <a:r>
              <a:rPr kumimoji="0" lang="en-US" sz="4705" b="0" i="0" u="none" strike="noStrike" kern="0" cap="none" spc="0" normalizeH="0" baseline="0" noProof="0" dirty="0">
                <a:ln w="3175">
                  <a:noFill/>
                </a:ln>
                <a:gradFill>
                  <a:gsLst>
                    <a:gs pos="7143">
                      <a:schemeClr val="tx1"/>
                    </a:gs>
                    <a:gs pos="20536">
                      <a:schemeClr val="tx1"/>
                    </a:gs>
                  </a:gsLst>
                  <a:lin ang="5400000" scaled="0"/>
                </a:gradFill>
                <a:effectLst/>
                <a:uLnTx/>
                <a:uFillTx/>
                <a:latin typeface="+mj-lt"/>
                <a:cs typeface="Segoe UI Semilight" panose="020B0402040204020203" pitchFamily="34" charset="0"/>
              </a:rPr>
              <a:t>Why should you care about CDN ?</a:t>
            </a:r>
          </a:p>
        </p:txBody>
      </p:sp>
      <p:grpSp>
        <p:nvGrpSpPr>
          <p:cNvPr id="8" name="Group 7">
            <a:extLst>
              <a:ext uri="{FF2B5EF4-FFF2-40B4-BE49-F238E27FC236}">
                <a16:creationId xmlns:a16="http://schemas.microsoft.com/office/drawing/2014/main" id="{48130FEA-60CF-459A-AD88-248BF71BF38C}"/>
              </a:ext>
            </a:extLst>
          </p:cNvPr>
          <p:cNvGrpSpPr/>
          <p:nvPr/>
        </p:nvGrpSpPr>
        <p:grpSpPr>
          <a:xfrm>
            <a:off x="969920" y="1262640"/>
            <a:ext cx="10115725" cy="2779420"/>
            <a:chOff x="989369" y="1439862"/>
            <a:chExt cx="10318566" cy="2835153"/>
          </a:xfrm>
        </p:grpSpPr>
        <p:grpSp>
          <p:nvGrpSpPr>
            <p:cNvPr id="6" name="Group 5"/>
            <p:cNvGrpSpPr/>
            <p:nvPr/>
          </p:nvGrpSpPr>
          <p:grpSpPr>
            <a:xfrm>
              <a:off x="989369" y="1439862"/>
              <a:ext cx="3186136" cy="2835153"/>
              <a:chOff x="989369" y="1728909"/>
              <a:chExt cx="3186136" cy="2835153"/>
            </a:xfrm>
          </p:grpSpPr>
          <p:sp>
            <p:nvSpPr>
              <p:cNvPr id="52" name="1_Text"/>
              <p:cNvSpPr/>
              <p:nvPr/>
            </p:nvSpPr>
            <p:spPr>
              <a:xfrm>
                <a:off x="989369" y="3545820"/>
                <a:ext cx="3186136" cy="1018242"/>
              </a:xfrm>
              <a:prstGeom prst="rect">
                <a:avLst/>
              </a:prstGeom>
              <a:noFill/>
              <a:ln w="25400" cap="flat" cmpd="sng" algn="ctr">
                <a:solidFill>
                  <a:schemeClr val="accent4">
                    <a:lumMod val="20000"/>
                    <a:lumOff val="80000"/>
                  </a:schemeClr>
                </a:solidFill>
                <a:prstDash val="solid"/>
              </a:ln>
              <a:effectLst/>
            </p:spPr>
            <p:txBody>
              <a:bodyPr rot="0" spcFirstLastPara="0" vertOverflow="overflow" horzOverflow="overflow" vert="horz" wrap="square" lIns="43940" tIns="43940" rIns="43940" bIns="4394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78527" eaLnBrk="1" fontAlgn="auto" latinLnBrk="0" hangingPunct="1">
                  <a:lnSpc>
                    <a:spcPct val="100000"/>
                  </a:lnSpc>
                  <a:spcBef>
                    <a:spcPts val="754"/>
                  </a:spcBef>
                  <a:spcAft>
                    <a:spcPts val="0"/>
                  </a:spcAft>
                  <a:buClrTx/>
                  <a:buSzTx/>
                  <a:buFontTx/>
                  <a:buNone/>
                  <a:tabLst/>
                  <a:defRPr/>
                </a:pPr>
                <a:r>
                  <a:rPr kumimoji="0" lang="en-US" sz="2307" b="1" i="0" u="none" strike="noStrike" kern="0" cap="none" spc="0" normalizeH="0" baseline="0" noProof="0" dirty="0">
                    <a:ln>
                      <a:noFill/>
                    </a:ln>
                    <a:gradFill>
                      <a:gsLst>
                        <a:gs pos="1250">
                          <a:schemeClr val="tx2"/>
                        </a:gs>
                        <a:gs pos="100000">
                          <a:schemeClr val="tx2"/>
                        </a:gs>
                      </a:gsLst>
                      <a:lin ang="5400000" scaled="0"/>
                    </a:gradFill>
                    <a:effectLst/>
                    <a:uLnTx/>
                    <a:uFillTx/>
                    <a:latin typeface="Segoe UI Light"/>
                    <a:ea typeface="MS PGothic" panose="020B0600070205080204" pitchFamily="34" charset="-128"/>
                    <a:cs typeface="Segoe UI Semibold" panose="020B0702040204020203" pitchFamily="34" charset="0"/>
                  </a:rPr>
                  <a:t>57% Abandon</a:t>
                </a:r>
                <a:br>
                  <a:rPr kumimoji="0" lang="en-US" sz="2307" b="0" i="0" u="none" strike="noStrike" kern="0" cap="none" spc="0" normalizeH="0" baseline="0" noProof="0" dirty="0">
                    <a:ln>
                      <a:noFill/>
                    </a:ln>
                    <a:solidFill>
                      <a:schemeClr val="accent3"/>
                    </a:solidFill>
                    <a:effectLst/>
                    <a:uLnTx/>
                    <a:uFillTx/>
                    <a:latin typeface="Segoe UI Light"/>
                    <a:ea typeface="MS PGothic" panose="020B0600070205080204" pitchFamily="34" charset="-128"/>
                    <a:cs typeface="Segoe UI Semibold" panose="020B0702040204020203" pitchFamily="34" charset="0"/>
                  </a:rPr>
                </a:br>
                <a:r>
                  <a:rPr kumimoji="0" lang="en-US" sz="1765" b="0" i="0" u="none" strike="noStrike" kern="0" cap="none" spc="0" normalizeH="0" baseline="0" noProof="0" dirty="0">
                    <a:ln>
                      <a:noFill/>
                    </a:ln>
                    <a:gradFill>
                      <a:gsLst>
                        <a:gs pos="2917">
                          <a:schemeClr val="tx1"/>
                        </a:gs>
                        <a:gs pos="100000">
                          <a:schemeClr val="tx1"/>
                        </a:gs>
                      </a:gsLst>
                      <a:lin ang="5400000" scaled="0"/>
                    </a:gradFill>
                    <a:effectLst/>
                    <a:uLnTx/>
                    <a:uFillTx/>
                    <a:cs typeface="Segoe UI Semilight" panose="020B0402040204020203" pitchFamily="34" charset="0"/>
                  </a:rPr>
                  <a:t>a website that takes more than 3 secs to load(1)</a:t>
                </a:r>
              </a:p>
              <a:p>
                <a:pPr marL="0" marR="0" lvl="0" indent="0" algn="ctr" defTabSz="878527" eaLnBrk="1" fontAlgn="auto" latinLnBrk="0" hangingPunct="1">
                  <a:lnSpc>
                    <a:spcPct val="100000"/>
                  </a:lnSpc>
                  <a:spcBef>
                    <a:spcPts val="754"/>
                  </a:spcBef>
                  <a:spcAft>
                    <a:spcPts val="0"/>
                  </a:spcAft>
                  <a:buClrTx/>
                  <a:buSzTx/>
                  <a:buFontTx/>
                  <a:buNone/>
                  <a:tabLst/>
                  <a:defRPr/>
                </a:pPr>
                <a:endParaRPr kumimoji="0" lang="en-US" sz="2307" b="0" i="0" u="none" strike="noStrike" kern="0" cap="none" spc="0" normalizeH="0" baseline="0" noProof="0" dirty="0">
                  <a:ln>
                    <a:noFill/>
                  </a:ln>
                  <a:solidFill>
                    <a:schemeClr val="accent3"/>
                  </a:solidFill>
                  <a:effectLst/>
                  <a:uLnTx/>
                  <a:uFillTx/>
                  <a:latin typeface="Segoe UI Light"/>
                  <a:ea typeface="MS PGothic" panose="020B0600070205080204" pitchFamily="34" charset="-128"/>
                  <a:cs typeface="Segoe UI Semibold" panose="020B0702040204020203" pitchFamily="34" charset="0"/>
                </a:endParaRPr>
              </a:p>
            </p:txBody>
          </p:sp>
          <p:sp>
            <p:nvSpPr>
              <p:cNvPr id="55" name="Oval 54"/>
              <p:cNvSpPr/>
              <p:nvPr/>
            </p:nvSpPr>
            <p:spPr bwMode="auto">
              <a:xfrm>
                <a:off x="1795738" y="1728909"/>
                <a:ext cx="1573398" cy="1573398"/>
              </a:xfrm>
              <a:prstGeom prst="ellipse">
                <a:avLst/>
              </a:prstGeom>
              <a:solidFill>
                <a:schemeClr val="accent1"/>
              </a:solidFill>
              <a:ln w="38100" cap="flat" cmpd="sng" algn="ctr">
                <a:solidFill>
                  <a:schemeClr val="accent4">
                    <a:lumMod val="20000"/>
                    <a:lumOff val="80000"/>
                  </a:schemeClr>
                </a:solid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094"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50" name="Group 49"/>
            <p:cNvGrpSpPr>
              <a:grpSpLocks noChangeAspect="1"/>
            </p:cNvGrpSpPr>
            <p:nvPr/>
          </p:nvGrpSpPr>
          <p:grpSpPr bwMode="auto">
            <a:xfrm>
              <a:off x="2190725" y="1964907"/>
              <a:ext cx="783424" cy="448118"/>
              <a:chOff x="-2" y="7"/>
              <a:chExt cx="250" cy="143"/>
            </a:xfrm>
          </p:grpSpPr>
          <p:sp>
            <p:nvSpPr>
              <p:cNvPr id="51" name="Line 6"/>
              <p:cNvSpPr>
                <a:spLocks noChangeShapeType="1"/>
              </p:cNvSpPr>
              <p:nvPr/>
            </p:nvSpPr>
            <p:spPr bwMode="auto">
              <a:xfrm>
                <a:off x="-2" y="150"/>
                <a:ext cx="250" cy="0"/>
              </a:xfrm>
              <a:prstGeom prst="line">
                <a:avLst/>
              </a:prstGeom>
              <a:noFill/>
              <a:ln w="38100" cap="flat">
                <a:solidFill>
                  <a:schemeClr val="accent4">
                    <a:lumMod val="20000"/>
                    <a:lumOff val="8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effectLst/>
                  <a:uLnTx/>
                  <a:uFillTx/>
                </a:endParaRPr>
              </a:p>
            </p:txBody>
          </p:sp>
          <p:sp>
            <p:nvSpPr>
              <p:cNvPr id="56" name="Freeform 7"/>
              <p:cNvSpPr>
                <a:spLocks/>
              </p:cNvSpPr>
              <p:nvPr/>
            </p:nvSpPr>
            <p:spPr bwMode="auto">
              <a:xfrm>
                <a:off x="193" y="7"/>
                <a:ext cx="47" cy="48"/>
              </a:xfrm>
              <a:custGeom>
                <a:avLst/>
                <a:gdLst>
                  <a:gd name="T0" fmla="*/ 0 w 47"/>
                  <a:gd name="T1" fmla="*/ 0 h 48"/>
                  <a:gd name="T2" fmla="*/ 47 w 47"/>
                  <a:gd name="T3" fmla="*/ 0 h 48"/>
                  <a:gd name="T4" fmla="*/ 47 w 47"/>
                  <a:gd name="T5" fmla="*/ 48 h 48"/>
                </a:gdLst>
                <a:ahLst/>
                <a:cxnLst>
                  <a:cxn ang="0">
                    <a:pos x="T0" y="T1"/>
                  </a:cxn>
                  <a:cxn ang="0">
                    <a:pos x="T2" y="T3"/>
                  </a:cxn>
                  <a:cxn ang="0">
                    <a:pos x="T4" y="T5"/>
                  </a:cxn>
                </a:cxnLst>
                <a:rect l="0" t="0" r="r" b="b"/>
                <a:pathLst>
                  <a:path w="47" h="48">
                    <a:moveTo>
                      <a:pt x="0" y="0"/>
                    </a:moveTo>
                    <a:lnTo>
                      <a:pt x="47" y="0"/>
                    </a:lnTo>
                    <a:lnTo>
                      <a:pt x="47" y="48"/>
                    </a:lnTo>
                  </a:path>
                </a:pathLst>
              </a:custGeom>
              <a:noFill/>
              <a:ln w="38100" cap="flat">
                <a:solidFill>
                  <a:schemeClr val="accent4">
                    <a:lumMod val="20000"/>
                    <a:lumOff val="8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57" name="Line 8"/>
              <p:cNvSpPr>
                <a:spLocks noChangeShapeType="1"/>
              </p:cNvSpPr>
              <p:nvPr/>
            </p:nvSpPr>
            <p:spPr bwMode="auto">
              <a:xfrm flipH="1">
                <a:off x="45" y="118"/>
                <a:ext cx="31" cy="0"/>
              </a:xfrm>
              <a:prstGeom prst="line">
                <a:avLst/>
              </a:prstGeom>
              <a:noFill/>
              <a:ln w="38100" cap="flat">
                <a:solidFill>
                  <a:schemeClr val="accent4">
                    <a:lumMod val="20000"/>
                    <a:lumOff val="8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58" name="Line 9"/>
              <p:cNvSpPr>
                <a:spLocks noChangeShapeType="1"/>
              </p:cNvSpPr>
              <p:nvPr/>
            </p:nvSpPr>
            <p:spPr bwMode="auto">
              <a:xfrm flipH="1">
                <a:off x="-2" y="118"/>
                <a:ext cx="31" cy="0"/>
              </a:xfrm>
              <a:prstGeom prst="line">
                <a:avLst/>
              </a:prstGeom>
              <a:noFill/>
              <a:ln w="38100" cap="flat">
                <a:solidFill>
                  <a:schemeClr val="accent4">
                    <a:lumMod val="20000"/>
                    <a:lumOff val="8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59" name="Freeform 10"/>
              <p:cNvSpPr>
                <a:spLocks/>
              </p:cNvSpPr>
              <p:nvPr/>
            </p:nvSpPr>
            <p:spPr bwMode="auto">
              <a:xfrm>
                <a:off x="92" y="7"/>
                <a:ext cx="148" cy="111"/>
              </a:xfrm>
              <a:custGeom>
                <a:avLst/>
                <a:gdLst>
                  <a:gd name="T0" fmla="*/ 148 w 148"/>
                  <a:gd name="T1" fmla="*/ 0 h 111"/>
                  <a:gd name="T2" fmla="*/ 39 w 148"/>
                  <a:gd name="T3" fmla="*/ 111 h 111"/>
                  <a:gd name="T4" fmla="*/ 0 w 148"/>
                  <a:gd name="T5" fmla="*/ 111 h 111"/>
                </a:gdLst>
                <a:ahLst/>
                <a:cxnLst>
                  <a:cxn ang="0">
                    <a:pos x="T0" y="T1"/>
                  </a:cxn>
                  <a:cxn ang="0">
                    <a:pos x="T2" y="T3"/>
                  </a:cxn>
                  <a:cxn ang="0">
                    <a:pos x="T4" y="T5"/>
                  </a:cxn>
                </a:cxnLst>
                <a:rect l="0" t="0" r="r" b="b"/>
                <a:pathLst>
                  <a:path w="148" h="111">
                    <a:moveTo>
                      <a:pt x="148" y="0"/>
                    </a:moveTo>
                    <a:lnTo>
                      <a:pt x="39" y="111"/>
                    </a:lnTo>
                    <a:lnTo>
                      <a:pt x="0" y="111"/>
                    </a:lnTo>
                  </a:path>
                </a:pathLst>
              </a:custGeom>
              <a:noFill/>
              <a:ln w="38100" cap="flat">
                <a:solidFill>
                  <a:schemeClr val="accent4">
                    <a:lumMod val="20000"/>
                    <a:lumOff val="8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effectLst/>
                  <a:uLnTx/>
                  <a:uFillTx/>
                </a:endParaRPr>
              </a:p>
            </p:txBody>
          </p:sp>
        </p:grpSp>
        <p:grpSp>
          <p:nvGrpSpPr>
            <p:cNvPr id="5" name="Group 4"/>
            <p:cNvGrpSpPr/>
            <p:nvPr/>
          </p:nvGrpSpPr>
          <p:grpSpPr>
            <a:xfrm>
              <a:off x="4445815" y="1439862"/>
              <a:ext cx="3896734" cy="2835153"/>
              <a:chOff x="4416449" y="1728909"/>
              <a:chExt cx="3896734" cy="2835153"/>
            </a:xfrm>
          </p:grpSpPr>
          <p:sp>
            <p:nvSpPr>
              <p:cNvPr id="31" name="2_Text"/>
              <p:cNvSpPr/>
              <p:nvPr/>
            </p:nvSpPr>
            <p:spPr>
              <a:xfrm>
                <a:off x="4416449" y="3545820"/>
                <a:ext cx="3896734" cy="1018242"/>
              </a:xfrm>
              <a:prstGeom prst="rect">
                <a:avLst/>
              </a:prstGeom>
              <a:noFill/>
              <a:ln w="25400" cap="flat" cmpd="sng" algn="ctr">
                <a:solidFill>
                  <a:schemeClr val="accent4">
                    <a:lumMod val="20000"/>
                    <a:lumOff val="80000"/>
                  </a:schemeClr>
                </a:solidFill>
                <a:prstDash val="solid"/>
              </a:ln>
              <a:effectLst/>
            </p:spPr>
            <p:txBody>
              <a:bodyPr rot="0" spcFirstLastPara="0" vertOverflow="overflow" horzOverflow="overflow" vert="horz" wrap="square" lIns="43940" tIns="43940" rIns="43940" bIns="4394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78527" eaLnBrk="1" fontAlgn="auto" latinLnBrk="0" hangingPunct="1">
                  <a:lnSpc>
                    <a:spcPct val="100000"/>
                  </a:lnSpc>
                  <a:spcBef>
                    <a:spcPts val="754"/>
                  </a:spcBef>
                  <a:spcAft>
                    <a:spcPts val="0"/>
                  </a:spcAft>
                  <a:buClrTx/>
                  <a:buSzTx/>
                  <a:buFontTx/>
                  <a:buNone/>
                  <a:tabLst/>
                  <a:defRPr/>
                </a:pPr>
                <a:r>
                  <a:rPr kumimoji="0" lang="en-US" sz="2307" b="1" i="0" u="none" strike="noStrike" kern="0" cap="none" spc="0" normalizeH="0" baseline="0" noProof="0" dirty="0">
                    <a:ln>
                      <a:noFill/>
                    </a:ln>
                    <a:gradFill>
                      <a:gsLst>
                        <a:gs pos="1250">
                          <a:schemeClr val="tx2"/>
                        </a:gs>
                        <a:gs pos="100000">
                          <a:schemeClr val="tx2"/>
                        </a:gs>
                      </a:gsLst>
                    </a:gradFill>
                    <a:effectLst/>
                    <a:uLnTx/>
                    <a:uFillTx/>
                    <a:latin typeface="Segoe UI Light"/>
                    <a:ea typeface="MS PGothic" panose="020B0600070205080204" pitchFamily="34" charset="-128"/>
                    <a:cs typeface="Segoe UI Semibold" panose="020B0702040204020203" pitchFamily="34" charset="0"/>
                  </a:rPr>
                  <a:t>87% Stop Watching Video</a:t>
                </a:r>
                <a:br>
                  <a:rPr kumimoji="0" lang="en-US" sz="2307" b="0" i="0" u="none" strike="noStrike" kern="0" cap="none" spc="0" normalizeH="0" baseline="0" noProof="0" dirty="0">
                    <a:ln>
                      <a:noFill/>
                    </a:ln>
                    <a:gradFill>
                      <a:gsLst>
                        <a:gs pos="1250">
                          <a:schemeClr val="tx2"/>
                        </a:gs>
                        <a:gs pos="100000">
                          <a:schemeClr val="tx2"/>
                        </a:gs>
                      </a:gsLst>
                    </a:gradFill>
                    <a:effectLst/>
                    <a:uLnTx/>
                    <a:uFillTx/>
                    <a:latin typeface="Segoe UI Light"/>
                    <a:ea typeface="MS PGothic" panose="020B0600070205080204" pitchFamily="34" charset="-128"/>
                    <a:cs typeface="Segoe UI Semibold" panose="020B0702040204020203" pitchFamily="34" charset="0"/>
                  </a:rPr>
                </a:br>
                <a:r>
                  <a:rPr kumimoji="0" lang="en-US" sz="1765" b="0" i="0" u="none" strike="noStrike" kern="0" cap="none" spc="0" normalizeH="0" baseline="0" noProof="0" dirty="0">
                    <a:ln>
                      <a:noFill/>
                    </a:ln>
                    <a:gradFill>
                      <a:gsLst>
                        <a:gs pos="2917">
                          <a:schemeClr val="tx1"/>
                        </a:gs>
                        <a:gs pos="100000">
                          <a:schemeClr val="tx1"/>
                        </a:gs>
                      </a:gsLst>
                      <a:lin ang="5400000" scaled="0"/>
                    </a:gradFill>
                    <a:effectLst/>
                    <a:uLnTx/>
                    <a:uFillTx/>
                    <a:cs typeface="Segoe UI Semilight" panose="020B0402040204020203" pitchFamily="34" charset="0"/>
                  </a:rPr>
                  <a:t>if video takes more than 7 secs to buffer (2)</a:t>
                </a:r>
              </a:p>
              <a:p>
                <a:pPr marL="0" marR="0" lvl="0" indent="0" algn="ctr" defTabSz="878527" eaLnBrk="1" fontAlgn="auto" latinLnBrk="0" hangingPunct="1">
                  <a:lnSpc>
                    <a:spcPct val="100000"/>
                  </a:lnSpc>
                  <a:spcBef>
                    <a:spcPts val="754"/>
                  </a:spcBef>
                  <a:spcAft>
                    <a:spcPts val="0"/>
                  </a:spcAft>
                  <a:buClrTx/>
                  <a:buSzTx/>
                  <a:buFontTx/>
                  <a:buNone/>
                  <a:tabLst/>
                  <a:defRPr/>
                </a:pPr>
                <a:endParaRPr kumimoji="0" lang="en-US" sz="1765" b="0" i="0" u="none" strike="noStrike" kern="0" cap="none" spc="0" normalizeH="0" baseline="0" noProof="0" dirty="0">
                  <a:ln>
                    <a:noFill/>
                  </a:ln>
                  <a:gradFill>
                    <a:gsLst>
                      <a:gs pos="2917">
                        <a:schemeClr val="tx1"/>
                      </a:gs>
                      <a:gs pos="100000">
                        <a:schemeClr val="tx1"/>
                      </a:gs>
                    </a:gsLst>
                    <a:lin ang="5400000" scaled="0"/>
                  </a:gradFill>
                  <a:effectLst/>
                  <a:uLnTx/>
                  <a:uFillTx/>
                  <a:cs typeface="Segoe UI Semilight" panose="020B0402040204020203" pitchFamily="34" charset="0"/>
                </a:endParaRPr>
              </a:p>
            </p:txBody>
          </p:sp>
          <p:grpSp>
            <p:nvGrpSpPr>
              <p:cNvPr id="4" name="Group 3"/>
              <p:cNvGrpSpPr/>
              <p:nvPr/>
            </p:nvGrpSpPr>
            <p:grpSpPr>
              <a:xfrm>
                <a:off x="5578117" y="1728909"/>
                <a:ext cx="1573398" cy="1573398"/>
                <a:chOff x="5435105" y="3861859"/>
                <a:chExt cx="1573398" cy="1573398"/>
              </a:xfrm>
            </p:grpSpPr>
            <p:sp>
              <p:nvSpPr>
                <p:cNvPr id="38" name="Oval 37"/>
                <p:cNvSpPr/>
                <p:nvPr/>
              </p:nvSpPr>
              <p:spPr bwMode="auto">
                <a:xfrm>
                  <a:off x="5435105" y="3861859"/>
                  <a:ext cx="1573398" cy="1573398"/>
                </a:xfrm>
                <a:prstGeom prst="ellipse">
                  <a:avLst/>
                </a:prstGeom>
                <a:solidFill>
                  <a:schemeClr val="accent1"/>
                </a:solidFill>
                <a:ln w="38100" cap="flat" cmpd="sng" algn="ctr">
                  <a:solidFill>
                    <a:schemeClr val="accent4">
                      <a:lumMod val="20000"/>
                      <a:lumOff val="80000"/>
                    </a:schemeClr>
                  </a:solid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094"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nvGrpSpPr>
                <p:cNvPr id="97" name="Group 30"/>
                <p:cNvGrpSpPr>
                  <a:grpSpLocks noChangeAspect="1"/>
                </p:cNvGrpSpPr>
                <p:nvPr/>
              </p:nvGrpSpPr>
              <p:grpSpPr bwMode="auto">
                <a:xfrm>
                  <a:off x="5776490" y="4397849"/>
                  <a:ext cx="890628" cy="501418"/>
                  <a:chOff x="-2" y="2"/>
                  <a:chExt cx="254" cy="143"/>
                </a:xfrm>
                <a:solidFill>
                  <a:schemeClr val="bg1"/>
                </a:solidFill>
              </p:grpSpPr>
              <p:sp>
                <p:nvSpPr>
                  <p:cNvPr id="98" name="Oval 31"/>
                  <p:cNvSpPr>
                    <a:spLocks noChangeArrowheads="1"/>
                  </p:cNvSpPr>
                  <p:nvPr/>
                </p:nvSpPr>
                <p:spPr bwMode="auto">
                  <a:xfrm>
                    <a:off x="109" y="58"/>
                    <a:ext cx="32" cy="31"/>
                  </a:xfrm>
                  <a:prstGeom prst="ellipse">
                    <a:avLst/>
                  </a:prstGeom>
                  <a:solidFill>
                    <a:schemeClr val="tx1"/>
                  </a:solidFill>
                  <a:ln w="9525">
                    <a:solidFill>
                      <a:schemeClr val="accent4">
                        <a:lumMod val="20000"/>
                        <a:lumOff val="80000"/>
                      </a:schemeClr>
                    </a:solidFill>
                    <a:round/>
                    <a:headEnd/>
                    <a:tailEnd/>
                  </a:ln>
                </p:spPr>
                <p:txBody>
                  <a:bodyPr vert="horz" wrap="square" lIns="89642" tIns="44821" rIns="89642" bIns="44821"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99" name="Freeform 32"/>
                  <p:cNvSpPr>
                    <a:spLocks noEditPoints="1"/>
                  </p:cNvSpPr>
                  <p:nvPr/>
                </p:nvSpPr>
                <p:spPr bwMode="auto">
                  <a:xfrm>
                    <a:off x="-2" y="2"/>
                    <a:ext cx="254" cy="143"/>
                  </a:xfrm>
                  <a:custGeom>
                    <a:avLst/>
                    <a:gdLst>
                      <a:gd name="T0" fmla="*/ 126 w 130"/>
                      <a:gd name="T1" fmla="*/ 28 h 72"/>
                      <a:gd name="T2" fmla="*/ 126 w 130"/>
                      <a:gd name="T3" fmla="*/ 28 h 72"/>
                      <a:gd name="T4" fmla="*/ 65 w 130"/>
                      <a:gd name="T5" fmla="*/ 0 h 72"/>
                      <a:gd name="T6" fmla="*/ 4 w 130"/>
                      <a:gd name="T7" fmla="*/ 28 h 72"/>
                      <a:gd name="T8" fmla="*/ 4 w 130"/>
                      <a:gd name="T9" fmla="*/ 28 h 72"/>
                      <a:gd name="T10" fmla="*/ 4 w 130"/>
                      <a:gd name="T11" fmla="*/ 44 h 72"/>
                      <a:gd name="T12" fmla="*/ 4 w 130"/>
                      <a:gd name="T13" fmla="*/ 44 h 72"/>
                      <a:gd name="T14" fmla="*/ 65 w 130"/>
                      <a:gd name="T15" fmla="*/ 72 h 72"/>
                      <a:gd name="T16" fmla="*/ 126 w 130"/>
                      <a:gd name="T17" fmla="*/ 44 h 72"/>
                      <a:gd name="T18" fmla="*/ 126 w 130"/>
                      <a:gd name="T19" fmla="*/ 44 h 72"/>
                      <a:gd name="T20" fmla="*/ 126 w 130"/>
                      <a:gd name="T21" fmla="*/ 28 h 72"/>
                      <a:gd name="T22" fmla="*/ 93 w 130"/>
                      <a:gd name="T23" fmla="*/ 36 h 72"/>
                      <a:gd name="T24" fmla="*/ 68 w 130"/>
                      <a:gd name="T25" fmla="*/ 64 h 72"/>
                      <a:gd name="T26" fmla="*/ 65 w 130"/>
                      <a:gd name="T27" fmla="*/ 64 h 72"/>
                      <a:gd name="T28" fmla="*/ 62 w 130"/>
                      <a:gd name="T29" fmla="*/ 64 h 72"/>
                      <a:gd name="T30" fmla="*/ 37 w 130"/>
                      <a:gd name="T31" fmla="*/ 36 h 72"/>
                      <a:gd name="T32" fmla="*/ 62 w 130"/>
                      <a:gd name="T33" fmla="*/ 8 h 72"/>
                      <a:gd name="T34" fmla="*/ 65 w 130"/>
                      <a:gd name="T35" fmla="*/ 8 h 72"/>
                      <a:gd name="T36" fmla="*/ 68 w 130"/>
                      <a:gd name="T37" fmla="*/ 8 h 72"/>
                      <a:gd name="T38" fmla="*/ 93 w 130"/>
                      <a:gd name="T39" fmla="*/ 36 h 72"/>
                      <a:gd name="T40" fmla="*/ 10 w 130"/>
                      <a:gd name="T41" fmla="*/ 39 h 72"/>
                      <a:gd name="T42" fmla="*/ 7 w 130"/>
                      <a:gd name="T43" fmla="*/ 41 h 72"/>
                      <a:gd name="T44" fmla="*/ 10 w 130"/>
                      <a:gd name="T45" fmla="*/ 39 h 72"/>
                      <a:gd name="T46" fmla="*/ 10 w 130"/>
                      <a:gd name="T47" fmla="*/ 33 h 72"/>
                      <a:gd name="T48" fmla="*/ 7 w 130"/>
                      <a:gd name="T49" fmla="*/ 31 h 72"/>
                      <a:gd name="T50" fmla="*/ 10 w 130"/>
                      <a:gd name="T51" fmla="*/ 33 h 72"/>
                      <a:gd name="T52" fmla="*/ 37 w 130"/>
                      <a:gd name="T53" fmla="*/ 14 h 72"/>
                      <a:gd name="T54" fmla="*/ 29 w 130"/>
                      <a:gd name="T55" fmla="*/ 36 h 72"/>
                      <a:gd name="T56" fmla="*/ 37 w 130"/>
                      <a:gd name="T57" fmla="*/ 58 h 72"/>
                      <a:gd name="T58" fmla="*/ 10 w 130"/>
                      <a:gd name="T59" fmla="*/ 39 h 72"/>
                      <a:gd name="T60" fmla="*/ 120 w 130"/>
                      <a:gd name="T61" fmla="*/ 39 h 72"/>
                      <a:gd name="T62" fmla="*/ 93 w 130"/>
                      <a:gd name="T63" fmla="*/ 58 h 72"/>
                      <a:gd name="T64" fmla="*/ 101 w 130"/>
                      <a:gd name="T65" fmla="*/ 36 h 72"/>
                      <a:gd name="T66" fmla="*/ 93 w 130"/>
                      <a:gd name="T67" fmla="*/ 14 h 72"/>
                      <a:gd name="T68" fmla="*/ 120 w 130"/>
                      <a:gd name="T69" fmla="*/ 33 h 72"/>
                      <a:gd name="T70" fmla="*/ 123 w 130"/>
                      <a:gd name="T71" fmla="*/ 31 h 72"/>
                      <a:gd name="T72" fmla="*/ 120 w 130"/>
                      <a:gd name="T73" fmla="*/ 33 h 72"/>
                      <a:gd name="T74" fmla="*/ 120 w 130"/>
                      <a:gd name="T75" fmla="*/ 39 h 72"/>
                      <a:gd name="T76" fmla="*/ 123 w 130"/>
                      <a:gd name="T77" fmla="*/ 41 h 72"/>
                      <a:gd name="T78" fmla="*/ 120 w 130"/>
                      <a:gd name="T79" fmla="*/ 3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0" h="72">
                        <a:moveTo>
                          <a:pt x="126" y="28"/>
                        </a:moveTo>
                        <a:cubicBezTo>
                          <a:pt x="126" y="28"/>
                          <a:pt x="126" y="28"/>
                          <a:pt x="126" y="28"/>
                        </a:cubicBezTo>
                        <a:cubicBezTo>
                          <a:pt x="110" y="10"/>
                          <a:pt x="88" y="0"/>
                          <a:pt x="65" y="0"/>
                        </a:cubicBezTo>
                        <a:cubicBezTo>
                          <a:pt x="42" y="0"/>
                          <a:pt x="20" y="10"/>
                          <a:pt x="4" y="28"/>
                        </a:cubicBezTo>
                        <a:cubicBezTo>
                          <a:pt x="4" y="28"/>
                          <a:pt x="4" y="28"/>
                          <a:pt x="4" y="28"/>
                        </a:cubicBezTo>
                        <a:cubicBezTo>
                          <a:pt x="0" y="32"/>
                          <a:pt x="0" y="40"/>
                          <a:pt x="4" y="44"/>
                        </a:cubicBezTo>
                        <a:cubicBezTo>
                          <a:pt x="4" y="44"/>
                          <a:pt x="4" y="44"/>
                          <a:pt x="4" y="44"/>
                        </a:cubicBezTo>
                        <a:cubicBezTo>
                          <a:pt x="20" y="62"/>
                          <a:pt x="42" y="72"/>
                          <a:pt x="65" y="72"/>
                        </a:cubicBezTo>
                        <a:cubicBezTo>
                          <a:pt x="88" y="72"/>
                          <a:pt x="110" y="62"/>
                          <a:pt x="126" y="44"/>
                        </a:cubicBezTo>
                        <a:cubicBezTo>
                          <a:pt x="126" y="44"/>
                          <a:pt x="126" y="44"/>
                          <a:pt x="126" y="44"/>
                        </a:cubicBezTo>
                        <a:cubicBezTo>
                          <a:pt x="130" y="40"/>
                          <a:pt x="130" y="32"/>
                          <a:pt x="126" y="28"/>
                        </a:cubicBezTo>
                        <a:close/>
                        <a:moveTo>
                          <a:pt x="93" y="36"/>
                        </a:moveTo>
                        <a:cubicBezTo>
                          <a:pt x="93" y="50"/>
                          <a:pt x="82" y="62"/>
                          <a:pt x="68" y="64"/>
                        </a:cubicBezTo>
                        <a:cubicBezTo>
                          <a:pt x="67" y="64"/>
                          <a:pt x="66" y="64"/>
                          <a:pt x="65" y="64"/>
                        </a:cubicBezTo>
                        <a:cubicBezTo>
                          <a:pt x="64" y="64"/>
                          <a:pt x="63" y="64"/>
                          <a:pt x="62" y="64"/>
                        </a:cubicBezTo>
                        <a:cubicBezTo>
                          <a:pt x="48" y="62"/>
                          <a:pt x="37" y="50"/>
                          <a:pt x="37" y="36"/>
                        </a:cubicBezTo>
                        <a:cubicBezTo>
                          <a:pt x="37" y="22"/>
                          <a:pt x="48" y="10"/>
                          <a:pt x="62" y="8"/>
                        </a:cubicBezTo>
                        <a:cubicBezTo>
                          <a:pt x="63" y="8"/>
                          <a:pt x="64" y="8"/>
                          <a:pt x="65" y="8"/>
                        </a:cubicBezTo>
                        <a:cubicBezTo>
                          <a:pt x="66" y="8"/>
                          <a:pt x="67" y="8"/>
                          <a:pt x="68" y="8"/>
                        </a:cubicBezTo>
                        <a:cubicBezTo>
                          <a:pt x="82" y="10"/>
                          <a:pt x="93" y="22"/>
                          <a:pt x="93" y="36"/>
                        </a:cubicBezTo>
                        <a:close/>
                        <a:moveTo>
                          <a:pt x="10" y="39"/>
                        </a:moveTo>
                        <a:cubicBezTo>
                          <a:pt x="7" y="41"/>
                          <a:pt x="7" y="41"/>
                          <a:pt x="7" y="41"/>
                        </a:cubicBezTo>
                        <a:cubicBezTo>
                          <a:pt x="10" y="39"/>
                          <a:pt x="10" y="39"/>
                          <a:pt x="10" y="39"/>
                        </a:cubicBezTo>
                        <a:cubicBezTo>
                          <a:pt x="9" y="37"/>
                          <a:pt x="9" y="35"/>
                          <a:pt x="10" y="33"/>
                        </a:cubicBezTo>
                        <a:cubicBezTo>
                          <a:pt x="7" y="31"/>
                          <a:pt x="7" y="31"/>
                          <a:pt x="7" y="31"/>
                        </a:cubicBezTo>
                        <a:cubicBezTo>
                          <a:pt x="10" y="33"/>
                          <a:pt x="10" y="33"/>
                          <a:pt x="10" y="33"/>
                        </a:cubicBezTo>
                        <a:cubicBezTo>
                          <a:pt x="18" y="25"/>
                          <a:pt x="27" y="18"/>
                          <a:pt x="37" y="14"/>
                        </a:cubicBezTo>
                        <a:cubicBezTo>
                          <a:pt x="32" y="20"/>
                          <a:pt x="29" y="28"/>
                          <a:pt x="29" y="36"/>
                        </a:cubicBezTo>
                        <a:cubicBezTo>
                          <a:pt x="29" y="44"/>
                          <a:pt x="32" y="52"/>
                          <a:pt x="37" y="58"/>
                        </a:cubicBezTo>
                        <a:cubicBezTo>
                          <a:pt x="27" y="54"/>
                          <a:pt x="18" y="47"/>
                          <a:pt x="10" y="39"/>
                        </a:cubicBezTo>
                        <a:close/>
                        <a:moveTo>
                          <a:pt x="120" y="39"/>
                        </a:moveTo>
                        <a:cubicBezTo>
                          <a:pt x="112" y="47"/>
                          <a:pt x="103" y="54"/>
                          <a:pt x="93" y="58"/>
                        </a:cubicBezTo>
                        <a:cubicBezTo>
                          <a:pt x="98" y="52"/>
                          <a:pt x="101" y="44"/>
                          <a:pt x="101" y="36"/>
                        </a:cubicBezTo>
                        <a:cubicBezTo>
                          <a:pt x="101" y="28"/>
                          <a:pt x="98" y="20"/>
                          <a:pt x="93" y="14"/>
                        </a:cubicBezTo>
                        <a:cubicBezTo>
                          <a:pt x="103" y="18"/>
                          <a:pt x="112" y="25"/>
                          <a:pt x="120" y="33"/>
                        </a:cubicBezTo>
                        <a:cubicBezTo>
                          <a:pt x="123" y="31"/>
                          <a:pt x="123" y="31"/>
                          <a:pt x="123" y="31"/>
                        </a:cubicBezTo>
                        <a:cubicBezTo>
                          <a:pt x="120" y="33"/>
                          <a:pt x="120" y="33"/>
                          <a:pt x="120" y="33"/>
                        </a:cubicBezTo>
                        <a:cubicBezTo>
                          <a:pt x="121" y="35"/>
                          <a:pt x="121" y="37"/>
                          <a:pt x="120" y="39"/>
                        </a:cubicBezTo>
                        <a:cubicBezTo>
                          <a:pt x="123" y="41"/>
                          <a:pt x="123" y="41"/>
                          <a:pt x="123" y="41"/>
                        </a:cubicBezTo>
                        <a:lnTo>
                          <a:pt x="120" y="39"/>
                        </a:lnTo>
                        <a:close/>
                      </a:path>
                    </a:pathLst>
                  </a:custGeom>
                  <a:solidFill>
                    <a:schemeClr val="tx1"/>
                  </a:solidFill>
                  <a:ln w="9525">
                    <a:solidFill>
                      <a:schemeClr val="accent4">
                        <a:lumMod val="20000"/>
                        <a:lumOff val="80000"/>
                      </a:schemeClr>
                    </a:solidFill>
                    <a:round/>
                    <a:headEnd/>
                    <a:tailEnd/>
                  </a:ln>
                </p:spPr>
                <p:txBody>
                  <a:bodyPr vert="horz" wrap="square" lIns="89642" tIns="44821" rIns="89642" bIns="44821"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grpSp>
          </p:grpSp>
        </p:grpSp>
        <p:grpSp>
          <p:nvGrpSpPr>
            <p:cNvPr id="3" name="Group 2"/>
            <p:cNvGrpSpPr/>
            <p:nvPr/>
          </p:nvGrpSpPr>
          <p:grpSpPr>
            <a:xfrm>
              <a:off x="8612859" y="1439862"/>
              <a:ext cx="2695076" cy="2835153"/>
              <a:chOff x="8612859" y="1728909"/>
              <a:chExt cx="2695076" cy="2835153"/>
            </a:xfrm>
          </p:grpSpPr>
          <p:sp>
            <p:nvSpPr>
              <p:cNvPr id="41" name="2_Text"/>
              <p:cNvSpPr/>
              <p:nvPr/>
            </p:nvSpPr>
            <p:spPr>
              <a:xfrm>
                <a:off x="8612859" y="3545820"/>
                <a:ext cx="2695076" cy="1018242"/>
              </a:xfrm>
              <a:prstGeom prst="rect">
                <a:avLst/>
              </a:prstGeom>
              <a:noFill/>
              <a:ln w="25400" cap="flat" cmpd="sng" algn="ctr">
                <a:solidFill>
                  <a:schemeClr val="accent4">
                    <a:lumMod val="20000"/>
                    <a:lumOff val="80000"/>
                  </a:schemeClr>
                </a:solidFill>
                <a:prstDash val="solid"/>
              </a:ln>
              <a:effectLst/>
            </p:spPr>
            <p:txBody>
              <a:bodyPr rot="0" spcFirstLastPara="0" vertOverflow="overflow" horzOverflow="overflow" vert="horz" wrap="square" lIns="43940" tIns="43940" rIns="43940" bIns="4394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defTabSz="878527">
                  <a:spcBef>
                    <a:spcPts val="754"/>
                  </a:spcBef>
                  <a:defRPr/>
                </a:pPr>
                <a:r>
                  <a:rPr kumimoji="0" lang="en-US" sz="2307" b="1" i="0" u="none" strike="noStrike" kern="0" cap="none" spc="0" normalizeH="0" baseline="0" noProof="0" dirty="0">
                    <a:ln>
                      <a:noFill/>
                    </a:ln>
                    <a:gradFill>
                      <a:gsLst>
                        <a:gs pos="1250">
                          <a:schemeClr val="tx2"/>
                        </a:gs>
                        <a:gs pos="100000">
                          <a:schemeClr val="tx2"/>
                        </a:gs>
                      </a:gsLst>
                    </a:gradFill>
                    <a:effectLst/>
                    <a:uLnTx/>
                    <a:uFillTx/>
                    <a:latin typeface="Segoe UI Light"/>
                    <a:ea typeface="MS PGothic" panose="020B0600070205080204" pitchFamily="34" charset="-128"/>
                    <a:cs typeface="Segoe UI Semibold" panose="020B0702040204020203" pitchFamily="34" charset="0"/>
                  </a:rPr>
                  <a:t>1% Drop in revenue</a:t>
                </a:r>
                <a:br>
                  <a:rPr kumimoji="0" lang="en-US" sz="2307" b="0" i="0" u="none" strike="noStrike" kern="0" cap="none" spc="0" normalizeH="0" baseline="0" noProof="0" dirty="0">
                    <a:ln>
                      <a:noFill/>
                    </a:ln>
                    <a:gradFill>
                      <a:gsLst>
                        <a:gs pos="1250">
                          <a:schemeClr val="tx2"/>
                        </a:gs>
                        <a:gs pos="100000">
                          <a:schemeClr val="tx2"/>
                        </a:gs>
                      </a:gsLst>
                    </a:gradFill>
                    <a:effectLst/>
                    <a:uLnTx/>
                    <a:uFillTx/>
                    <a:latin typeface="Segoe UI Light"/>
                    <a:ea typeface="MS PGothic" panose="020B0600070205080204" pitchFamily="34" charset="-128"/>
                    <a:cs typeface="Segoe UI Semibold" panose="020B0702040204020203" pitchFamily="34" charset="0"/>
                  </a:rPr>
                </a:br>
                <a:r>
                  <a:rPr lang="en-US" sz="1730" dirty="0">
                    <a:gradFill>
                      <a:gsLst>
                        <a:gs pos="2917">
                          <a:schemeClr val="tx1"/>
                        </a:gs>
                        <a:gs pos="100000">
                          <a:schemeClr val="tx1"/>
                        </a:gs>
                      </a:gsLst>
                      <a:lin ang="5400000" scaled="0"/>
                    </a:gradFill>
                    <a:cs typeface="Segoe UI Semilight" panose="020B0402040204020203" pitchFamily="34" charset="0"/>
                  </a:rPr>
                  <a:t>for 100ms slowdown for ecommerce site</a:t>
                </a:r>
              </a:p>
            </p:txBody>
          </p:sp>
          <p:grpSp>
            <p:nvGrpSpPr>
              <p:cNvPr id="42" name="Group 41"/>
              <p:cNvGrpSpPr/>
              <p:nvPr/>
            </p:nvGrpSpPr>
            <p:grpSpPr>
              <a:xfrm>
                <a:off x="9173698" y="1728909"/>
                <a:ext cx="1573398" cy="1573398"/>
                <a:chOff x="5435105" y="499556"/>
                <a:chExt cx="1573398" cy="1573398"/>
              </a:xfrm>
            </p:grpSpPr>
            <p:sp>
              <p:nvSpPr>
                <p:cNvPr id="43" name="Oval 42"/>
                <p:cNvSpPr/>
                <p:nvPr/>
              </p:nvSpPr>
              <p:spPr bwMode="auto">
                <a:xfrm>
                  <a:off x="5435105" y="499556"/>
                  <a:ext cx="1573398" cy="1573398"/>
                </a:xfrm>
                <a:prstGeom prst="ellipse">
                  <a:avLst/>
                </a:prstGeom>
                <a:solidFill>
                  <a:schemeClr val="accent1"/>
                </a:solidFill>
                <a:ln w="38100" cap="flat" cmpd="sng" algn="ctr">
                  <a:solidFill>
                    <a:schemeClr val="accent4">
                      <a:lumMod val="20000"/>
                      <a:lumOff val="80000"/>
                    </a:schemeClr>
                  </a:solid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094"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nvGrpSpPr>
                <p:cNvPr id="44" name="Group 13"/>
                <p:cNvGrpSpPr>
                  <a:grpSpLocks noChangeAspect="1"/>
                </p:cNvGrpSpPr>
                <p:nvPr/>
              </p:nvGrpSpPr>
              <p:grpSpPr bwMode="auto">
                <a:xfrm>
                  <a:off x="5880209" y="824179"/>
                  <a:ext cx="683190" cy="780962"/>
                  <a:chOff x="3634" y="1128"/>
                  <a:chExt cx="566" cy="647"/>
                </a:xfrm>
                <a:solidFill>
                  <a:schemeClr val="bg1"/>
                </a:solidFill>
              </p:grpSpPr>
              <p:sp>
                <p:nvSpPr>
                  <p:cNvPr id="47" name="Freeform 14"/>
                  <p:cNvSpPr>
                    <a:spLocks noEditPoints="1"/>
                  </p:cNvSpPr>
                  <p:nvPr/>
                </p:nvSpPr>
                <p:spPr bwMode="auto">
                  <a:xfrm>
                    <a:off x="3634" y="1128"/>
                    <a:ext cx="566" cy="647"/>
                  </a:xfrm>
                  <a:custGeom>
                    <a:avLst/>
                    <a:gdLst>
                      <a:gd name="T0" fmla="*/ 60 w 112"/>
                      <a:gd name="T1" fmla="*/ 16 h 128"/>
                      <a:gd name="T2" fmla="*/ 60 w 112"/>
                      <a:gd name="T3" fmla="*/ 8 h 128"/>
                      <a:gd name="T4" fmla="*/ 68 w 112"/>
                      <a:gd name="T5" fmla="*/ 8 h 128"/>
                      <a:gd name="T6" fmla="*/ 68 w 112"/>
                      <a:gd name="T7" fmla="*/ 0 h 128"/>
                      <a:gd name="T8" fmla="*/ 44 w 112"/>
                      <a:gd name="T9" fmla="*/ 0 h 128"/>
                      <a:gd name="T10" fmla="*/ 44 w 112"/>
                      <a:gd name="T11" fmla="*/ 8 h 128"/>
                      <a:gd name="T12" fmla="*/ 52 w 112"/>
                      <a:gd name="T13" fmla="*/ 8 h 128"/>
                      <a:gd name="T14" fmla="*/ 52 w 112"/>
                      <a:gd name="T15" fmla="*/ 16 h 128"/>
                      <a:gd name="T16" fmla="*/ 0 w 112"/>
                      <a:gd name="T17" fmla="*/ 72 h 128"/>
                      <a:gd name="T18" fmla="*/ 56 w 112"/>
                      <a:gd name="T19" fmla="*/ 128 h 128"/>
                      <a:gd name="T20" fmla="*/ 112 w 112"/>
                      <a:gd name="T21" fmla="*/ 72 h 128"/>
                      <a:gd name="T22" fmla="*/ 60 w 112"/>
                      <a:gd name="T23" fmla="*/ 16 h 128"/>
                      <a:gd name="T24" fmla="*/ 56 w 112"/>
                      <a:gd name="T25" fmla="*/ 120 h 128"/>
                      <a:gd name="T26" fmla="*/ 8 w 112"/>
                      <a:gd name="T27" fmla="*/ 72 h 128"/>
                      <a:gd name="T28" fmla="*/ 56 w 112"/>
                      <a:gd name="T29" fmla="*/ 24 h 128"/>
                      <a:gd name="T30" fmla="*/ 104 w 112"/>
                      <a:gd name="T31" fmla="*/ 72 h 128"/>
                      <a:gd name="T32" fmla="*/ 56 w 112"/>
                      <a:gd name="T33"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2" h="128">
                        <a:moveTo>
                          <a:pt x="60" y="16"/>
                        </a:moveTo>
                        <a:cubicBezTo>
                          <a:pt x="60" y="8"/>
                          <a:pt x="60" y="8"/>
                          <a:pt x="60" y="8"/>
                        </a:cubicBezTo>
                        <a:cubicBezTo>
                          <a:pt x="68" y="8"/>
                          <a:pt x="68" y="8"/>
                          <a:pt x="68" y="8"/>
                        </a:cubicBezTo>
                        <a:cubicBezTo>
                          <a:pt x="68" y="0"/>
                          <a:pt x="68" y="0"/>
                          <a:pt x="68" y="0"/>
                        </a:cubicBezTo>
                        <a:cubicBezTo>
                          <a:pt x="44" y="0"/>
                          <a:pt x="44" y="0"/>
                          <a:pt x="44" y="0"/>
                        </a:cubicBezTo>
                        <a:cubicBezTo>
                          <a:pt x="44" y="8"/>
                          <a:pt x="44" y="8"/>
                          <a:pt x="44" y="8"/>
                        </a:cubicBezTo>
                        <a:cubicBezTo>
                          <a:pt x="52" y="8"/>
                          <a:pt x="52" y="8"/>
                          <a:pt x="52" y="8"/>
                        </a:cubicBezTo>
                        <a:cubicBezTo>
                          <a:pt x="52" y="16"/>
                          <a:pt x="52" y="16"/>
                          <a:pt x="52" y="16"/>
                        </a:cubicBezTo>
                        <a:cubicBezTo>
                          <a:pt x="23" y="18"/>
                          <a:pt x="0" y="42"/>
                          <a:pt x="0" y="72"/>
                        </a:cubicBezTo>
                        <a:cubicBezTo>
                          <a:pt x="0" y="103"/>
                          <a:pt x="25" y="128"/>
                          <a:pt x="56" y="128"/>
                        </a:cubicBezTo>
                        <a:cubicBezTo>
                          <a:pt x="87" y="128"/>
                          <a:pt x="112" y="103"/>
                          <a:pt x="112" y="72"/>
                        </a:cubicBezTo>
                        <a:cubicBezTo>
                          <a:pt x="112" y="42"/>
                          <a:pt x="89" y="18"/>
                          <a:pt x="60" y="16"/>
                        </a:cubicBezTo>
                        <a:moveTo>
                          <a:pt x="56" y="120"/>
                        </a:moveTo>
                        <a:cubicBezTo>
                          <a:pt x="30" y="120"/>
                          <a:pt x="8" y="98"/>
                          <a:pt x="8" y="72"/>
                        </a:cubicBezTo>
                        <a:cubicBezTo>
                          <a:pt x="8" y="46"/>
                          <a:pt x="30" y="24"/>
                          <a:pt x="56" y="24"/>
                        </a:cubicBezTo>
                        <a:cubicBezTo>
                          <a:pt x="82" y="24"/>
                          <a:pt x="104" y="46"/>
                          <a:pt x="104" y="72"/>
                        </a:cubicBezTo>
                        <a:cubicBezTo>
                          <a:pt x="104" y="98"/>
                          <a:pt x="82" y="120"/>
                          <a:pt x="56" y="120"/>
                        </a:cubicBezTo>
                      </a:path>
                    </a:pathLst>
                  </a:custGeom>
                  <a:solidFill>
                    <a:schemeClr val="tx1"/>
                  </a:solidFill>
                  <a:ln w="9525">
                    <a:solidFill>
                      <a:schemeClr val="accent4">
                        <a:lumMod val="20000"/>
                        <a:lumOff val="80000"/>
                      </a:schemeClr>
                    </a:solidFill>
                    <a:round/>
                    <a:headEnd/>
                    <a:tailEnd/>
                  </a:ln>
                </p:spPr>
                <p:txBody>
                  <a:bodyPr vert="horz" wrap="square" lIns="89642" tIns="44821" rIns="89642" bIns="44821"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endParaRPr lang="en-US" sz="1730" dirty="0"/>
                  </a:p>
                </p:txBody>
              </p:sp>
              <p:sp>
                <p:nvSpPr>
                  <p:cNvPr id="48" name="Freeform 15"/>
                  <p:cNvSpPr>
                    <a:spLocks/>
                  </p:cNvSpPr>
                  <p:nvPr/>
                </p:nvSpPr>
                <p:spPr bwMode="auto">
                  <a:xfrm>
                    <a:off x="3897" y="1330"/>
                    <a:ext cx="136" cy="278"/>
                  </a:xfrm>
                  <a:custGeom>
                    <a:avLst/>
                    <a:gdLst>
                      <a:gd name="T0" fmla="*/ 40 w 136"/>
                      <a:gd name="T1" fmla="*/ 0 h 278"/>
                      <a:gd name="T2" fmla="*/ 0 w 136"/>
                      <a:gd name="T3" fmla="*/ 0 h 278"/>
                      <a:gd name="T4" fmla="*/ 0 w 136"/>
                      <a:gd name="T5" fmla="*/ 172 h 278"/>
                      <a:gd name="T6" fmla="*/ 106 w 136"/>
                      <a:gd name="T7" fmla="*/ 278 h 278"/>
                      <a:gd name="T8" fmla="*/ 136 w 136"/>
                      <a:gd name="T9" fmla="*/ 248 h 278"/>
                      <a:gd name="T10" fmla="*/ 40 w 136"/>
                      <a:gd name="T11" fmla="*/ 152 h 278"/>
                      <a:gd name="T12" fmla="*/ 40 w 136"/>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136" h="278">
                        <a:moveTo>
                          <a:pt x="40" y="0"/>
                        </a:moveTo>
                        <a:lnTo>
                          <a:pt x="0" y="0"/>
                        </a:lnTo>
                        <a:lnTo>
                          <a:pt x="0" y="172"/>
                        </a:lnTo>
                        <a:lnTo>
                          <a:pt x="106" y="278"/>
                        </a:lnTo>
                        <a:lnTo>
                          <a:pt x="136" y="248"/>
                        </a:lnTo>
                        <a:lnTo>
                          <a:pt x="40" y="152"/>
                        </a:lnTo>
                        <a:lnTo>
                          <a:pt x="40" y="0"/>
                        </a:lnTo>
                        <a:close/>
                      </a:path>
                    </a:pathLst>
                  </a:custGeom>
                  <a:solidFill>
                    <a:schemeClr val="tx1"/>
                  </a:solidFill>
                  <a:ln w="9525">
                    <a:solidFill>
                      <a:schemeClr val="accent4">
                        <a:lumMod val="20000"/>
                        <a:lumOff val="80000"/>
                      </a:schemeClr>
                    </a:solidFill>
                    <a:round/>
                    <a:headEnd/>
                    <a:tailEnd/>
                  </a:ln>
                </p:spPr>
                <p:txBody>
                  <a:bodyPr vert="horz" wrap="square" lIns="89642" tIns="44821" rIns="89642" bIns="44821"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endParaRPr lang="en-US" sz="1730"/>
                  </a:p>
                </p:txBody>
              </p:sp>
            </p:grpSp>
          </p:grpSp>
        </p:grpSp>
      </p:grpSp>
      <p:sp>
        <p:nvSpPr>
          <p:cNvPr id="7" name="Rectangle 6">
            <a:extLst>
              <a:ext uri="{FF2B5EF4-FFF2-40B4-BE49-F238E27FC236}">
                <a16:creationId xmlns:a16="http://schemas.microsoft.com/office/drawing/2014/main" id="{383EE97D-CBB8-49F9-9311-D1A6D6412273}"/>
              </a:ext>
            </a:extLst>
          </p:cNvPr>
          <p:cNvSpPr/>
          <p:nvPr/>
        </p:nvSpPr>
        <p:spPr>
          <a:xfrm>
            <a:off x="608015" y="4179258"/>
            <a:ext cx="5562688" cy="2534501"/>
          </a:xfrm>
          <a:prstGeom prst="rect">
            <a:avLst/>
          </a:prstGeom>
          <a:ln>
            <a:solidFill>
              <a:schemeClr val="accent4">
                <a:lumMod val="40000"/>
                <a:lumOff val="60000"/>
              </a:schemeClr>
            </a:solidFill>
          </a:ln>
        </p:spPr>
        <p:txBody>
          <a:bodyPr wrap="square">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sz="1730" b="1" dirty="0">
                <a:gradFill>
                  <a:gsLst>
                    <a:gs pos="1250">
                      <a:schemeClr val="tx1"/>
                    </a:gs>
                    <a:gs pos="100000">
                      <a:schemeClr val="tx1"/>
                    </a:gs>
                  </a:gsLst>
                  <a:lin ang="5400000" scaled="0"/>
                </a:gradFill>
              </a:rPr>
              <a:t>Google</a:t>
            </a:r>
          </a:p>
          <a:p>
            <a:r>
              <a:rPr lang="en-US" sz="1730" dirty="0" err="1">
                <a:gradFill>
                  <a:gsLst>
                    <a:gs pos="1250">
                      <a:schemeClr val="tx1"/>
                    </a:gs>
                    <a:gs pos="100000">
                      <a:schemeClr val="tx1"/>
                    </a:gs>
                  </a:gsLst>
                  <a:lin ang="5400000" scaled="0"/>
                </a:gradFill>
              </a:rPr>
              <a:t>Add’l</a:t>
            </a:r>
            <a:r>
              <a:rPr lang="en-US" sz="1730" dirty="0">
                <a:gradFill>
                  <a:gsLst>
                    <a:gs pos="1250">
                      <a:schemeClr val="tx1"/>
                    </a:gs>
                    <a:gs pos="100000">
                      <a:schemeClr val="tx1"/>
                    </a:gs>
                  </a:gsLst>
                  <a:lin ang="5400000" scaled="0"/>
                </a:gradFill>
              </a:rPr>
              <a:t> page load of 500 </a:t>
            </a:r>
            <a:r>
              <a:rPr lang="en-US" sz="1730" dirty="0" err="1">
                <a:gradFill>
                  <a:gsLst>
                    <a:gs pos="1250">
                      <a:schemeClr val="tx1"/>
                    </a:gs>
                    <a:gs pos="100000">
                      <a:schemeClr val="tx1"/>
                    </a:gs>
                  </a:gsLst>
                  <a:lin ang="5400000" scaled="0"/>
                </a:gradFill>
              </a:rPr>
              <a:t>ms</a:t>
            </a:r>
            <a:r>
              <a:rPr lang="en-US" sz="1730" dirty="0">
                <a:gradFill>
                  <a:gsLst>
                    <a:gs pos="1250">
                      <a:schemeClr val="tx1"/>
                    </a:gs>
                    <a:gs pos="100000">
                      <a:schemeClr val="tx1"/>
                    </a:gs>
                  </a:gsLst>
                  <a:lin ang="5400000" scaled="0"/>
                </a:gradFill>
              </a:rPr>
              <a:t> = 20% impact on ad rev</a:t>
            </a:r>
          </a:p>
          <a:p>
            <a:endParaRPr lang="en-US" sz="1730" dirty="0">
              <a:gradFill>
                <a:gsLst>
                  <a:gs pos="1250">
                    <a:schemeClr val="tx1"/>
                  </a:gs>
                  <a:gs pos="100000">
                    <a:schemeClr val="tx1"/>
                  </a:gs>
                </a:gsLst>
                <a:lin ang="5400000" scaled="0"/>
              </a:gradFill>
            </a:endParaRPr>
          </a:p>
          <a:p>
            <a:r>
              <a:rPr lang="en-US" sz="1730" b="1" dirty="0">
                <a:gradFill>
                  <a:gsLst>
                    <a:gs pos="1250">
                      <a:schemeClr val="tx1"/>
                    </a:gs>
                    <a:gs pos="100000">
                      <a:schemeClr val="tx1"/>
                    </a:gs>
                  </a:gsLst>
                  <a:lin ang="5400000" scaled="0"/>
                </a:gradFill>
              </a:rPr>
              <a:t>Microsoft Bing</a:t>
            </a:r>
          </a:p>
          <a:p>
            <a:r>
              <a:rPr lang="en-US" sz="1730" dirty="0" err="1">
                <a:gradFill>
                  <a:gsLst>
                    <a:gs pos="1250">
                      <a:schemeClr val="tx1"/>
                    </a:gs>
                    <a:gs pos="100000">
                      <a:schemeClr val="tx1"/>
                    </a:gs>
                  </a:gsLst>
                  <a:lin ang="5400000" scaled="0"/>
                </a:gradFill>
              </a:rPr>
              <a:t>Add’l</a:t>
            </a:r>
            <a:r>
              <a:rPr lang="en-US" sz="1730" dirty="0">
                <a:gradFill>
                  <a:gsLst>
                    <a:gs pos="1250">
                      <a:schemeClr val="tx1"/>
                    </a:gs>
                    <a:gs pos="100000">
                      <a:schemeClr val="tx1"/>
                    </a:gs>
                  </a:gsLst>
                  <a:lin ang="5400000" scaled="0"/>
                </a:gradFill>
              </a:rPr>
              <a:t> page load of 2 sec = Reduction of 2.5% of clicks/requests</a:t>
            </a:r>
          </a:p>
          <a:p>
            <a:endParaRPr lang="en-US" sz="1730" dirty="0">
              <a:gradFill>
                <a:gsLst>
                  <a:gs pos="1250">
                    <a:schemeClr val="tx1"/>
                  </a:gs>
                  <a:gs pos="100000">
                    <a:schemeClr val="tx1"/>
                  </a:gs>
                </a:gsLst>
                <a:lin ang="5400000" scaled="0"/>
              </a:gradFill>
            </a:endParaRPr>
          </a:p>
          <a:p>
            <a:r>
              <a:rPr lang="en-US" sz="1730" b="1" dirty="0">
                <a:gradFill>
                  <a:gsLst>
                    <a:gs pos="1250">
                      <a:schemeClr val="tx1"/>
                    </a:gs>
                    <a:gs pos="100000">
                      <a:schemeClr val="tx1"/>
                    </a:gs>
                  </a:gsLst>
                  <a:lin ang="5400000" scaled="0"/>
                </a:gradFill>
              </a:rPr>
              <a:t>Amazon</a:t>
            </a:r>
          </a:p>
          <a:p>
            <a:r>
              <a:rPr lang="en-US" sz="1730" dirty="0" err="1">
                <a:gradFill>
                  <a:gsLst>
                    <a:gs pos="1250">
                      <a:schemeClr val="tx1"/>
                    </a:gs>
                    <a:gs pos="100000">
                      <a:schemeClr val="tx1"/>
                    </a:gs>
                  </a:gsLst>
                  <a:lin ang="5400000" scaled="0"/>
                </a:gradFill>
              </a:rPr>
              <a:t>Add’l</a:t>
            </a:r>
            <a:r>
              <a:rPr lang="en-US" sz="1730" dirty="0">
                <a:gradFill>
                  <a:gsLst>
                    <a:gs pos="1250">
                      <a:schemeClr val="tx1"/>
                    </a:gs>
                    <a:gs pos="100000">
                      <a:schemeClr val="tx1"/>
                    </a:gs>
                  </a:gsLst>
                  <a:lin ang="5400000" scaled="0"/>
                </a:gradFill>
              </a:rPr>
              <a:t> page load of 100ms = 1% impact on revenue</a:t>
            </a:r>
          </a:p>
        </p:txBody>
      </p:sp>
      <p:sp>
        <p:nvSpPr>
          <p:cNvPr id="27" name="Rectangle 26">
            <a:extLst>
              <a:ext uri="{FF2B5EF4-FFF2-40B4-BE49-F238E27FC236}">
                <a16:creationId xmlns:a16="http://schemas.microsoft.com/office/drawing/2014/main" id="{A6B66087-57A7-4ABE-9045-06CE4E530EC6}"/>
              </a:ext>
            </a:extLst>
          </p:cNvPr>
          <p:cNvSpPr/>
          <p:nvPr/>
        </p:nvSpPr>
        <p:spPr>
          <a:xfrm>
            <a:off x="6544212" y="4176021"/>
            <a:ext cx="5453251" cy="1689693"/>
          </a:xfrm>
          <a:prstGeom prst="rect">
            <a:avLst/>
          </a:prstGeom>
          <a:ln>
            <a:solidFill>
              <a:schemeClr val="accent4">
                <a:lumMod val="40000"/>
                <a:lumOff val="60000"/>
              </a:schemeClr>
            </a:solidFill>
          </a:ln>
        </p:spPr>
        <p:txBody>
          <a:bodyPr wrap="square">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sz="1730" b="1" dirty="0">
                <a:gradFill>
                  <a:gsLst>
                    <a:gs pos="1250">
                      <a:schemeClr val="tx1"/>
                    </a:gs>
                    <a:gs pos="100000">
                      <a:schemeClr val="tx1"/>
                    </a:gs>
                  </a:gsLst>
                  <a:lin ang="5400000" scaled="0"/>
                </a:gradFill>
              </a:rPr>
              <a:t>Yahoo</a:t>
            </a:r>
          </a:p>
          <a:p>
            <a:r>
              <a:rPr lang="en-US" sz="1730" dirty="0">
                <a:gradFill>
                  <a:gsLst>
                    <a:gs pos="1250">
                      <a:schemeClr val="tx1"/>
                    </a:gs>
                    <a:gs pos="100000">
                      <a:schemeClr val="tx1"/>
                    </a:gs>
                  </a:gsLst>
                  <a:lin ang="5400000" scaled="0"/>
                </a:gradFill>
              </a:rPr>
              <a:t>Improvement of 400 </a:t>
            </a:r>
            <a:r>
              <a:rPr lang="en-US" sz="1730" dirty="0" err="1">
                <a:gradFill>
                  <a:gsLst>
                    <a:gs pos="1250">
                      <a:schemeClr val="tx1"/>
                    </a:gs>
                    <a:gs pos="100000">
                      <a:schemeClr val="tx1"/>
                    </a:gs>
                  </a:gsLst>
                  <a:lin ang="5400000" scaled="0"/>
                </a:gradFill>
              </a:rPr>
              <a:t>ms</a:t>
            </a:r>
            <a:r>
              <a:rPr lang="en-US" sz="1730" dirty="0">
                <a:gradFill>
                  <a:gsLst>
                    <a:gs pos="1250">
                      <a:schemeClr val="tx1"/>
                    </a:gs>
                    <a:gs pos="100000">
                      <a:schemeClr val="tx1"/>
                    </a:gs>
                  </a:gsLst>
                  <a:lin ang="5400000" scaled="0"/>
                </a:gradFill>
              </a:rPr>
              <a:t> page load = 9% traffic increase</a:t>
            </a:r>
          </a:p>
          <a:p>
            <a:endParaRPr lang="en-US" sz="1730" dirty="0">
              <a:gradFill>
                <a:gsLst>
                  <a:gs pos="1250">
                    <a:schemeClr val="tx1"/>
                  </a:gs>
                  <a:gs pos="100000">
                    <a:schemeClr val="tx1"/>
                  </a:gs>
                </a:gsLst>
                <a:lin ang="5400000" scaled="0"/>
              </a:gradFill>
            </a:endParaRPr>
          </a:p>
          <a:p>
            <a:r>
              <a:rPr lang="en-US" sz="1730" b="1" dirty="0">
                <a:gradFill>
                  <a:gsLst>
                    <a:gs pos="1250">
                      <a:schemeClr val="tx1"/>
                    </a:gs>
                    <a:gs pos="100000">
                      <a:schemeClr val="tx1"/>
                    </a:gs>
                  </a:gsLst>
                  <a:lin ang="5400000" scaled="0"/>
                </a:gradFill>
              </a:rPr>
              <a:t>Mozilla</a:t>
            </a:r>
          </a:p>
          <a:p>
            <a:r>
              <a:rPr lang="en-US" sz="1730" dirty="0">
                <a:gradFill>
                  <a:gsLst>
                    <a:gs pos="1250">
                      <a:schemeClr val="tx1"/>
                    </a:gs>
                    <a:gs pos="100000">
                      <a:schemeClr val="tx1"/>
                    </a:gs>
                  </a:gsLst>
                  <a:lin ang="5400000" scaled="0"/>
                </a:gradFill>
              </a:rPr>
              <a:t>2.2 seconds less of download time for Firefox = 60 millions additional downloads!</a:t>
            </a:r>
            <a:endParaRPr lang="en-US" sz="1730" dirty="0"/>
          </a:p>
        </p:txBody>
      </p:sp>
    </p:spTree>
    <p:extLst>
      <p:ext uri="{BB962C8B-B14F-4D97-AF65-F5344CB8AC3E}">
        <p14:creationId xmlns:p14="http://schemas.microsoft.com/office/powerpoint/2010/main" val="175093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Object 49"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3073" name="think-cell Slide" r:id="rId5" imgW="270" imgH="270" progId="TCLayout.ActiveDocument.1">
                  <p:embed/>
                </p:oleObj>
              </mc:Choice>
              <mc:Fallback>
                <p:oleObj name="think-cell Slide" r:id="rId5" imgW="270" imgH="270" progId="TCLayout.ActiveDocument.1">
                  <p:embed/>
                  <p:pic>
                    <p:nvPicPr>
                      <p:cNvPr id="50" name="Object 49" hidden="1"/>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4" name="Title 3"/>
          <p:cNvSpPr>
            <a:spLocks noGrp="1"/>
          </p:cNvSpPr>
          <p:nvPr>
            <p:ph type="title"/>
          </p:nvPr>
        </p:nvSpPr>
        <p:spPr>
          <a:xfrm>
            <a:off x="460938" y="148012"/>
            <a:ext cx="10515600" cy="1325563"/>
          </a:xfrm>
        </p:spPr>
        <p:txBody>
          <a:bodyPr>
            <a:norm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sz="3200" dirty="0"/>
              <a:t>CDN accelerates any web content</a:t>
            </a:r>
          </a:p>
        </p:txBody>
      </p:sp>
      <p:sp>
        <p:nvSpPr>
          <p:cNvPr id="3" name="Slide Number Placeholder 2"/>
          <p:cNvSpPr>
            <a:spLocks noGrp="1"/>
          </p:cNvSpPr>
          <p:nvPr>
            <p:ph type="sldNum" sz="quarter" idx="4294967295"/>
          </p:nvPr>
        </p:nvSpPr>
        <p:spPr>
          <a:xfrm>
            <a:off x="11636405" y="6437316"/>
            <a:ext cx="555596" cy="133841"/>
          </a:xfrm>
          <a:prstGeom prst="rect">
            <a:avLst/>
          </a:prstGeom>
        </p:spPr>
        <p:txBody>
          <a:bodyPr/>
          <a:lstStyle>
            <a:defPPr>
              <a:defRPr lang="en-US"/>
            </a:defPPr>
            <a:lvl1pPr marL="0" algn="l" defTabSz="896354" rtl="0" eaLnBrk="1" latinLnBrk="0" hangingPunct="1">
              <a:defRPr sz="1730" kern="1200">
                <a:solidFill>
                  <a:schemeClr val="tx1"/>
                </a:solidFill>
                <a:latin typeface="+mn-lt"/>
                <a:ea typeface="+mn-ea"/>
                <a:cs typeface="+mn-cs"/>
              </a:defRPr>
            </a:lvl1pPr>
            <a:lvl2pPr marL="448176" algn="l" defTabSz="896354" rtl="0" eaLnBrk="1" latinLnBrk="0" hangingPunct="1">
              <a:defRPr sz="1730" kern="1200">
                <a:solidFill>
                  <a:schemeClr val="tx1"/>
                </a:solidFill>
                <a:latin typeface="+mn-lt"/>
                <a:ea typeface="+mn-ea"/>
                <a:cs typeface="+mn-cs"/>
              </a:defRPr>
            </a:lvl2pPr>
            <a:lvl3pPr marL="896354" algn="l" defTabSz="896354" rtl="0" eaLnBrk="1" latinLnBrk="0" hangingPunct="1">
              <a:defRPr sz="1730" kern="1200">
                <a:solidFill>
                  <a:schemeClr val="tx1"/>
                </a:solidFill>
                <a:latin typeface="+mn-lt"/>
                <a:ea typeface="+mn-ea"/>
                <a:cs typeface="+mn-cs"/>
              </a:defRPr>
            </a:lvl3pPr>
            <a:lvl4pPr marL="1344530" algn="l" defTabSz="896354" rtl="0" eaLnBrk="1" latinLnBrk="0" hangingPunct="1">
              <a:defRPr sz="1730" kern="1200">
                <a:solidFill>
                  <a:schemeClr val="tx1"/>
                </a:solidFill>
                <a:latin typeface="+mn-lt"/>
                <a:ea typeface="+mn-ea"/>
                <a:cs typeface="+mn-cs"/>
              </a:defRPr>
            </a:lvl4pPr>
            <a:lvl5pPr marL="1792708" algn="l" defTabSz="896354" rtl="0" eaLnBrk="1" latinLnBrk="0" hangingPunct="1">
              <a:defRPr sz="1730" kern="1200">
                <a:solidFill>
                  <a:schemeClr val="tx1"/>
                </a:solidFill>
                <a:latin typeface="+mn-lt"/>
                <a:ea typeface="+mn-ea"/>
                <a:cs typeface="+mn-cs"/>
              </a:defRPr>
            </a:lvl5pPr>
            <a:lvl6pPr marL="2240885" algn="l" defTabSz="896354" rtl="0" eaLnBrk="1" latinLnBrk="0" hangingPunct="1">
              <a:defRPr sz="1730" kern="1200">
                <a:solidFill>
                  <a:schemeClr val="tx1"/>
                </a:solidFill>
                <a:latin typeface="+mn-lt"/>
                <a:ea typeface="+mn-ea"/>
                <a:cs typeface="+mn-cs"/>
              </a:defRPr>
            </a:lvl6pPr>
            <a:lvl7pPr marL="2689062" algn="l" defTabSz="896354" rtl="0" eaLnBrk="1" latinLnBrk="0" hangingPunct="1">
              <a:defRPr sz="1730" kern="1200">
                <a:solidFill>
                  <a:schemeClr val="tx1"/>
                </a:solidFill>
                <a:latin typeface="+mn-lt"/>
                <a:ea typeface="+mn-ea"/>
                <a:cs typeface="+mn-cs"/>
              </a:defRPr>
            </a:lvl7pPr>
            <a:lvl8pPr marL="3137238" algn="l" defTabSz="896354" rtl="0" eaLnBrk="1" latinLnBrk="0" hangingPunct="1">
              <a:defRPr sz="1730" kern="1200">
                <a:solidFill>
                  <a:schemeClr val="tx1"/>
                </a:solidFill>
                <a:latin typeface="+mn-lt"/>
                <a:ea typeface="+mn-ea"/>
                <a:cs typeface="+mn-cs"/>
              </a:defRPr>
            </a:lvl8pPr>
            <a:lvl9pPr marL="3585417" algn="l" defTabSz="896354" rtl="0" eaLnBrk="1" latinLnBrk="0" hangingPunct="1">
              <a:defRPr sz="1730" kern="1200">
                <a:solidFill>
                  <a:schemeClr val="tx1"/>
                </a:solidFill>
                <a:latin typeface="+mn-lt"/>
                <a:ea typeface="+mn-ea"/>
                <a:cs typeface="+mn-cs"/>
              </a:defRPr>
            </a:lvl9pPr>
          </a:lstStyle>
          <a:p>
            <a:fld id="{27258FFF-F925-446B-8502-81C933981705}" type="slidenum">
              <a:rPr lang="en-US" smtClean="0">
                <a:solidFill>
                  <a:schemeClr val="bg1"/>
                </a:solidFill>
              </a:rPr>
              <a:pPr/>
              <a:t>45</a:t>
            </a:fld>
            <a:endParaRPr lang="en-US">
              <a:solidFill>
                <a:schemeClr val="bg1"/>
              </a:solidFill>
            </a:endParaRPr>
          </a:p>
        </p:txBody>
      </p:sp>
      <p:sp>
        <p:nvSpPr>
          <p:cNvPr id="7" name="Freeform 6"/>
          <p:cNvSpPr>
            <a:spLocks/>
          </p:cNvSpPr>
          <p:nvPr/>
        </p:nvSpPr>
        <p:spPr bwMode="auto">
          <a:xfrm>
            <a:off x="8238287" y="2897460"/>
            <a:ext cx="1491558" cy="982106"/>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tx1">
              <a:lumMod val="20000"/>
              <a:lumOff val="80000"/>
            </a:schemeClr>
          </a:solidFill>
          <a:ln>
            <a:noFill/>
          </a:ln>
          <a:extLst/>
        </p:spPr>
        <p:txBody>
          <a:bodyPr vert="horz" wrap="square" lIns="89642" tIns="44821" rIns="89642" bIns="44821"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endParaRPr lang="en-US" sz="1730">
              <a:solidFill>
                <a:prstClr val="black"/>
              </a:solidFill>
            </a:endParaRPr>
          </a:p>
        </p:txBody>
      </p:sp>
      <p:grpSp>
        <p:nvGrpSpPr>
          <p:cNvPr id="8" name="Group 7"/>
          <p:cNvGrpSpPr/>
          <p:nvPr/>
        </p:nvGrpSpPr>
        <p:grpSpPr>
          <a:xfrm>
            <a:off x="8785246" y="487"/>
            <a:ext cx="3485398" cy="3719302"/>
            <a:chOff x="9534472" y="638628"/>
            <a:chExt cx="2956823" cy="3155254"/>
          </a:xfrm>
          <a:solidFill>
            <a:schemeClr val="tx1">
              <a:lumMod val="20000"/>
              <a:lumOff val="80000"/>
            </a:schemeClr>
          </a:solidFill>
        </p:grpSpPr>
        <p:sp>
          <p:nvSpPr>
            <p:cNvPr id="9" name="Freeform 8"/>
            <p:cNvSpPr/>
            <p:nvPr/>
          </p:nvSpPr>
          <p:spPr bwMode="auto">
            <a:xfrm flipV="1">
              <a:off x="9534472" y="638628"/>
              <a:ext cx="2956823" cy="3155254"/>
            </a:xfrm>
            <a:custGeom>
              <a:avLst/>
              <a:gdLst>
                <a:gd name="connsiteX0" fmla="*/ 0 w 2975675"/>
                <a:gd name="connsiteY0" fmla="*/ 0 h 2247254"/>
                <a:gd name="connsiteX1" fmla="*/ 1441343 w 2975675"/>
                <a:gd name="connsiteY1" fmla="*/ 2247254 h 2247254"/>
                <a:gd name="connsiteX2" fmla="*/ 2975675 w 2975675"/>
                <a:gd name="connsiteY2" fmla="*/ 2247254 h 2247254"/>
                <a:gd name="connsiteX3" fmla="*/ 0 w 2975675"/>
                <a:gd name="connsiteY3" fmla="*/ 0 h 2247254"/>
                <a:gd name="connsiteX0" fmla="*/ 0 w 2975675"/>
                <a:gd name="connsiteY0" fmla="*/ 0 h 2247254"/>
                <a:gd name="connsiteX1" fmla="*/ 1441343 w 2975675"/>
                <a:gd name="connsiteY1" fmla="*/ 2247254 h 2247254"/>
                <a:gd name="connsiteX2" fmla="*/ 2975675 w 2975675"/>
                <a:gd name="connsiteY2" fmla="*/ 2247254 h 2247254"/>
                <a:gd name="connsiteX3" fmla="*/ 0 w 2975675"/>
                <a:gd name="connsiteY3" fmla="*/ 0 h 2247254"/>
                <a:gd name="connsiteX0" fmla="*/ 492515 w 3468190"/>
                <a:gd name="connsiteY0" fmla="*/ 0 h 2247254"/>
                <a:gd name="connsiteX1" fmla="*/ 1933858 w 3468190"/>
                <a:gd name="connsiteY1" fmla="*/ 2247254 h 2247254"/>
                <a:gd name="connsiteX2" fmla="*/ 3468190 w 3468190"/>
                <a:gd name="connsiteY2" fmla="*/ 2247254 h 2247254"/>
                <a:gd name="connsiteX3" fmla="*/ 492515 w 3468190"/>
                <a:gd name="connsiteY3" fmla="*/ 0 h 2247254"/>
                <a:gd name="connsiteX0" fmla="*/ 466538 w 3442213"/>
                <a:gd name="connsiteY0" fmla="*/ 0 h 2247254"/>
                <a:gd name="connsiteX1" fmla="*/ 1907881 w 3442213"/>
                <a:gd name="connsiteY1" fmla="*/ 2247254 h 2247254"/>
                <a:gd name="connsiteX2" fmla="*/ 3442213 w 3442213"/>
                <a:gd name="connsiteY2" fmla="*/ 2247254 h 2247254"/>
                <a:gd name="connsiteX3" fmla="*/ 466538 w 3442213"/>
                <a:gd name="connsiteY3" fmla="*/ 0 h 2247254"/>
                <a:gd name="connsiteX0" fmla="*/ 466538 w 3442213"/>
                <a:gd name="connsiteY0" fmla="*/ 0 h 2247254"/>
                <a:gd name="connsiteX1" fmla="*/ 1907881 w 3442213"/>
                <a:gd name="connsiteY1" fmla="*/ 2247254 h 2247254"/>
                <a:gd name="connsiteX2" fmla="*/ 3442213 w 3442213"/>
                <a:gd name="connsiteY2" fmla="*/ 2247254 h 2247254"/>
                <a:gd name="connsiteX3" fmla="*/ 466538 w 3442213"/>
                <a:gd name="connsiteY3" fmla="*/ 0 h 2247254"/>
                <a:gd name="connsiteX0" fmla="*/ 466538 w 3442213"/>
                <a:gd name="connsiteY0" fmla="*/ 0 h 2247254"/>
                <a:gd name="connsiteX1" fmla="*/ 1907881 w 3442213"/>
                <a:gd name="connsiteY1" fmla="*/ 2247254 h 2247254"/>
                <a:gd name="connsiteX2" fmla="*/ 3442213 w 3442213"/>
                <a:gd name="connsiteY2" fmla="*/ 2247254 h 2247254"/>
                <a:gd name="connsiteX3" fmla="*/ 466538 w 3442213"/>
                <a:gd name="connsiteY3" fmla="*/ 0 h 2247254"/>
                <a:gd name="connsiteX0" fmla="*/ 449805 w 3425480"/>
                <a:gd name="connsiteY0" fmla="*/ 0 h 2247254"/>
                <a:gd name="connsiteX1" fmla="*/ 1891148 w 3425480"/>
                <a:gd name="connsiteY1" fmla="*/ 2247254 h 2247254"/>
                <a:gd name="connsiteX2" fmla="*/ 3425480 w 3425480"/>
                <a:gd name="connsiteY2" fmla="*/ 2247254 h 2247254"/>
                <a:gd name="connsiteX3" fmla="*/ 449805 w 3425480"/>
                <a:gd name="connsiteY3" fmla="*/ 0 h 2247254"/>
                <a:gd name="connsiteX0" fmla="*/ 713333 w 3689008"/>
                <a:gd name="connsiteY0" fmla="*/ 0 h 2247254"/>
                <a:gd name="connsiteX1" fmla="*/ 1506976 w 3689008"/>
                <a:gd name="connsiteY1" fmla="*/ 2234554 h 2247254"/>
                <a:gd name="connsiteX2" fmla="*/ 3689008 w 3689008"/>
                <a:gd name="connsiteY2" fmla="*/ 2247254 h 2247254"/>
                <a:gd name="connsiteX3" fmla="*/ 713333 w 3689008"/>
                <a:gd name="connsiteY3" fmla="*/ 0 h 2247254"/>
                <a:gd name="connsiteX0" fmla="*/ 413689 w 3389364"/>
                <a:gd name="connsiteY0" fmla="*/ 0 h 2247254"/>
                <a:gd name="connsiteX1" fmla="*/ 1207332 w 3389364"/>
                <a:gd name="connsiteY1" fmla="*/ 2234554 h 2247254"/>
                <a:gd name="connsiteX2" fmla="*/ 3389364 w 3389364"/>
                <a:gd name="connsiteY2" fmla="*/ 2247254 h 2247254"/>
                <a:gd name="connsiteX3" fmla="*/ 413689 w 3389364"/>
                <a:gd name="connsiteY3" fmla="*/ 0 h 2247254"/>
                <a:gd name="connsiteX0" fmla="*/ 413689 w 3389364"/>
                <a:gd name="connsiteY0" fmla="*/ 0 h 1993254"/>
                <a:gd name="connsiteX1" fmla="*/ 1207332 w 3389364"/>
                <a:gd name="connsiteY1" fmla="*/ 1980554 h 1993254"/>
                <a:gd name="connsiteX2" fmla="*/ 3389364 w 3389364"/>
                <a:gd name="connsiteY2" fmla="*/ 1993254 h 1993254"/>
                <a:gd name="connsiteX3" fmla="*/ 413689 w 3389364"/>
                <a:gd name="connsiteY3" fmla="*/ 0 h 1993254"/>
                <a:gd name="connsiteX0" fmla="*/ 471792 w 3447467"/>
                <a:gd name="connsiteY0" fmla="*/ 0 h 1993254"/>
                <a:gd name="connsiteX1" fmla="*/ 1100335 w 3447467"/>
                <a:gd name="connsiteY1" fmla="*/ 1993254 h 1993254"/>
                <a:gd name="connsiteX2" fmla="*/ 3447467 w 3447467"/>
                <a:gd name="connsiteY2" fmla="*/ 1993254 h 1993254"/>
                <a:gd name="connsiteX3" fmla="*/ 471792 w 3447467"/>
                <a:gd name="connsiteY3" fmla="*/ 0 h 1993254"/>
                <a:gd name="connsiteX0" fmla="*/ 345722 w 3321397"/>
                <a:gd name="connsiteY0" fmla="*/ 0 h 1993254"/>
                <a:gd name="connsiteX1" fmla="*/ 974265 w 3321397"/>
                <a:gd name="connsiteY1" fmla="*/ 1993254 h 1993254"/>
                <a:gd name="connsiteX2" fmla="*/ 3321397 w 3321397"/>
                <a:gd name="connsiteY2" fmla="*/ 1993254 h 1993254"/>
                <a:gd name="connsiteX3" fmla="*/ 345722 w 3321397"/>
                <a:gd name="connsiteY3" fmla="*/ 0 h 1993254"/>
                <a:gd name="connsiteX0" fmla="*/ 434104 w 3130379"/>
                <a:gd name="connsiteY0" fmla="*/ 0 h 1650354"/>
                <a:gd name="connsiteX1" fmla="*/ 783247 w 3130379"/>
                <a:gd name="connsiteY1" fmla="*/ 1650354 h 1650354"/>
                <a:gd name="connsiteX2" fmla="*/ 3130379 w 3130379"/>
                <a:gd name="connsiteY2" fmla="*/ 1650354 h 1650354"/>
                <a:gd name="connsiteX3" fmla="*/ 434104 w 3130379"/>
                <a:gd name="connsiteY3" fmla="*/ 0 h 1650354"/>
                <a:gd name="connsiteX0" fmla="*/ 434104 w 3130379"/>
                <a:gd name="connsiteY0" fmla="*/ 0 h 1650354"/>
                <a:gd name="connsiteX1" fmla="*/ 783247 w 3130379"/>
                <a:gd name="connsiteY1" fmla="*/ 1650354 h 1650354"/>
                <a:gd name="connsiteX2" fmla="*/ 3130379 w 3130379"/>
                <a:gd name="connsiteY2" fmla="*/ 1650354 h 1650354"/>
                <a:gd name="connsiteX3" fmla="*/ 434104 w 3130379"/>
                <a:gd name="connsiteY3" fmla="*/ 0 h 1650354"/>
                <a:gd name="connsiteX0" fmla="*/ 461252 w 3157527"/>
                <a:gd name="connsiteY0" fmla="*/ 0 h 1650354"/>
                <a:gd name="connsiteX1" fmla="*/ 810395 w 3157527"/>
                <a:gd name="connsiteY1" fmla="*/ 1650354 h 1650354"/>
                <a:gd name="connsiteX2" fmla="*/ 3157527 w 3157527"/>
                <a:gd name="connsiteY2" fmla="*/ 1650354 h 1650354"/>
                <a:gd name="connsiteX3" fmla="*/ 461252 w 3157527"/>
                <a:gd name="connsiteY3" fmla="*/ 0 h 1650354"/>
                <a:gd name="connsiteX0" fmla="*/ 452114 w 3173789"/>
                <a:gd name="connsiteY0" fmla="*/ 0 h 1542404"/>
                <a:gd name="connsiteX1" fmla="*/ 826657 w 3173789"/>
                <a:gd name="connsiteY1" fmla="*/ 1542404 h 1542404"/>
                <a:gd name="connsiteX2" fmla="*/ 3173789 w 3173789"/>
                <a:gd name="connsiteY2" fmla="*/ 1542404 h 1542404"/>
                <a:gd name="connsiteX3" fmla="*/ 452114 w 3173789"/>
                <a:gd name="connsiteY3" fmla="*/ 0 h 1542404"/>
                <a:gd name="connsiteX0" fmla="*/ 301154 w 3022829"/>
                <a:gd name="connsiteY0" fmla="*/ 0 h 1542404"/>
                <a:gd name="connsiteX1" fmla="*/ 675697 w 3022829"/>
                <a:gd name="connsiteY1" fmla="*/ 1542404 h 1542404"/>
                <a:gd name="connsiteX2" fmla="*/ 3022829 w 3022829"/>
                <a:gd name="connsiteY2" fmla="*/ 1542404 h 1542404"/>
                <a:gd name="connsiteX3" fmla="*/ 301154 w 3022829"/>
                <a:gd name="connsiteY3" fmla="*/ 0 h 1542404"/>
                <a:gd name="connsiteX0" fmla="*/ 293267 w 3014942"/>
                <a:gd name="connsiteY0" fmla="*/ 0 h 1542404"/>
                <a:gd name="connsiteX1" fmla="*/ 667810 w 3014942"/>
                <a:gd name="connsiteY1" fmla="*/ 1542404 h 1542404"/>
                <a:gd name="connsiteX2" fmla="*/ 3014942 w 3014942"/>
                <a:gd name="connsiteY2" fmla="*/ 1542404 h 1542404"/>
                <a:gd name="connsiteX3" fmla="*/ 293267 w 3014942"/>
                <a:gd name="connsiteY3" fmla="*/ 0 h 1542404"/>
                <a:gd name="connsiteX0" fmla="*/ 293267 w 3014942"/>
                <a:gd name="connsiteY0" fmla="*/ 0 h 1542404"/>
                <a:gd name="connsiteX1" fmla="*/ 667810 w 3014942"/>
                <a:gd name="connsiteY1" fmla="*/ 1542404 h 1542404"/>
                <a:gd name="connsiteX2" fmla="*/ 3014942 w 3014942"/>
                <a:gd name="connsiteY2" fmla="*/ 1542404 h 1542404"/>
                <a:gd name="connsiteX3" fmla="*/ 293267 w 3014942"/>
                <a:gd name="connsiteY3" fmla="*/ 0 h 1542404"/>
                <a:gd name="connsiteX0" fmla="*/ 293267 w 3205442"/>
                <a:gd name="connsiteY0" fmla="*/ 0 h 1542404"/>
                <a:gd name="connsiteX1" fmla="*/ 667810 w 3205442"/>
                <a:gd name="connsiteY1" fmla="*/ 1542404 h 1542404"/>
                <a:gd name="connsiteX2" fmla="*/ 3205442 w 3205442"/>
                <a:gd name="connsiteY2" fmla="*/ 1542404 h 1542404"/>
                <a:gd name="connsiteX3" fmla="*/ 293267 w 3205442"/>
                <a:gd name="connsiteY3" fmla="*/ 0 h 1542404"/>
                <a:gd name="connsiteX0" fmla="*/ 293267 w 3205442"/>
                <a:gd name="connsiteY0" fmla="*/ 0 h 1542404"/>
                <a:gd name="connsiteX1" fmla="*/ 667810 w 3205442"/>
                <a:gd name="connsiteY1" fmla="*/ 1542404 h 1542404"/>
                <a:gd name="connsiteX2" fmla="*/ 3205442 w 3205442"/>
                <a:gd name="connsiteY2" fmla="*/ 1542404 h 1542404"/>
                <a:gd name="connsiteX3" fmla="*/ 293267 w 3205442"/>
                <a:gd name="connsiteY3" fmla="*/ 0 h 1542404"/>
                <a:gd name="connsiteX0" fmla="*/ 1438893 w 2783525"/>
                <a:gd name="connsiteY0" fmla="*/ 0 h 5533833"/>
                <a:gd name="connsiteX1" fmla="*/ 245893 w 2783525"/>
                <a:gd name="connsiteY1" fmla="*/ 5533833 h 5533833"/>
                <a:gd name="connsiteX2" fmla="*/ 2783525 w 2783525"/>
                <a:gd name="connsiteY2" fmla="*/ 5533833 h 5533833"/>
                <a:gd name="connsiteX3" fmla="*/ 1438893 w 2783525"/>
                <a:gd name="connsiteY3" fmla="*/ 0 h 5533833"/>
                <a:gd name="connsiteX0" fmla="*/ 1438893 w 2783525"/>
                <a:gd name="connsiteY0" fmla="*/ 0 h 5533833"/>
                <a:gd name="connsiteX1" fmla="*/ 245893 w 2783525"/>
                <a:gd name="connsiteY1" fmla="*/ 5533833 h 5533833"/>
                <a:gd name="connsiteX2" fmla="*/ 2783525 w 2783525"/>
                <a:gd name="connsiteY2" fmla="*/ 5533833 h 5533833"/>
                <a:gd name="connsiteX3" fmla="*/ 1438893 w 2783525"/>
                <a:gd name="connsiteY3" fmla="*/ 0 h 5533833"/>
                <a:gd name="connsiteX0" fmla="*/ 1842980 w 3187612"/>
                <a:gd name="connsiteY0" fmla="*/ 0 h 5533833"/>
                <a:gd name="connsiteX1" fmla="*/ 649980 w 3187612"/>
                <a:gd name="connsiteY1" fmla="*/ 5533833 h 5533833"/>
                <a:gd name="connsiteX2" fmla="*/ 3187612 w 3187612"/>
                <a:gd name="connsiteY2" fmla="*/ 5533833 h 5533833"/>
                <a:gd name="connsiteX3" fmla="*/ 1842980 w 3187612"/>
                <a:gd name="connsiteY3" fmla="*/ 0 h 5533833"/>
                <a:gd name="connsiteX0" fmla="*/ 1842980 w 3187612"/>
                <a:gd name="connsiteY0" fmla="*/ 0 h 5533833"/>
                <a:gd name="connsiteX1" fmla="*/ 649980 w 3187612"/>
                <a:gd name="connsiteY1" fmla="*/ 5533833 h 5533833"/>
                <a:gd name="connsiteX2" fmla="*/ 3187612 w 3187612"/>
                <a:gd name="connsiteY2" fmla="*/ 5533833 h 5533833"/>
                <a:gd name="connsiteX3" fmla="*/ 1842980 w 3187612"/>
                <a:gd name="connsiteY3" fmla="*/ 0 h 5533833"/>
                <a:gd name="connsiteX0" fmla="*/ 1481943 w 3523261"/>
                <a:gd name="connsiteY0" fmla="*/ 0 h 3472804"/>
                <a:gd name="connsiteX1" fmla="*/ 985629 w 3523261"/>
                <a:gd name="connsiteY1" fmla="*/ 3472804 h 3472804"/>
                <a:gd name="connsiteX2" fmla="*/ 3523261 w 3523261"/>
                <a:gd name="connsiteY2" fmla="*/ 3472804 h 3472804"/>
                <a:gd name="connsiteX3" fmla="*/ 1481943 w 3523261"/>
                <a:gd name="connsiteY3" fmla="*/ 0 h 3472804"/>
                <a:gd name="connsiteX0" fmla="*/ 1213084 w 3254402"/>
                <a:gd name="connsiteY0" fmla="*/ 0 h 3472804"/>
                <a:gd name="connsiteX1" fmla="*/ 716770 w 3254402"/>
                <a:gd name="connsiteY1" fmla="*/ 3472804 h 3472804"/>
                <a:gd name="connsiteX2" fmla="*/ 3254402 w 3254402"/>
                <a:gd name="connsiteY2" fmla="*/ 3472804 h 3472804"/>
                <a:gd name="connsiteX3" fmla="*/ 1213084 w 3254402"/>
                <a:gd name="connsiteY3" fmla="*/ 0 h 3472804"/>
                <a:gd name="connsiteX0" fmla="*/ 1213084 w 3254402"/>
                <a:gd name="connsiteY0" fmla="*/ 0 h 3472804"/>
                <a:gd name="connsiteX1" fmla="*/ 716770 w 3254402"/>
                <a:gd name="connsiteY1" fmla="*/ 3472804 h 3472804"/>
                <a:gd name="connsiteX2" fmla="*/ 3254402 w 3254402"/>
                <a:gd name="connsiteY2" fmla="*/ 3472804 h 3472804"/>
                <a:gd name="connsiteX3" fmla="*/ 1213084 w 3254402"/>
                <a:gd name="connsiteY3" fmla="*/ 0 h 3472804"/>
              </a:gdLst>
              <a:ahLst/>
              <a:cxnLst>
                <a:cxn ang="0">
                  <a:pos x="connsiteX0" y="connsiteY0"/>
                </a:cxn>
                <a:cxn ang="0">
                  <a:pos x="connsiteX1" y="connsiteY1"/>
                </a:cxn>
                <a:cxn ang="0">
                  <a:pos x="connsiteX2" y="connsiteY2"/>
                </a:cxn>
                <a:cxn ang="0">
                  <a:pos x="connsiteX3" y="connsiteY3"/>
                </a:cxn>
              </a:cxnLst>
              <a:rect l="l" t="t" r="r" b="b"/>
              <a:pathLst>
                <a:path w="3254402" h="3472804">
                  <a:moveTo>
                    <a:pt x="1213084" y="0"/>
                  </a:moveTo>
                  <a:cubicBezTo>
                    <a:pt x="-494972" y="1637316"/>
                    <a:pt x="-146184" y="2777318"/>
                    <a:pt x="716770" y="3472804"/>
                  </a:cubicBezTo>
                  <a:lnTo>
                    <a:pt x="3254402" y="3472804"/>
                  </a:lnTo>
                  <a:cubicBezTo>
                    <a:pt x="1640425" y="3137223"/>
                    <a:pt x="-148645" y="2125236"/>
                    <a:pt x="121308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9"/>
            <p:cNvSpPr/>
            <p:nvPr/>
          </p:nvSpPr>
          <p:spPr bwMode="auto">
            <a:xfrm flipV="1">
              <a:off x="10311605" y="787804"/>
              <a:ext cx="2120394" cy="2869975"/>
            </a:xfrm>
            <a:custGeom>
              <a:avLst/>
              <a:gdLst>
                <a:gd name="connsiteX0" fmla="*/ 2333794 w 2333794"/>
                <a:gd name="connsiteY0" fmla="*/ 3158814 h 3158814"/>
                <a:gd name="connsiteX1" fmla="*/ 2333794 w 2333794"/>
                <a:gd name="connsiteY1" fmla="*/ 2612531 h 3158814"/>
                <a:gd name="connsiteX2" fmla="*/ 2279384 w 2333794"/>
                <a:gd name="connsiteY2" fmla="*/ 2595815 h 3158814"/>
                <a:gd name="connsiteX3" fmla="*/ 331922 w 2333794"/>
                <a:gd name="connsiteY3" fmla="*/ 0 h 3158814"/>
                <a:gd name="connsiteX4" fmla="*/ 2111692 w 2333794"/>
                <a:gd name="connsiteY4" fmla="*/ 3124460 h 3158814"/>
                <a:gd name="connsiteX0" fmla="*/ 2333794 w 2333794"/>
                <a:gd name="connsiteY0" fmla="*/ 3158814 h 3158814"/>
                <a:gd name="connsiteX1" fmla="*/ 2333794 w 2333794"/>
                <a:gd name="connsiteY1" fmla="*/ 2612531 h 3158814"/>
                <a:gd name="connsiteX2" fmla="*/ 2279384 w 2333794"/>
                <a:gd name="connsiteY2" fmla="*/ 2595815 h 3158814"/>
                <a:gd name="connsiteX3" fmla="*/ 331922 w 2333794"/>
                <a:gd name="connsiteY3" fmla="*/ 0 h 3158814"/>
                <a:gd name="connsiteX4" fmla="*/ 2111692 w 2333794"/>
                <a:gd name="connsiteY4" fmla="*/ 3124460 h 3158814"/>
                <a:gd name="connsiteX5" fmla="*/ 2333794 w 2333794"/>
                <a:gd name="connsiteY5" fmla="*/ 3158814 h 3158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3794" h="3158814">
                  <a:moveTo>
                    <a:pt x="2333794" y="3158814"/>
                  </a:moveTo>
                  <a:lnTo>
                    <a:pt x="2333794" y="2612531"/>
                  </a:lnTo>
                  <a:lnTo>
                    <a:pt x="2279384" y="2595815"/>
                  </a:lnTo>
                  <a:cubicBezTo>
                    <a:pt x="1127076" y="2203137"/>
                    <a:pt x="-144073" y="1682095"/>
                    <a:pt x="331922" y="0"/>
                  </a:cubicBezTo>
                  <a:cubicBezTo>
                    <a:pt x="-685974" y="1773109"/>
                    <a:pt x="846343" y="2875040"/>
                    <a:pt x="2111692" y="3124460"/>
                  </a:cubicBezTo>
                  <a:lnTo>
                    <a:pt x="2333794" y="3158814"/>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8" name="Group 87">
            <a:extLst>
              <a:ext uri="{FF2B5EF4-FFF2-40B4-BE49-F238E27FC236}">
                <a16:creationId xmlns:a16="http://schemas.microsoft.com/office/drawing/2014/main" id="{2DAA6F22-E6EB-4B48-9908-DB2195C0340D}"/>
              </a:ext>
            </a:extLst>
          </p:cNvPr>
          <p:cNvGrpSpPr/>
          <p:nvPr/>
        </p:nvGrpSpPr>
        <p:grpSpPr>
          <a:xfrm>
            <a:off x="460938" y="4770121"/>
            <a:ext cx="7313350" cy="917884"/>
            <a:chOff x="585216" y="4413913"/>
            <a:chExt cx="7459998" cy="936289"/>
          </a:xfrm>
        </p:grpSpPr>
        <p:sp>
          <p:nvSpPr>
            <p:cNvPr id="89" name="Rectangle 88">
              <a:extLst>
                <a:ext uri="{FF2B5EF4-FFF2-40B4-BE49-F238E27FC236}">
                  <a16:creationId xmlns:a16="http://schemas.microsoft.com/office/drawing/2014/main" id="{CC9B3583-7B35-43C8-B4B6-A976F9C0D830}"/>
                </a:ext>
              </a:extLst>
            </p:cNvPr>
            <p:cNvSpPr/>
            <p:nvPr/>
          </p:nvSpPr>
          <p:spPr bwMode="auto">
            <a:xfrm>
              <a:off x="585216" y="4413913"/>
              <a:ext cx="7459998" cy="936289"/>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34464" tIns="89642" rIns="134464" bIns="89642"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defTabSz="896386" eaLnBrk="1" fontAlgn="auto" latinLnBrk="0" hangingPunct="1">
                <a:lnSpc>
                  <a:spcPct val="100000"/>
                </a:lnSpc>
                <a:spcBef>
                  <a:spcPts val="196"/>
                </a:spcBef>
                <a:spcAft>
                  <a:spcPts val="196"/>
                </a:spcAft>
                <a:buClrTx/>
                <a:buSzTx/>
                <a:buFontTx/>
                <a:buNone/>
                <a:tabLst/>
                <a:defRPr/>
              </a:pPr>
              <a:endParaRPr kumimoji="0" lang="en-US" sz="1765" b="0" i="0" u="none" strike="noStrike" kern="0" cap="none" spc="0" normalizeH="0" baseline="0" noProof="0" dirty="0">
                <a:ln>
                  <a:noFill/>
                </a:ln>
                <a:solidFill>
                  <a:srgbClr val="0078D7"/>
                </a:solidFill>
                <a:effectLst/>
                <a:uLnTx/>
                <a:uFillTx/>
                <a:latin typeface="Segoe UI Semibold" panose="020B0702040204020203" pitchFamily="34" charset="0"/>
              </a:endParaRPr>
            </a:p>
          </p:txBody>
        </p:sp>
        <p:grpSp>
          <p:nvGrpSpPr>
            <p:cNvPr id="90" name="Group 89">
              <a:extLst>
                <a:ext uri="{FF2B5EF4-FFF2-40B4-BE49-F238E27FC236}">
                  <a16:creationId xmlns:a16="http://schemas.microsoft.com/office/drawing/2014/main" id="{E6583554-C337-4967-82CC-F7697C80FA68}"/>
                </a:ext>
              </a:extLst>
            </p:cNvPr>
            <p:cNvGrpSpPr/>
            <p:nvPr/>
          </p:nvGrpSpPr>
          <p:grpSpPr>
            <a:xfrm>
              <a:off x="675903" y="4413913"/>
              <a:ext cx="7278624" cy="936289"/>
              <a:chOff x="675903" y="4413913"/>
              <a:chExt cx="7278624" cy="936289"/>
            </a:xfrm>
          </p:grpSpPr>
          <p:sp>
            <p:nvSpPr>
              <p:cNvPr id="91" name="Rectangle 90">
                <a:extLst>
                  <a:ext uri="{FF2B5EF4-FFF2-40B4-BE49-F238E27FC236}">
                    <a16:creationId xmlns:a16="http://schemas.microsoft.com/office/drawing/2014/main" id="{14AE8557-29FA-42E6-82F7-28E1343A1AF0}"/>
                  </a:ext>
                </a:extLst>
              </p:cNvPr>
              <p:cNvSpPr/>
              <p:nvPr/>
            </p:nvSpPr>
            <p:spPr bwMode="auto">
              <a:xfrm>
                <a:off x="675903" y="4413913"/>
                <a:ext cx="7278624" cy="936289"/>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34464" tIns="89642" rIns="134464" bIns="89642"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defTabSz="896386" eaLnBrk="1" fontAlgn="auto" latinLnBrk="0" hangingPunct="1">
                  <a:lnSpc>
                    <a:spcPct val="100000"/>
                  </a:lnSpc>
                  <a:spcBef>
                    <a:spcPts val="196"/>
                  </a:spcBef>
                  <a:spcAft>
                    <a:spcPts val="196"/>
                  </a:spcAft>
                  <a:buClrTx/>
                  <a:buSzTx/>
                  <a:buFontTx/>
                  <a:buNone/>
                  <a:tabLst/>
                  <a:defRPr/>
                </a:pPr>
                <a:r>
                  <a:rPr kumimoji="0" lang="en-US" sz="1765" b="0" i="0" u="none" strike="noStrike" kern="0" cap="none" spc="0" normalizeH="0" baseline="0" noProof="0" dirty="0">
                    <a:ln>
                      <a:noFill/>
                    </a:ln>
                    <a:gradFill>
                      <a:gsLst>
                        <a:gs pos="20732">
                          <a:srgbClr val="0078D7"/>
                        </a:gs>
                        <a:gs pos="70000">
                          <a:srgbClr val="0078D7"/>
                        </a:gs>
                      </a:gsLst>
                      <a:lin ang="5400000" scaled="0"/>
                    </a:gradFill>
                    <a:effectLst/>
                    <a:uLnTx/>
                    <a:uFillTx/>
                    <a:latin typeface="Segoe UI Semibold" panose="020B0702040204020203" pitchFamily="34" charset="0"/>
                  </a:rPr>
                  <a:t>Media</a:t>
                </a:r>
              </a:p>
            </p:txBody>
          </p:sp>
          <p:grpSp>
            <p:nvGrpSpPr>
              <p:cNvPr id="101" name="Group 100">
                <a:extLst>
                  <a:ext uri="{FF2B5EF4-FFF2-40B4-BE49-F238E27FC236}">
                    <a16:creationId xmlns:a16="http://schemas.microsoft.com/office/drawing/2014/main" id="{EDBCA323-207F-45BC-BFBC-C9DFB21ADFC3}"/>
                  </a:ext>
                </a:extLst>
              </p:cNvPr>
              <p:cNvGrpSpPr/>
              <p:nvPr/>
            </p:nvGrpSpPr>
            <p:grpSpPr>
              <a:xfrm>
                <a:off x="4691822" y="4600947"/>
                <a:ext cx="3047283" cy="562221"/>
                <a:chOff x="3241576" y="4922138"/>
                <a:chExt cx="2016925" cy="372121"/>
              </a:xfrm>
            </p:grpSpPr>
            <p:sp>
              <p:nvSpPr>
                <p:cNvPr id="114" name="Freeform 101">
                  <a:extLst>
                    <a:ext uri="{FF2B5EF4-FFF2-40B4-BE49-F238E27FC236}">
                      <a16:creationId xmlns:a16="http://schemas.microsoft.com/office/drawing/2014/main" id="{DAF358FE-1C54-46BD-B5E8-C6E88114C652}"/>
                    </a:ext>
                  </a:extLst>
                </p:cNvPr>
                <p:cNvSpPr/>
                <p:nvPr/>
              </p:nvSpPr>
              <p:spPr bwMode="auto">
                <a:xfrm>
                  <a:off x="4857479" y="4957797"/>
                  <a:ext cx="401022" cy="300803"/>
                </a:xfrm>
                <a:custGeom>
                  <a:avLst/>
                  <a:gdLst/>
                  <a:ahLst/>
                  <a:cxnLst/>
                  <a:rect l="l" t="t" r="r" b="b"/>
                  <a:pathLst>
                    <a:path w="1012332" h="759341">
                      <a:moveTo>
                        <a:pt x="697992" y="338803"/>
                      </a:moveTo>
                      <a:cubicBezTo>
                        <a:pt x="661462" y="338803"/>
                        <a:pt x="631848" y="368417"/>
                        <a:pt x="631848" y="404947"/>
                      </a:cubicBezTo>
                      <a:cubicBezTo>
                        <a:pt x="631848" y="441477"/>
                        <a:pt x="661462" y="471091"/>
                        <a:pt x="697992" y="471091"/>
                      </a:cubicBezTo>
                      <a:cubicBezTo>
                        <a:pt x="734522" y="471091"/>
                        <a:pt x="764136" y="441477"/>
                        <a:pt x="764136" y="404947"/>
                      </a:cubicBezTo>
                      <a:cubicBezTo>
                        <a:pt x="764136" y="368417"/>
                        <a:pt x="734522" y="338803"/>
                        <a:pt x="697992" y="338803"/>
                      </a:cubicBezTo>
                      <a:close/>
                      <a:moveTo>
                        <a:pt x="256251" y="300944"/>
                      </a:moveTo>
                      <a:lnTo>
                        <a:pt x="256251" y="358981"/>
                      </a:lnTo>
                      <a:lnTo>
                        <a:pt x="198214" y="358981"/>
                      </a:lnTo>
                      <a:lnTo>
                        <a:pt x="198214" y="424380"/>
                      </a:lnTo>
                      <a:lnTo>
                        <a:pt x="256251" y="424380"/>
                      </a:lnTo>
                      <a:lnTo>
                        <a:pt x="256251" y="482417"/>
                      </a:lnTo>
                      <a:lnTo>
                        <a:pt x="321650" y="482417"/>
                      </a:lnTo>
                      <a:lnTo>
                        <a:pt x="321650" y="424380"/>
                      </a:lnTo>
                      <a:lnTo>
                        <a:pt x="379687" y="424380"/>
                      </a:lnTo>
                      <a:lnTo>
                        <a:pt x="379687" y="358981"/>
                      </a:lnTo>
                      <a:lnTo>
                        <a:pt x="321650" y="358981"/>
                      </a:lnTo>
                      <a:lnTo>
                        <a:pt x="321650" y="300944"/>
                      </a:lnTo>
                      <a:close/>
                      <a:moveTo>
                        <a:pt x="777659" y="239656"/>
                      </a:moveTo>
                      <a:cubicBezTo>
                        <a:pt x="760077" y="239656"/>
                        <a:pt x="745824" y="253909"/>
                        <a:pt x="745824" y="271491"/>
                      </a:cubicBezTo>
                      <a:cubicBezTo>
                        <a:pt x="745824" y="289073"/>
                        <a:pt x="760077" y="303326"/>
                        <a:pt x="777659" y="303326"/>
                      </a:cubicBezTo>
                      <a:cubicBezTo>
                        <a:pt x="795241" y="303326"/>
                        <a:pt x="809494" y="289073"/>
                        <a:pt x="809494" y="271491"/>
                      </a:cubicBezTo>
                      <a:cubicBezTo>
                        <a:pt x="809494" y="253909"/>
                        <a:pt x="795241" y="239656"/>
                        <a:pt x="777659" y="239656"/>
                      </a:cubicBezTo>
                      <a:close/>
                      <a:moveTo>
                        <a:pt x="840567" y="176829"/>
                      </a:moveTo>
                      <a:cubicBezTo>
                        <a:pt x="822985" y="176829"/>
                        <a:pt x="808732" y="191082"/>
                        <a:pt x="808732" y="208664"/>
                      </a:cubicBezTo>
                      <a:cubicBezTo>
                        <a:pt x="808732" y="226246"/>
                        <a:pt x="822985" y="240499"/>
                        <a:pt x="840567" y="240499"/>
                      </a:cubicBezTo>
                      <a:cubicBezTo>
                        <a:pt x="858149" y="240499"/>
                        <a:pt x="872402" y="226246"/>
                        <a:pt x="872402" y="208664"/>
                      </a:cubicBezTo>
                      <a:cubicBezTo>
                        <a:pt x="872402" y="191082"/>
                        <a:pt x="858149" y="176829"/>
                        <a:pt x="840567" y="176829"/>
                      </a:cubicBezTo>
                      <a:close/>
                      <a:moveTo>
                        <a:pt x="714751" y="176829"/>
                      </a:moveTo>
                      <a:cubicBezTo>
                        <a:pt x="697169" y="176829"/>
                        <a:pt x="682916" y="191082"/>
                        <a:pt x="682916" y="208664"/>
                      </a:cubicBezTo>
                      <a:cubicBezTo>
                        <a:pt x="682916" y="226246"/>
                        <a:pt x="697169" y="240499"/>
                        <a:pt x="714751" y="240499"/>
                      </a:cubicBezTo>
                      <a:cubicBezTo>
                        <a:pt x="732333" y="240499"/>
                        <a:pt x="746586" y="226246"/>
                        <a:pt x="746586" y="208664"/>
                      </a:cubicBezTo>
                      <a:cubicBezTo>
                        <a:pt x="746586" y="191082"/>
                        <a:pt x="732333" y="176829"/>
                        <a:pt x="714751" y="176829"/>
                      </a:cubicBezTo>
                      <a:close/>
                      <a:moveTo>
                        <a:pt x="205068" y="124095"/>
                      </a:moveTo>
                      <a:cubicBezTo>
                        <a:pt x="168538" y="124095"/>
                        <a:pt x="138924" y="153709"/>
                        <a:pt x="138924" y="190239"/>
                      </a:cubicBezTo>
                      <a:cubicBezTo>
                        <a:pt x="138924" y="226769"/>
                        <a:pt x="168538" y="256383"/>
                        <a:pt x="205068" y="256383"/>
                      </a:cubicBezTo>
                      <a:cubicBezTo>
                        <a:pt x="241598" y="256383"/>
                        <a:pt x="271212" y="226769"/>
                        <a:pt x="271212" y="190239"/>
                      </a:cubicBezTo>
                      <a:cubicBezTo>
                        <a:pt x="271212" y="153709"/>
                        <a:pt x="241598" y="124095"/>
                        <a:pt x="205068" y="124095"/>
                      </a:cubicBezTo>
                      <a:close/>
                      <a:moveTo>
                        <a:pt x="777659" y="110337"/>
                      </a:moveTo>
                      <a:cubicBezTo>
                        <a:pt x="760077" y="110337"/>
                        <a:pt x="745824" y="124590"/>
                        <a:pt x="745824" y="142172"/>
                      </a:cubicBezTo>
                      <a:cubicBezTo>
                        <a:pt x="745824" y="159754"/>
                        <a:pt x="760077" y="174007"/>
                        <a:pt x="777659" y="174007"/>
                      </a:cubicBezTo>
                      <a:cubicBezTo>
                        <a:pt x="795241" y="174007"/>
                        <a:pt x="809494" y="159754"/>
                        <a:pt x="809494" y="142172"/>
                      </a:cubicBezTo>
                      <a:cubicBezTo>
                        <a:pt x="809494" y="124590"/>
                        <a:pt x="795241" y="110337"/>
                        <a:pt x="777659" y="110337"/>
                      </a:cubicBezTo>
                      <a:close/>
                      <a:moveTo>
                        <a:pt x="778004" y="52"/>
                      </a:moveTo>
                      <a:cubicBezTo>
                        <a:pt x="788596" y="-271"/>
                        <a:pt x="801866" y="895"/>
                        <a:pt x="819229" y="4367"/>
                      </a:cubicBezTo>
                      <a:cubicBezTo>
                        <a:pt x="1048226" y="110729"/>
                        <a:pt x="1072434" y="769541"/>
                        <a:pt x="897809" y="759222"/>
                      </a:cubicBezTo>
                      <a:cubicBezTo>
                        <a:pt x="718422" y="410766"/>
                        <a:pt x="340598" y="352424"/>
                        <a:pt x="119142" y="754460"/>
                      </a:cubicBezTo>
                      <a:cubicBezTo>
                        <a:pt x="-99932" y="701677"/>
                        <a:pt x="11588" y="-13889"/>
                        <a:pt x="223916" y="6748"/>
                      </a:cubicBezTo>
                      <a:cubicBezTo>
                        <a:pt x="273526" y="1193"/>
                        <a:pt x="281861" y="14290"/>
                        <a:pt x="316786" y="21036"/>
                      </a:cubicBezTo>
                      <a:cubicBezTo>
                        <a:pt x="381080" y="56358"/>
                        <a:pt x="640239" y="66678"/>
                        <a:pt x="716835" y="21038"/>
                      </a:cubicBezTo>
                      <a:cubicBezTo>
                        <a:pt x="738563" y="15383"/>
                        <a:pt x="746229" y="1020"/>
                        <a:pt x="778004" y="52"/>
                      </a:cubicBezTo>
                      <a:close/>
                    </a:path>
                  </a:pathLst>
                </a:custGeom>
                <a:solidFill>
                  <a:srgbClr val="0078D7"/>
                </a:solidFill>
                <a:ln>
                  <a:noFill/>
                </a:ln>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rgbClr val="0078D7"/>
                    </a:solidFill>
                    <a:effectLst/>
                    <a:uLnTx/>
                    <a:uFillTx/>
                  </a:endParaRPr>
                </a:p>
              </p:txBody>
            </p:sp>
            <p:sp>
              <p:nvSpPr>
                <p:cNvPr id="118" name="Freeform 7">
                  <a:extLst>
                    <a:ext uri="{FF2B5EF4-FFF2-40B4-BE49-F238E27FC236}">
                      <a16:creationId xmlns:a16="http://schemas.microsoft.com/office/drawing/2014/main" id="{A4519D35-64BF-48C7-ACAC-B838E7E0C667}"/>
                    </a:ext>
                  </a:extLst>
                </p:cNvPr>
                <p:cNvSpPr>
                  <a:spLocks noEditPoints="1"/>
                </p:cNvSpPr>
                <p:nvPr/>
              </p:nvSpPr>
              <p:spPr bwMode="black">
                <a:xfrm>
                  <a:off x="3807537" y="4941107"/>
                  <a:ext cx="311038" cy="334182"/>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0078D7"/>
                </a:solidFill>
                <a:ln w="10795" cap="flat" cmpd="sng" algn="ctr">
                  <a:noFill/>
                  <a:prstDash val="solid"/>
                  <a:headEnd type="none" w="med" len="med"/>
                  <a:tailEnd type="none" w="med" len="med"/>
                </a:ln>
                <a:effectLst/>
              </p:spPr>
              <p:txBody>
                <a:bodyPr vert="horz" wrap="square" lIns="80684" tIns="40342" rIns="80684" bIns="40342" numCol="1" rtlCol="0" anchor="ctr"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defTabSz="726147" eaLnBrk="1" fontAlgn="auto" latinLnBrk="0" hangingPunct="1">
                    <a:lnSpc>
                      <a:spcPct val="100000"/>
                    </a:lnSpc>
                    <a:spcBef>
                      <a:spcPts val="0"/>
                    </a:spcBef>
                    <a:spcAft>
                      <a:spcPts val="0"/>
                    </a:spcAft>
                    <a:buClrTx/>
                    <a:buSzTx/>
                    <a:buFontTx/>
                    <a:buNone/>
                    <a:tabLst/>
                    <a:defRPr/>
                  </a:pPr>
                  <a:endParaRPr kumimoji="0" lang="en-US" sz="1765" b="0" i="0" u="none" strike="noStrike" kern="0" cap="none" spc="-120" normalizeH="0" baseline="0" noProof="0" dirty="0">
                    <a:ln>
                      <a:noFill/>
                    </a:ln>
                    <a:solidFill>
                      <a:srgbClr val="0078D7"/>
                    </a:solidFill>
                    <a:effectLst/>
                    <a:uLnTx/>
                    <a:uFillTx/>
                    <a:latin typeface="Segoe UI Light" panose="020B0502040204020203" pitchFamily="34" charset="0"/>
                    <a:ea typeface="+mn-ea"/>
                    <a:cs typeface="+mn-cs"/>
                    <a:sym typeface="Segoe UI Light" panose="020B0502040204020203" pitchFamily="34" charset="0"/>
                  </a:endParaRPr>
                </a:p>
              </p:txBody>
            </p:sp>
            <p:grpSp>
              <p:nvGrpSpPr>
                <p:cNvPr id="119" name="Group 118">
                  <a:extLst>
                    <a:ext uri="{FF2B5EF4-FFF2-40B4-BE49-F238E27FC236}">
                      <a16:creationId xmlns:a16="http://schemas.microsoft.com/office/drawing/2014/main" id="{3383F050-E65D-42E9-AEAC-86298CADC509}"/>
                    </a:ext>
                  </a:extLst>
                </p:cNvPr>
                <p:cNvGrpSpPr/>
                <p:nvPr/>
              </p:nvGrpSpPr>
              <p:grpSpPr bwMode="black">
                <a:xfrm>
                  <a:off x="3241576" y="4936810"/>
                  <a:ext cx="434844" cy="342777"/>
                  <a:chOff x="3358795" y="376386"/>
                  <a:chExt cx="1516066" cy="1195384"/>
                </a:xfrm>
                <a:solidFill>
                  <a:srgbClr val="353535"/>
                </a:solidFill>
              </p:grpSpPr>
              <p:sp>
                <p:nvSpPr>
                  <p:cNvPr id="121" name="Freeform 26">
                    <a:extLst>
                      <a:ext uri="{FF2B5EF4-FFF2-40B4-BE49-F238E27FC236}">
                        <a16:creationId xmlns:a16="http://schemas.microsoft.com/office/drawing/2014/main" id="{B25F3193-C230-4F97-8920-F3952294C129}"/>
                      </a:ext>
                    </a:extLst>
                  </p:cNvPr>
                  <p:cNvSpPr>
                    <a:spLocks/>
                  </p:cNvSpPr>
                  <p:nvPr/>
                </p:nvSpPr>
                <p:spPr bwMode="black">
                  <a:xfrm>
                    <a:off x="3703285" y="376386"/>
                    <a:ext cx="1171576" cy="1128709"/>
                  </a:xfrm>
                  <a:custGeom>
                    <a:avLst/>
                    <a:gdLst>
                      <a:gd name="T0" fmla="*/ 36 w 312"/>
                      <a:gd name="T1" fmla="*/ 0 h 301"/>
                      <a:gd name="T2" fmla="*/ 0 w 312"/>
                      <a:gd name="T3" fmla="*/ 94 h 301"/>
                      <a:gd name="T4" fmla="*/ 32 w 312"/>
                      <a:gd name="T5" fmla="*/ 94 h 301"/>
                      <a:gd name="T6" fmla="*/ 54 w 312"/>
                      <a:gd name="T7" fmla="*/ 39 h 301"/>
                      <a:gd name="T8" fmla="*/ 272 w 312"/>
                      <a:gd name="T9" fmla="*/ 124 h 301"/>
                      <a:gd name="T10" fmla="*/ 219 w 312"/>
                      <a:gd name="T11" fmla="*/ 262 h 301"/>
                      <a:gd name="T12" fmla="*/ 219 w 312"/>
                      <a:gd name="T13" fmla="*/ 295 h 301"/>
                      <a:gd name="T14" fmla="*/ 237 w 312"/>
                      <a:gd name="T15" fmla="*/ 301 h 301"/>
                      <a:gd name="T16" fmla="*/ 312 w 312"/>
                      <a:gd name="T17" fmla="*/ 106 h 301"/>
                      <a:gd name="T18" fmla="*/ 36 w 312"/>
                      <a:gd name="T1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01">
                        <a:moveTo>
                          <a:pt x="36" y="0"/>
                        </a:moveTo>
                        <a:cubicBezTo>
                          <a:pt x="0" y="94"/>
                          <a:pt x="0" y="94"/>
                          <a:pt x="0" y="94"/>
                        </a:cubicBezTo>
                        <a:cubicBezTo>
                          <a:pt x="32" y="94"/>
                          <a:pt x="32" y="94"/>
                          <a:pt x="32" y="94"/>
                        </a:cubicBezTo>
                        <a:cubicBezTo>
                          <a:pt x="41" y="73"/>
                          <a:pt x="54" y="39"/>
                          <a:pt x="54" y="39"/>
                        </a:cubicBezTo>
                        <a:cubicBezTo>
                          <a:pt x="272" y="124"/>
                          <a:pt x="272" y="124"/>
                          <a:pt x="272" y="124"/>
                        </a:cubicBezTo>
                        <a:cubicBezTo>
                          <a:pt x="219" y="262"/>
                          <a:pt x="219" y="262"/>
                          <a:pt x="219" y="262"/>
                        </a:cubicBezTo>
                        <a:cubicBezTo>
                          <a:pt x="219" y="295"/>
                          <a:pt x="219" y="295"/>
                          <a:pt x="219" y="295"/>
                        </a:cubicBezTo>
                        <a:cubicBezTo>
                          <a:pt x="237" y="301"/>
                          <a:pt x="237" y="301"/>
                          <a:pt x="237" y="301"/>
                        </a:cubicBezTo>
                        <a:cubicBezTo>
                          <a:pt x="312" y="106"/>
                          <a:pt x="312" y="106"/>
                          <a:pt x="312" y="106"/>
                        </a:cubicBezTo>
                        <a:lnTo>
                          <a:pt x="36" y="0"/>
                        </a:lnTo>
                        <a:close/>
                      </a:path>
                    </a:pathLst>
                  </a:custGeom>
                  <a:solidFill>
                    <a:srgbClr val="0078D7"/>
                  </a:solidFill>
                  <a:ln w="1079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vert="horz" wrap="square" lIns="89639" tIns="44819" rIns="89639" bIns="44819" numCol="1" rtlCol="0" anchor="ctr"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defTabSz="726147" eaLnBrk="1" fontAlgn="auto" latinLnBrk="0" hangingPunct="1">
                      <a:lnSpc>
                        <a:spcPct val="100000"/>
                      </a:lnSpc>
                      <a:spcBef>
                        <a:spcPts val="0"/>
                      </a:spcBef>
                      <a:spcAft>
                        <a:spcPts val="0"/>
                      </a:spcAft>
                      <a:buClrTx/>
                      <a:buSzTx/>
                      <a:buFontTx/>
                      <a:buNone/>
                      <a:tabLst/>
                      <a:defRPr/>
                    </a:pPr>
                    <a:endParaRPr kumimoji="0" lang="en-US" sz="1765" b="0" i="0" u="none" strike="noStrike" kern="0" cap="none" spc="-120" normalizeH="0" baseline="0" noProof="0" dirty="0">
                      <a:ln>
                        <a:noFill/>
                      </a:ln>
                      <a:solidFill>
                        <a:srgbClr val="0078D7"/>
                      </a:solidFill>
                      <a:effectLst/>
                      <a:uLnTx/>
                      <a:uFillTx/>
                      <a:latin typeface="Segoe UI Light" panose="020B0502040204020203" pitchFamily="34" charset="0"/>
                      <a:ea typeface="+mn-ea"/>
                      <a:cs typeface="+mn-cs"/>
                      <a:sym typeface="Segoe UI Light" panose="020B0502040204020203" pitchFamily="34" charset="0"/>
                    </a:endParaRPr>
                  </a:p>
                </p:txBody>
              </p:sp>
              <p:sp>
                <p:nvSpPr>
                  <p:cNvPr id="122" name="Freeform 27">
                    <a:extLst>
                      <a:ext uri="{FF2B5EF4-FFF2-40B4-BE49-F238E27FC236}">
                        <a16:creationId xmlns:a16="http://schemas.microsoft.com/office/drawing/2014/main" id="{8564991B-4731-413B-A7BC-6A7A37FC9880}"/>
                      </a:ext>
                    </a:extLst>
                  </p:cNvPr>
                  <p:cNvSpPr>
                    <a:spLocks noEditPoints="1"/>
                  </p:cNvSpPr>
                  <p:nvPr/>
                </p:nvSpPr>
                <p:spPr bwMode="black">
                  <a:xfrm>
                    <a:off x="3358795" y="789135"/>
                    <a:ext cx="1106491" cy="782635"/>
                  </a:xfrm>
                  <a:custGeom>
                    <a:avLst/>
                    <a:gdLst>
                      <a:gd name="T0" fmla="*/ 0 w 697"/>
                      <a:gd name="T1" fmla="*/ 0 h 493"/>
                      <a:gd name="T2" fmla="*/ 0 w 697"/>
                      <a:gd name="T3" fmla="*/ 493 h 493"/>
                      <a:gd name="T4" fmla="*/ 697 w 697"/>
                      <a:gd name="T5" fmla="*/ 493 h 493"/>
                      <a:gd name="T6" fmla="*/ 697 w 697"/>
                      <a:gd name="T7" fmla="*/ 0 h 493"/>
                      <a:gd name="T8" fmla="*/ 0 w 697"/>
                      <a:gd name="T9" fmla="*/ 0 h 493"/>
                      <a:gd name="T10" fmla="*/ 626 w 697"/>
                      <a:gd name="T11" fmla="*/ 422 h 493"/>
                      <a:gd name="T12" fmla="*/ 71 w 697"/>
                      <a:gd name="T13" fmla="*/ 422 h 493"/>
                      <a:gd name="T14" fmla="*/ 71 w 697"/>
                      <a:gd name="T15" fmla="*/ 73 h 493"/>
                      <a:gd name="T16" fmla="*/ 626 w 697"/>
                      <a:gd name="T17" fmla="*/ 73 h 493"/>
                      <a:gd name="T18" fmla="*/ 626 w 697"/>
                      <a:gd name="T19" fmla="*/ 42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7" h="493">
                        <a:moveTo>
                          <a:pt x="0" y="0"/>
                        </a:moveTo>
                        <a:lnTo>
                          <a:pt x="0" y="493"/>
                        </a:lnTo>
                        <a:lnTo>
                          <a:pt x="697" y="493"/>
                        </a:lnTo>
                        <a:lnTo>
                          <a:pt x="697" y="0"/>
                        </a:lnTo>
                        <a:lnTo>
                          <a:pt x="0" y="0"/>
                        </a:lnTo>
                        <a:close/>
                        <a:moveTo>
                          <a:pt x="626" y="422"/>
                        </a:moveTo>
                        <a:lnTo>
                          <a:pt x="71" y="422"/>
                        </a:lnTo>
                        <a:lnTo>
                          <a:pt x="71" y="73"/>
                        </a:lnTo>
                        <a:lnTo>
                          <a:pt x="626" y="73"/>
                        </a:lnTo>
                        <a:lnTo>
                          <a:pt x="626" y="422"/>
                        </a:lnTo>
                        <a:close/>
                      </a:path>
                    </a:pathLst>
                  </a:custGeom>
                  <a:solidFill>
                    <a:srgbClr val="0078D7"/>
                  </a:solidFill>
                  <a:ln w="1079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vert="horz" wrap="square" lIns="89639" tIns="44819" rIns="89639" bIns="44819" numCol="1" rtlCol="0" anchor="ctr"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defTabSz="726147" eaLnBrk="1" fontAlgn="auto" latinLnBrk="0" hangingPunct="1">
                      <a:lnSpc>
                        <a:spcPct val="100000"/>
                      </a:lnSpc>
                      <a:spcBef>
                        <a:spcPts val="0"/>
                      </a:spcBef>
                      <a:spcAft>
                        <a:spcPts val="0"/>
                      </a:spcAft>
                      <a:buClrTx/>
                      <a:buSzTx/>
                      <a:buFontTx/>
                      <a:buNone/>
                      <a:tabLst/>
                      <a:defRPr/>
                    </a:pPr>
                    <a:endParaRPr kumimoji="0" lang="en-US" sz="1765" b="0" i="0" u="none" strike="noStrike" kern="0" cap="none" spc="-120" normalizeH="0" baseline="0" noProof="0" dirty="0">
                      <a:ln>
                        <a:noFill/>
                      </a:ln>
                      <a:solidFill>
                        <a:srgbClr val="0078D7"/>
                      </a:solidFill>
                      <a:effectLst/>
                      <a:uLnTx/>
                      <a:uFillTx/>
                      <a:latin typeface="Segoe UI Light" panose="020B0502040204020203" pitchFamily="34" charset="0"/>
                      <a:ea typeface="+mn-ea"/>
                      <a:cs typeface="+mn-cs"/>
                      <a:sym typeface="Segoe UI Light" panose="020B0502040204020203" pitchFamily="34" charset="0"/>
                    </a:endParaRPr>
                  </a:p>
                </p:txBody>
              </p:sp>
              <p:sp>
                <p:nvSpPr>
                  <p:cNvPr id="123" name="Freeform 28">
                    <a:extLst>
                      <a:ext uri="{FF2B5EF4-FFF2-40B4-BE49-F238E27FC236}">
                        <a16:creationId xmlns:a16="http://schemas.microsoft.com/office/drawing/2014/main" id="{5BA92B93-418F-4494-A20A-83B004DAE571}"/>
                      </a:ext>
                    </a:extLst>
                  </p:cNvPr>
                  <p:cNvSpPr>
                    <a:spLocks/>
                  </p:cNvSpPr>
                  <p:nvPr/>
                </p:nvSpPr>
                <p:spPr bwMode="black">
                  <a:xfrm>
                    <a:off x="3565169" y="1189184"/>
                    <a:ext cx="401640" cy="338137"/>
                  </a:xfrm>
                  <a:custGeom>
                    <a:avLst/>
                    <a:gdLst>
                      <a:gd name="T0" fmla="*/ 0 w 107"/>
                      <a:gd name="T1" fmla="*/ 90 h 90"/>
                      <a:gd name="T2" fmla="*/ 54 w 107"/>
                      <a:gd name="T3" fmla="*/ 0 h 90"/>
                      <a:gd name="T4" fmla="*/ 107 w 107"/>
                      <a:gd name="T5" fmla="*/ 90 h 90"/>
                      <a:gd name="T6" fmla="*/ 0 w 107"/>
                      <a:gd name="T7" fmla="*/ 90 h 90"/>
                    </a:gdLst>
                    <a:ahLst/>
                    <a:cxnLst>
                      <a:cxn ang="0">
                        <a:pos x="T0" y="T1"/>
                      </a:cxn>
                      <a:cxn ang="0">
                        <a:pos x="T2" y="T3"/>
                      </a:cxn>
                      <a:cxn ang="0">
                        <a:pos x="T4" y="T5"/>
                      </a:cxn>
                      <a:cxn ang="0">
                        <a:pos x="T6" y="T7"/>
                      </a:cxn>
                    </a:cxnLst>
                    <a:rect l="0" t="0" r="r" b="b"/>
                    <a:pathLst>
                      <a:path w="107" h="90">
                        <a:moveTo>
                          <a:pt x="0" y="90"/>
                        </a:moveTo>
                        <a:cubicBezTo>
                          <a:pt x="0" y="40"/>
                          <a:pt x="8" y="0"/>
                          <a:pt x="54" y="0"/>
                        </a:cubicBezTo>
                        <a:cubicBezTo>
                          <a:pt x="99" y="0"/>
                          <a:pt x="107" y="40"/>
                          <a:pt x="107" y="90"/>
                        </a:cubicBezTo>
                        <a:lnTo>
                          <a:pt x="0" y="90"/>
                        </a:lnTo>
                        <a:close/>
                      </a:path>
                    </a:pathLst>
                  </a:custGeom>
                  <a:solidFill>
                    <a:srgbClr val="0078D7"/>
                  </a:solidFill>
                  <a:ln w="1079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vert="horz" wrap="square" lIns="89639" tIns="44819" rIns="89639" bIns="44819" numCol="1" rtlCol="0" anchor="ctr"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defTabSz="726147" eaLnBrk="1" fontAlgn="auto" latinLnBrk="0" hangingPunct="1">
                      <a:lnSpc>
                        <a:spcPct val="100000"/>
                      </a:lnSpc>
                      <a:spcBef>
                        <a:spcPts val="0"/>
                      </a:spcBef>
                      <a:spcAft>
                        <a:spcPts val="0"/>
                      </a:spcAft>
                      <a:buClrTx/>
                      <a:buSzTx/>
                      <a:buFontTx/>
                      <a:buNone/>
                      <a:tabLst/>
                      <a:defRPr/>
                    </a:pPr>
                    <a:endParaRPr kumimoji="0" lang="en-US" sz="1765" b="0" i="0" u="none" strike="noStrike" kern="0" cap="none" spc="-120" normalizeH="0" baseline="0" noProof="0" dirty="0">
                      <a:ln>
                        <a:noFill/>
                      </a:ln>
                      <a:solidFill>
                        <a:srgbClr val="0078D7"/>
                      </a:solidFill>
                      <a:effectLst/>
                      <a:uLnTx/>
                      <a:uFillTx/>
                      <a:latin typeface="Segoe UI Light" panose="020B0502040204020203" pitchFamily="34" charset="0"/>
                      <a:ea typeface="+mn-ea"/>
                      <a:cs typeface="+mn-cs"/>
                      <a:sym typeface="Segoe UI Light" panose="020B0502040204020203" pitchFamily="34" charset="0"/>
                    </a:endParaRPr>
                  </a:p>
                </p:txBody>
              </p:sp>
              <p:sp>
                <p:nvSpPr>
                  <p:cNvPr id="124" name="Freeform 29">
                    <a:extLst>
                      <a:ext uri="{FF2B5EF4-FFF2-40B4-BE49-F238E27FC236}">
                        <a16:creationId xmlns:a16="http://schemas.microsoft.com/office/drawing/2014/main" id="{C1EB8AC2-3FAD-4EB6-BD69-C98E12A4DC2E}"/>
                      </a:ext>
                    </a:extLst>
                  </p:cNvPr>
                  <p:cNvSpPr>
                    <a:spLocks/>
                  </p:cNvSpPr>
                  <p:nvPr/>
                </p:nvSpPr>
                <p:spPr bwMode="black">
                  <a:xfrm>
                    <a:off x="3958874" y="1230460"/>
                    <a:ext cx="225424" cy="244474"/>
                  </a:xfrm>
                  <a:custGeom>
                    <a:avLst/>
                    <a:gdLst>
                      <a:gd name="T0" fmla="*/ 0 w 60"/>
                      <a:gd name="T1" fmla="*/ 4 h 65"/>
                      <a:gd name="T2" fmla="*/ 14 w 60"/>
                      <a:gd name="T3" fmla="*/ 65 h 65"/>
                      <a:gd name="T4" fmla="*/ 60 w 60"/>
                      <a:gd name="T5" fmla="*/ 65 h 65"/>
                      <a:gd name="T6" fmla="*/ 18 w 60"/>
                      <a:gd name="T7" fmla="*/ 0 h 65"/>
                      <a:gd name="T8" fmla="*/ 0 w 60"/>
                      <a:gd name="T9" fmla="*/ 4 h 65"/>
                    </a:gdLst>
                    <a:ahLst/>
                    <a:cxnLst>
                      <a:cxn ang="0">
                        <a:pos x="T0" y="T1"/>
                      </a:cxn>
                      <a:cxn ang="0">
                        <a:pos x="T2" y="T3"/>
                      </a:cxn>
                      <a:cxn ang="0">
                        <a:pos x="T4" y="T5"/>
                      </a:cxn>
                      <a:cxn ang="0">
                        <a:pos x="T6" y="T7"/>
                      </a:cxn>
                      <a:cxn ang="0">
                        <a:pos x="T8" y="T9"/>
                      </a:cxn>
                    </a:cxnLst>
                    <a:rect l="0" t="0" r="r" b="b"/>
                    <a:pathLst>
                      <a:path w="60" h="65">
                        <a:moveTo>
                          <a:pt x="0" y="4"/>
                        </a:moveTo>
                        <a:cubicBezTo>
                          <a:pt x="11" y="22"/>
                          <a:pt x="14" y="46"/>
                          <a:pt x="14" y="65"/>
                        </a:cubicBezTo>
                        <a:cubicBezTo>
                          <a:pt x="20" y="65"/>
                          <a:pt x="53" y="65"/>
                          <a:pt x="60" y="65"/>
                        </a:cubicBezTo>
                        <a:cubicBezTo>
                          <a:pt x="59" y="19"/>
                          <a:pt x="46" y="0"/>
                          <a:pt x="18" y="0"/>
                        </a:cubicBezTo>
                        <a:cubicBezTo>
                          <a:pt x="11" y="0"/>
                          <a:pt x="5" y="1"/>
                          <a:pt x="0" y="4"/>
                        </a:cubicBezTo>
                        <a:close/>
                      </a:path>
                    </a:pathLst>
                  </a:custGeom>
                  <a:solidFill>
                    <a:srgbClr val="0078D7"/>
                  </a:solidFill>
                  <a:ln w="1079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vert="horz" wrap="square" lIns="89639" tIns="44819" rIns="89639" bIns="44819" numCol="1" rtlCol="0" anchor="ctr"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defTabSz="726147" eaLnBrk="1" fontAlgn="auto" latinLnBrk="0" hangingPunct="1">
                      <a:lnSpc>
                        <a:spcPct val="100000"/>
                      </a:lnSpc>
                      <a:spcBef>
                        <a:spcPts val="0"/>
                      </a:spcBef>
                      <a:spcAft>
                        <a:spcPts val="0"/>
                      </a:spcAft>
                      <a:buClrTx/>
                      <a:buSzTx/>
                      <a:buFontTx/>
                      <a:buNone/>
                      <a:tabLst/>
                      <a:defRPr/>
                    </a:pPr>
                    <a:endParaRPr kumimoji="0" lang="en-US" sz="1765" b="0" i="0" u="none" strike="noStrike" kern="0" cap="none" spc="-120" normalizeH="0" baseline="0" noProof="0" dirty="0">
                      <a:ln>
                        <a:noFill/>
                      </a:ln>
                      <a:solidFill>
                        <a:srgbClr val="0078D7"/>
                      </a:solidFill>
                      <a:effectLst/>
                      <a:uLnTx/>
                      <a:uFillTx/>
                      <a:latin typeface="Segoe UI Light" panose="020B0502040204020203" pitchFamily="34" charset="0"/>
                      <a:ea typeface="+mn-ea"/>
                      <a:cs typeface="+mn-cs"/>
                      <a:sym typeface="Segoe UI Light" panose="020B0502040204020203" pitchFamily="34" charset="0"/>
                    </a:endParaRPr>
                  </a:p>
                </p:txBody>
              </p:sp>
              <p:sp>
                <p:nvSpPr>
                  <p:cNvPr id="125" name="Oval 30">
                    <a:extLst>
                      <a:ext uri="{FF2B5EF4-FFF2-40B4-BE49-F238E27FC236}">
                        <a16:creationId xmlns:a16="http://schemas.microsoft.com/office/drawing/2014/main" id="{E3E27399-0663-47D1-B826-CD8CDC2CA2B7}"/>
                      </a:ext>
                    </a:extLst>
                  </p:cNvPr>
                  <p:cNvSpPr>
                    <a:spLocks noChangeArrowheads="1"/>
                  </p:cNvSpPr>
                  <p:nvPr/>
                </p:nvSpPr>
                <p:spPr bwMode="black">
                  <a:xfrm>
                    <a:off x="3647725" y="930422"/>
                    <a:ext cx="239715" cy="239714"/>
                  </a:xfrm>
                  <a:prstGeom prst="ellipse">
                    <a:avLst/>
                  </a:prstGeom>
                  <a:solidFill>
                    <a:srgbClr val="0078D7"/>
                  </a:solidFill>
                  <a:ln w="1079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vert="horz" wrap="square" lIns="89639" tIns="44819" rIns="89639" bIns="44819" numCol="1" rtlCol="0" anchor="ctr"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defTabSz="726147" eaLnBrk="1" fontAlgn="auto" latinLnBrk="0" hangingPunct="1">
                      <a:lnSpc>
                        <a:spcPct val="100000"/>
                      </a:lnSpc>
                      <a:spcBef>
                        <a:spcPts val="0"/>
                      </a:spcBef>
                      <a:spcAft>
                        <a:spcPts val="0"/>
                      </a:spcAft>
                      <a:buClrTx/>
                      <a:buSzTx/>
                      <a:buFontTx/>
                      <a:buNone/>
                      <a:tabLst/>
                      <a:defRPr/>
                    </a:pPr>
                    <a:endParaRPr kumimoji="0" lang="en-US" sz="1765" b="0" i="0" u="none" strike="noStrike" kern="0" cap="none" spc="-120" normalizeH="0" baseline="0" noProof="0" dirty="0">
                      <a:ln>
                        <a:noFill/>
                      </a:ln>
                      <a:solidFill>
                        <a:srgbClr val="0078D7"/>
                      </a:solidFill>
                      <a:effectLst/>
                      <a:uLnTx/>
                      <a:uFillTx/>
                      <a:latin typeface="Segoe UI Light" panose="020B0502040204020203" pitchFamily="34" charset="0"/>
                      <a:ea typeface="+mn-ea"/>
                      <a:cs typeface="+mn-cs"/>
                      <a:sym typeface="Segoe UI Light" panose="020B0502040204020203" pitchFamily="34" charset="0"/>
                    </a:endParaRPr>
                  </a:p>
                </p:txBody>
              </p:sp>
              <p:sp>
                <p:nvSpPr>
                  <p:cNvPr id="126" name="Oval 31">
                    <a:extLst>
                      <a:ext uri="{FF2B5EF4-FFF2-40B4-BE49-F238E27FC236}">
                        <a16:creationId xmlns:a16="http://schemas.microsoft.com/office/drawing/2014/main" id="{856CA153-A7A8-4FBA-8C3C-58AF84719738}"/>
                      </a:ext>
                    </a:extLst>
                  </p:cNvPr>
                  <p:cNvSpPr>
                    <a:spLocks noChangeArrowheads="1"/>
                  </p:cNvSpPr>
                  <p:nvPr/>
                </p:nvSpPr>
                <p:spPr bwMode="black">
                  <a:xfrm>
                    <a:off x="3933465" y="1020912"/>
                    <a:ext cx="182565" cy="179386"/>
                  </a:xfrm>
                  <a:prstGeom prst="ellipse">
                    <a:avLst/>
                  </a:prstGeom>
                  <a:solidFill>
                    <a:srgbClr val="0078D7"/>
                  </a:solidFill>
                  <a:ln w="1079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vert="horz" wrap="square" lIns="89639" tIns="44819" rIns="89639" bIns="44819" numCol="1" rtlCol="0" anchor="ctr"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defTabSz="726147" eaLnBrk="1" fontAlgn="auto" latinLnBrk="0" hangingPunct="1">
                      <a:lnSpc>
                        <a:spcPct val="100000"/>
                      </a:lnSpc>
                      <a:spcBef>
                        <a:spcPts val="0"/>
                      </a:spcBef>
                      <a:spcAft>
                        <a:spcPts val="0"/>
                      </a:spcAft>
                      <a:buClrTx/>
                      <a:buSzTx/>
                      <a:buFontTx/>
                      <a:buNone/>
                      <a:tabLst/>
                      <a:defRPr/>
                    </a:pPr>
                    <a:endParaRPr kumimoji="0" lang="en-US" sz="1765" b="0" i="0" u="none" strike="noStrike" kern="0" cap="none" spc="-120" normalizeH="0" baseline="0" noProof="0" dirty="0">
                      <a:ln>
                        <a:noFill/>
                      </a:ln>
                      <a:solidFill>
                        <a:srgbClr val="0078D7"/>
                      </a:solidFill>
                      <a:effectLst/>
                      <a:uLnTx/>
                      <a:uFillTx/>
                      <a:latin typeface="Segoe UI Light" panose="020B0502040204020203" pitchFamily="34" charset="0"/>
                      <a:ea typeface="+mn-ea"/>
                      <a:cs typeface="+mn-cs"/>
                      <a:sym typeface="Segoe UI Light" panose="020B0502040204020203" pitchFamily="34" charset="0"/>
                    </a:endParaRPr>
                  </a:p>
                </p:txBody>
              </p:sp>
            </p:grpSp>
            <p:sp>
              <p:nvSpPr>
                <p:cNvPr id="120" name="Freeform 104">
                  <a:extLst>
                    <a:ext uri="{FF2B5EF4-FFF2-40B4-BE49-F238E27FC236}">
                      <a16:creationId xmlns:a16="http://schemas.microsoft.com/office/drawing/2014/main" id="{EBFC8D41-CFBF-4089-9247-9411090B522A}"/>
                    </a:ext>
                  </a:extLst>
                </p:cNvPr>
                <p:cNvSpPr/>
                <p:nvPr/>
              </p:nvSpPr>
              <p:spPr bwMode="auto">
                <a:xfrm>
                  <a:off x="4299686" y="4922138"/>
                  <a:ext cx="372121" cy="372121"/>
                </a:xfrm>
                <a:custGeom>
                  <a:avLst/>
                  <a:gdLst>
                    <a:gd name="connsiteX0" fmla="*/ 800305 w 1451284"/>
                    <a:gd name="connsiteY0" fmla="*/ 624673 h 1451284"/>
                    <a:gd name="connsiteX1" fmla="*/ 812483 w 1451284"/>
                    <a:gd name="connsiteY1" fmla="*/ 630579 h 1451284"/>
                    <a:gd name="connsiteX2" fmla="*/ 822416 w 1451284"/>
                    <a:gd name="connsiteY2" fmla="*/ 640166 h 1451284"/>
                    <a:gd name="connsiteX3" fmla="*/ 854636 w 1451284"/>
                    <a:gd name="connsiteY3" fmla="*/ 732805 h 1451284"/>
                    <a:gd name="connsiteX4" fmla="*/ 810134 w 1451284"/>
                    <a:gd name="connsiteY4" fmla="*/ 838666 h 1451284"/>
                    <a:gd name="connsiteX5" fmla="*/ 787498 w 1451284"/>
                    <a:gd name="connsiteY5" fmla="*/ 818127 h 1451284"/>
                    <a:gd name="connsiteX6" fmla="*/ 826458 w 1451284"/>
                    <a:gd name="connsiteY6" fmla="*/ 728114 h 1451284"/>
                    <a:gd name="connsiteX7" fmla="*/ 792653 w 1451284"/>
                    <a:gd name="connsiteY7" fmla="*/ 651457 h 1451284"/>
                    <a:gd name="connsiteX8" fmla="*/ 800305 w 1451284"/>
                    <a:gd name="connsiteY8" fmla="*/ 624673 h 1451284"/>
                    <a:gd name="connsiteX9" fmla="*/ 858439 w 1451284"/>
                    <a:gd name="connsiteY9" fmla="*/ 567432 h 1451284"/>
                    <a:gd name="connsiteX10" fmla="*/ 868785 w 1451284"/>
                    <a:gd name="connsiteY10" fmla="*/ 571662 h 1451284"/>
                    <a:gd name="connsiteX11" fmla="*/ 935671 w 1451284"/>
                    <a:gd name="connsiteY11" fmla="*/ 728936 h 1451284"/>
                    <a:gd name="connsiteX12" fmla="*/ 867784 w 1451284"/>
                    <a:gd name="connsiteY12" fmla="*/ 897275 h 1451284"/>
                    <a:gd name="connsiteX13" fmla="*/ 846659 w 1451284"/>
                    <a:gd name="connsiteY13" fmla="*/ 876454 h 1451284"/>
                    <a:gd name="connsiteX14" fmla="*/ 904790 w 1451284"/>
                    <a:gd name="connsiteY14" fmla="*/ 723227 h 1451284"/>
                    <a:gd name="connsiteX15" fmla="*/ 848940 w 1451284"/>
                    <a:gd name="connsiteY15" fmla="*/ 592198 h 1451284"/>
                    <a:gd name="connsiteX16" fmla="*/ 858439 w 1451284"/>
                    <a:gd name="connsiteY16" fmla="*/ 567432 h 1451284"/>
                    <a:gd name="connsiteX17" fmla="*/ 919476 w 1451284"/>
                    <a:gd name="connsiteY17" fmla="*/ 504214 h 1451284"/>
                    <a:gd name="connsiteX18" fmla="*/ 930334 w 1451284"/>
                    <a:gd name="connsiteY18" fmla="*/ 508268 h 1451284"/>
                    <a:gd name="connsiteX19" fmla="*/ 1024733 w 1451284"/>
                    <a:gd name="connsiteY19" fmla="*/ 722809 h 1451284"/>
                    <a:gd name="connsiteX20" fmla="*/ 927202 w 1451284"/>
                    <a:gd name="connsiteY20" fmla="*/ 962094 h 1451284"/>
                    <a:gd name="connsiteX21" fmla="*/ 908081 w 1451284"/>
                    <a:gd name="connsiteY21" fmla="*/ 940683 h 1451284"/>
                    <a:gd name="connsiteX22" fmla="*/ 995485 w 1451284"/>
                    <a:gd name="connsiteY22" fmla="*/ 718839 h 1451284"/>
                    <a:gd name="connsiteX23" fmla="*/ 911325 w 1451284"/>
                    <a:gd name="connsiteY23" fmla="*/ 528322 h 1451284"/>
                    <a:gd name="connsiteX24" fmla="*/ 919476 w 1451284"/>
                    <a:gd name="connsiteY24" fmla="*/ 504214 h 1451284"/>
                    <a:gd name="connsiteX25" fmla="*/ 735692 w 1451284"/>
                    <a:gd name="connsiteY25" fmla="*/ 441626 h 1451284"/>
                    <a:gd name="connsiteX26" fmla="*/ 735692 w 1451284"/>
                    <a:gd name="connsiteY26" fmla="*/ 1014430 h 1451284"/>
                    <a:gd name="connsiteX27" fmla="*/ 548631 w 1451284"/>
                    <a:gd name="connsiteY27" fmla="*/ 881940 h 1451284"/>
                    <a:gd name="connsiteX28" fmla="*/ 548631 w 1451284"/>
                    <a:gd name="connsiteY28" fmla="*/ 881411 h 1451284"/>
                    <a:gd name="connsiteX29" fmla="*/ 400502 w 1451284"/>
                    <a:gd name="connsiteY29" fmla="*/ 881411 h 1451284"/>
                    <a:gd name="connsiteX30" fmla="*/ 349373 w 1451284"/>
                    <a:gd name="connsiteY30" fmla="*/ 830282 h 1451284"/>
                    <a:gd name="connsiteX31" fmla="*/ 349373 w 1451284"/>
                    <a:gd name="connsiteY31" fmla="*/ 625772 h 1451284"/>
                    <a:gd name="connsiteX32" fmla="*/ 400502 w 1451284"/>
                    <a:gd name="connsiteY32" fmla="*/ 574643 h 1451284"/>
                    <a:gd name="connsiteX33" fmla="*/ 548631 w 1451284"/>
                    <a:gd name="connsiteY33" fmla="*/ 574643 h 1451284"/>
                    <a:gd name="connsiteX34" fmla="*/ 548631 w 1451284"/>
                    <a:gd name="connsiteY34" fmla="*/ 574116 h 1451284"/>
                    <a:gd name="connsiteX35" fmla="*/ 993719 w 1451284"/>
                    <a:gd name="connsiteY35" fmla="*/ 431688 h 1451284"/>
                    <a:gd name="connsiteX36" fmla="*/ 1003746 w 1451284"/>
                    <a:gd name="connsiteY36" fmla="*/ 435111 h 1451284"/>
                    <a:gd name="connsiteX37" fmla="*/ 1125563 w 1451284"/>
                    <a:gd name="connsiteY37" fmla="*/ 717238 h 1451284"/>
                    <a:gd name="connsiteX38" fmla="*/ 1001601 w 1451284"/>
                    <a:gd name="connsiteY38" fmla="*/ 1031832 h 1451284"/>
                    <a:gd name="connsiteX39" fmla="*/ 979164 w 1451284"/>
                    <a:gd name="connsiteY39" fmla="*/ 1012635 h 1451284"/>
                    <a:gd name="connsiteX40" fmla="*/ 1094710 w 1451284"/>
                    <a:gd name="connsiteY40" fmla="*/ 714343 h 1451284"/>
                    <a:gd name="connsiteX41" fmla="*/ 982794 w 1451284"/>
                    <a:gd name="connsiteY41" fmla="*/ 456612 h 1451284"/>
                    <a:gd name="connsiteX42" fmla="*/ 993719 w 1451284"/>
                    <a:gd name="connsiteY42" fmla="*/ 431688 h 1451284"/>
                    <a:gd name="connsiteX43" fmla="*/ 725642 w 1451284"/>
                    <a:gd name="connsiteY43" fmla="*/ 111067 h 1451284"/>
                    <a:gd name="connsiteX44" fmla="*/ 111067 w 1451284"/>
                    <a:gd name="connsiteY44" fmla="*/ 725642 h 1451284"/>
                    <a:gd name="connsiteX45" fmla="*/ 725642 w 1451284"/>
                    <a:gd name="connsiteY45" fmla="*/ 1340217 h 1451284"/>
                    <a:gd name="connsiteX46" fmla="*/ 1340217 w 1451284"/>
                    <a:gd name="connsiteY46" fmla="*/ 725642 h 1451284"/>
                    <a:gd name="connsiteX47" fmla="*/ 725642 w 1451284"/>
                    <a:gd name="connsiteY47" fmla="*/ 111067 h 1451284"/>
                    <a:gd name="connsiteX48" fmla="*/ 725642 w 1451284"/>
                    <a:gd name="connsiteY48" fmla="*/ 0 h 1451284"/>
                    <a:gd name="connsiteX49" fmla="*/ 1451284 w 1451284"/>
                    <a:gd name="connsiteY49" fmla="*/ 725642 h 1451284"/>
                    <a:gd name="connsiteX50" fmla="*/ 725642 w 1451284"/>
                    <a:gd name="connsiteY50" fmla="*/ 1451284 h 1451284"/>
                    <a:gd name="connsiteX51" fmla="*/ 0 w 1451284"/>
                    <a:gd name="connsiteY51" fmla="*/ 725642 h 1451284"/>
                    <a:gd name="connsiteX52" fmla="*/ 725642 w 1451284"/>
                    <a:gd name="connsiteY52" fmla="*/ 0 h 1451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451284" h="1451284">
                      <a:moveTo>
                        <a:pt x="800305" y="624673"/>
                      </a:moveTo>
                      <a:cubicBezTo>
                        <a:pt x="804263" y="624847"/>
                        <a:pt x="808555" y="626629"/>
                        <a:pt x="812483" y="630579"/>
                      </a:cubicBezTo>
                      <a:cubicBezTo>
                        <a:pt x="814674" y="632521"/>
                        <a:pt x="818248" y="635586"/>
                        <a:pt x="822416" y="640166"/>
                      </a:cubicBezTo>
                      <a:cubicBezTo>
                        <a:pt x="834917" y="653904"/>
                        <a:pt x="852757" y="681269"/>
                        <a:pt x="854636" y="732805"/>
                      </a:cubicBezTo>
                      <a:cubicBezTo>
                        <a:pt x="856208" y="788624"/>
                        <a:pt x="834061" y="815276"/>
                        <a:pt x="810134" y="838666"/>
                      </a:cubicBezTo>
                      <a:cubicBezTo>
                        <a:pt x="792696" y="853050"/>
                        <a:pt x="776895" y="828264"/>
                        <a:pt x="787498" y="818127"/>
                      </a:cubicBezTo>
                      <a:cubicBezTo>
                        <a:pt x="806555" y="800558"/>
                        <a:pt x="826786" y="769442"/>
                        <a:pt x="826458" y="728114"/>
                      </a:cubicBezTo>
                      <a:cubicBezTo>
                        <a:pt x="822616" y="700403"/>
                        <a:pt x="821172" y="680573"/>
                        <a:pt x="792653" y="651457"/>
                      </a:cubicBezTo>
                      <a:cubicBezTo>
                        <a:pt x="779583" y="638099"/>
                        <a:pt x="788435" y="624149"/>
                        <a:pt x="800305" y="624673"/>
                      </a:cubicBezTo>
                      <a:close/>
                      <a:moveTo>
                        <a:pt x="858439" y="567432"/>
                      </a:moveTo>
                      <a:cubicBezTo>
                        <a:pt x="862095" y="567417"/>
                        <a:pt x="865813" y="568700"/>
                        <a:pt x="868785" y="571662"/>
                      </a:cubicBezTo>
                      <a:cubicBezTo>
                        <a:pt x="931599" y="634384"/>
                        <a:pt x="931761" y="691648"/>
                        <a:pt x="935671" y="728936"/>
                      </a:cubicBezTo>
                      <a:cubicBezTo>
                        <a:pt x="935829" y="813522"/>
                        <a:pt x="905027" y="860850"/>
                        <a:pt x="867784" y="897275"/>
                      </a:cubicBezTo>
                      <a:cubicBezTo>
                        <a:pt x="853796" y="909865"/>
                        <a:pt x="832270" y="890174"/>
                        <a:pt x="846659" y="876454"/>
                      </a:cubicBezTo>
                      <a:cubicBezTo>
                        <a:pt x="879962" y="845417"/>
                        <a:pt x="906693" y="785829"/>
                        <a:pt x="904790" y="723227"/>
                      </a:cubicBezTo>
                      <a:cubicBezTo>
                        <a:pt x="900064" y="681357"/>
                        <a:pt x="891058" y="635215"/>
                        <a:pt x="848940" y="592198"/>
                      </a:cubicBezTo>
                      <a:cubicBezTo>
                        <a:pt x="837048" y="579187"/>
                        <a:pt x="847469" y="567475"/>
                        <a:pt x="858439" y="567432"/>
                      </a:cubicBezTo>
                      <a:close/>
                      <a:moveTo>
                        <a:pt x="919476" y="504214"/>
                      </a:moveTo>
                      <a:cubicBezTo>
                        <a:pt x="922773" y="503832"/>
                        <a:pt x="926511" y="504941"/>
                        <a:pt x="930334" y="508268"/>
                      </a:cubicBezTo>
                      <a:cubicBezTo>
                        <a:pt x="1015650" y="593406"/>
                        <a:pt x="1020356" y="671259"/>
                        <a:pt x="1024733" y="722809"/>
                      </a:cubicBezTo>
                      <a:cubicBezTo>
                        <a:pt x="1026256" y="841802"/>
                        <a:pt x="974115" y="916241"/>
                        <a:pt x="927202" y="962094"/>
                      </a:cubicBezTo>
                      <a:cubicBezTo>
                        <a:pt x="917441" y="971893"/>
                        <a:pt x="895341" y="954413"/>
                        <a:pt x="908081" y="940683"/>
                      </a:cubicBezTo>
                      <a:cubicBezTo>
                        <a:pt x="955113" y="896753"/>
                        <a:pt x="1001451" y="806841"/>
                        <a:pt x="995485" y="718839"/>
                      </a:cubicBezTo>
                      <a:cubicBezTo>
                        <a:pt x="992393" y="662327"/>
                        <a:pt x="971270" y="587633"/>
                        <a:pt x="911325" y="528322"/>
                      </a:cubicBezTo>
                      <a:cubicBezTo>
                        <a:pt x="903671" y="519928"/>
                        <a:pt x="909588" y="505359"/>
                        <a:pt x="919476" y="504214"/>
                      </a:cubicBezTo>
                      <a:close/>
                      <a:moveTo>
                        <a:pt x="735692" y="441626"/>
                      </a:moveTo>
                      <a:lnTo>
                        <a:pt x="735692" y="1014430"/>
                      </a:lnTo>
                      <a:lnTo>
                        <a:pt x="548631" y="881940"/>
                      </a:lnTo>
                      <a:lnTo>
                        <a:pt x="548631" y="881411"/>
                      </a:lnTo>
                      <a:lnTo>
                        <a:pt x="400502" y="881411"/>
                      </a:lnTo>
                      <a:cubicBezTo>
                        <a:pt x="372264" y="881411"/>
                        <a:pt x="349373" y="858520"/>
                        <a:pt x="349373" y="830282"/>
                      </a:cubicBezTo>
                      <a:lnTo>
                        <a:pt x="349373" y="625772"/>
                      </a:lnTo>
                      <a:cubicBezTo>
                        <a:pt x="349373" y="597534"/>
                        <a:pt x="372264" y="574643"/>
                        <a:pt x="400502" y="574643"/>
                      </a:cubicBezTo>
                      <a:lnTo>
                        <a:pt x="548631" y="574643"/>
                      </a:lnTo>
                      <a:lnTo>
                        <a:pt x="548631" y="574116"/>
                      </a:lnTo>
                      <a:close/>
                      <a:moveTo>
                        <a:pt x="993719" y="431688"/>
                      </a:moveTo>
                      <a:cubicBezTo>
                        <a:pt x="997159" y="431174"/>
                        <a:pt x="1000711" y="432091"/>
                        <a:pt x="1003746" y="435111"/>
                      </a:cubicBezTo>
                      <a:cubicBezTo>
                        <a:pt x="1107448" y="540238"/>
                        <a:pt x="1121261" y="651044"/>
                        <a:pt x="1125563" y="717238"/>
                      </a:cubicBezTo>
                      <a:cubicBezTo>
                        <a:pt x="1129035" y="872241"/>
                        <a:pt x="1063170" y="971654"/>
                        <a:pt x="1001601" y="1031832"/>
                      </a:cubicBezTo>
                      <a:cubicBezTo>
                        <a:pt x="988790" y="1044692"/>
                        <a:pt x="965118" y="1026269"/>
                        <a:pt x="979164" y="1012635"/>
                      </a:cubicBezTo>
                      <a:cubicBezTo>
                        <a:pt x="1040885" y="954974"/>
                        <a:pt x="1102312" y="829608"/>
                        <a:pt x="1094710" y="714343"/>
                      </a:cubicBezTo>
                      <a:cubicBezTo>
                        <a:pt x="1090797" y="640322"/>
                        <a:pt x="1061180" y="534162"/>
                        <a:pt x="982794" y="456612"/>
                      </a:cubicBezTo>
                      <a:cubicBezTo>
                        <a:pt x="974089" y="447618"/>
                        <a:pt x="983399" y="433226"/>
                        <a:pt x="993719" y="431688"/>
                      </a:cubicBezTo>
                      <a:close/>
                      <a:moveTo>
                        <a:pt x="725642" y="111067"/>
                      </a:moveTo>
                      <a:cubicBezTo>
                        <a:pt x="386222" y="111067"/>
                        <a:pt x="111067" y="386222"/>
                        <a:pt x="111067" y="725642"/>
                      </a:cubicBezTo>
                      <a:cubicBezTo>
                        <a:pt x="111067" y="1065062"/>
                        <a:pt x="386222" y="1340217"/>
                        <a:pt x="725642" y="1340217"/>
                      </a:cubicBezTo>
                      <a:cubicBezTo>
                        <a:pt x="1065062" y="1340217"/>
                        <a:pt x="1340217" y="1065062"/>
                        <a:pt x="1340217" y="725642"/>
                      </a:cubicBezTo>
                      <a:cubicBezTo>
                        <a:pt x="1340217" y="386222"/>
                        <a:pt x="1065062" y="111067"/>
                        <a:pt x="725642" y="111067"/>
                      </a:cubicBezTo>
                      <a:close/>
                      <a:moveTo>
                        <a:pt x="725642" y="0"/>
                      </a:moveTo>
                      <a:cubicBezTo>
                        <a:pt x="1126403" y="0"/>
                        <a:pt x="1451284" y="324881"/>
                        <a:pt x="1451284" y="725642"/>
                      </a:cubicBezTo>
                      <a:cubicBezTo>
                        <a:pt x="1451284" y="1126403"/>
                        <a:pt x="1126403" y="1451284"/>
                        <a:pt x="725642" y="1451284"/>
                      </a:cubicBezTo>
                      <a:cubicBezTo>
                        <a:pt x="324881" y="1451284"/>
                        <a:pt x="0" y="1126403"/>
                        <a:pt x="0" y="725642"/>
                      </a:cubicBezTo>
                      <a:cubicBezTo>
                        <a:pt x="0" y="324881"/>
                        <a:pt x="324881" y="0"/>
                        <a:pt x="725642" y="0"/>
                      </a:cubicBez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solidFill>
                      <a:srgbClr val="0078D7"/>
                    </a:solidFill>
                    <a:effectLst/>
                    <a:uLnTx/>
                    <a:uFillTx/>
                    <a:latin typeface="Segoe UI Semilight"/>
                    <a:ea typeface="Segoe UI" pitchFamily="34" charset="0"/>
                    <a:cs typeface="Segoe UI" pitchFamily="34" charset="0"/>
                  </a:endParaRPr>
                </a:p>
              </p:txBody>
            </p:sp>
          </p:grpSp>
        </p:grpSp>
      </p:grpSp>
      <p:sp>
        <p:nvSpPr>
          <p:cNvPr id="127" name="Rectangle 126">
            <a:extLst>
              <a:ext uri="{FF2B5EF4-FFF2-40B4-BE49-F238E27FC236}">
                <a16:creationId xmlns:a16="http://schemas.microsoft.com/office/drawing/2014/main" id="{98E5C39E-A00A-44E8-BA5B-B74A745CBC12}"/>
              </a:ext>
            </a:extLst>
          </p:cNvPr>
          <p:cNvSpPr/>
          <p:nvPr/>
        </p:nvSpPr>
        <p:spPr bwMode="auto">
          <a:xfrm>
            <a:off x="4161696" y="1639932"/>
            <a:ext cx="3612592" cy="3038880"/>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defTabSz="913949" eaLnBrk="1" fontAlgn="auto" latinLnBrk="0" hangingPunct="1">
              <a:lnSpc>
                <a:spcPct val="100000"/>
              </a:lnSpc>
              <a:spcBef>
                <a:spcPts val="0"/>
              </a:spcBef>
              <a:spcAft>
                <a:spcPts val="0"/>
              </a:spcAft>
              <a:buClrTx/>
              <a:buSzTx/>
              <a:buFontTx/>
              <a:buNone/>
              <a:tabLst/>
              <a:defRPr/>
            </a:pPr>
            <a:r>
              <a:rPr kumimoji="0" lang="en-US" sz="2745" b="0" i="0" u="none" strike="noStrike" kern="0" cap="none" spc="0" normalizeH="0" baseline="0" noProof="0" dirty="0">
                <a:ln>
                  <a:noFill/>
                </a:ln>
                <a:gradFill>
                  <a:gsLst>
                    <a:gs pos="17073">
                      <a:srgbClr val="FFFFFF"/>
                    </a:gs>
                    <a:gs pos="51000">
                      <a:srgbClr val="FFFFFF"/>
                    </a:gs>
                  </a:gsLst>
                  <a:lin ang="5400000" scaled="0"/>
                </a:gradFill>
                <a:effectLst/>
                <a:uLnTx/>
                <a:uFillTx/>
              </a:rPr>
              <a:t>Dynamic</a:t>
            </a:r>
            <a:r>
              <a:rPr kumimoji="0" lang="en-US" sz="1961" b="0" i="0" u="none" strike="noStrike" kern="0" cap="none" spc="0" normalizeH="0" baseline="0" noProof="0" dirty="0">
                <a:ln>
                  <a:noFill/>
                </a:ln>
                <a:gradFill>
                  <a:gsLst>
                    <a:gs pos="17073">
                      <a:srgbClr val="FFFFFF"/>
                    </a:gs>
                    <a:gs pos="51000">
                      <a:srgbClr val="FFFFFF"/>
                    </a:gs>
                  </a:gsLst>
                  <a:lin ang="5400000" scaled="0"/>
                </a:gradFill>
                <a:effectLst/>
                <a:uLnTx/>
                <a:uFillTx/>
              </a:rPr>
              <a:t>—actions that take place in real time, rather than in advance</a:t>
            </a:r>
          </a:p>
        </p:txBody>
      </p:sp>
      <p:sp>
        <p:nvSpPr>
          <p:cNvPr id="128" name="Rectangle 127">
            <a:extLst>
              <a:ext uri="{FF2B5EF4-FFF2-40B4-BE49-F238E27FC236}">
                <a16:creationId xmlns:a16="http://schemas.microsoft.com/office/drawing/2014/main" id="{085675A2-F430-4574-969B-89A76E4080CF}"/>
              </a:ext>
            </a:extLst>
          </p:cNvPr>
          <p:cNvSpPr/>
          <p:nvPr/>
        </p:nvSpPr>
        <p:spPr bwMode="auto">
          <a:xfrm>
            <a:off x="460938" y="1639931"/>
            <a:ext cx="3612592" cy="3038880"/>
          </a:xfrm>
          <a:prstGeom prst="rect">
            <a:avLst/>
          </a:prstGeom>
          <a:solidFill>
            <a:schemeClr val="accent2">
              <a:lumMod val="75000"/>
              <a:lumOff val="25000"/>
            </a:schemeClr>
          </a:solidFill>
          <a:ln w="9525" cap="flat" cmpd="sng" algn="ctr">
            <a:noFill/>
            <a:prstDash val="solid"/>
            <a:headEnd type="none" w="med" len="med"/>
            <a:tailEnd type="none" w="med" len="med"/>
          </a:ln>
          <a:effectLst/>
        </p:spPr>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defTabSz="913949" eaLnBrk="1" fontAlgn="auto" latinLnBrk="0" hangingPunct="1">
              <a:lnSpc>
                <a:spcPct val="100000"/>
              </a:lnSpc>
              <a:spcBef>
                <a:spcPts val="0"/>
              </a:spcBef>
              <a:spcAft>
                <a:spcPts val="0"/>
              </a:spcAft>
              <a:buClrTx/>
              <a:buSzTx/>
              <a:buFontTx/>
              <a:buNone/>
              <a:tabLst/>
              <a:defRPr/>
            </a:pPr>
            <a:r>
              <a:rPr kumimoji="0" lang="en-US" sz="2745" b="0" i="0" u="none" strike="noStrike" kern="0" cap="none" spc="0" normalizeH="0" baseline="0" noProof="0" dirty="0">
                <a:ln>
                  <a:noFill/>
                </a:ln>
                <a:gradFill>
                  <a:gsLst>
                    <a:gs pos="17073">
                      <a:srgbClr val="FFFFFF"/>
                    </a:gs>
                    <a:gs pos="51000">
                      <a:srgbClr val="FFFFFF"/>
                    </a:gs>
                  </a:gsLst>
                  <a:lin ang="5400000" scaled="0"/>
                </a:gradFill>
                <a:effectLst/>
                <a:uLnTx/>
                <a:uFillTx/>
              </a:rPr>
              <a:t>Static</a:t>
            </a:r>
            <a:r>
              <a:rPr kumimoji="0" lang="en-US" sz="1961" b="0" i="0" u="none" strike="noStrike" kern="0" cap="none" spc="0" normalizeH="0" baseline="0" noProof="0" dirty="0">
                <a:ln>
                  <a:noFill/>
                </a:ln>
                <a:gradFill>
                  <a:gsLst>
                    <a:gs pos="17073">
                      <a:srgbClr val="FFFFFF"/>
                    </a:gs>
                    <a:gs pos="51000">
                      <a:srgbClr val="FFFFFF"/>
                    </a:gs>
                  </a:gsLst>
                  <a:lin ang="5400000" scaled="0"/>
                </a:gradFill>
                <a:effectLst/>
                <a:uLnTx/>
                <a:uFillTx/>
              </a:rPr>
              <a:t>—fixed objects that aren’t capable of action </a:t>
            </a:r>
            <a:br>
              <a:rPr kumimoji="0" lang="en-US" sz="1961" b="0" i="0" u="none" strike="noStrike" kern="0" cap="none" spc="0" normalizeH="0" baseline="0" noProof="0" dirty="0">
                <a:ln>
                  <a:noFill/>
                </a:ln>
                <a:gradFill>
                  <a:gsLst>
                    <a:gs pos="17073">
                      <a:srgbClr val="FFFFFF"/>
                    </a:gs>
                    <a:gs pos="51000">
                      <a:srgbClr val="FFFFFF"/>
                    </a:gs>
                  </a:gsLst>
                  <a:lin ang="5400000" scaled="0"/>
                </a:gradFill>
                <a:effectLst/>
                <a:uLnTx/>
                <a:uFillTx/>
              </a:rPr>
            </a:br>
            <a:r>
              <a:rPr kumimoji="0" lang="en-US" sz="1961" b="0" i="0" u="none" strike="noStrike" kern="0" cap="none" spc="0" normalizeH="0" baseline="0" noProof="0" dirty="0">
                <a:ln>
                  <a:noFill/>
                </a:ln>
                <a:gradFill>
                  <a:gsLst>
                    <a:gs pos="17073">
                      <a:srgbClr val="FFFFFF"/>
                    </a:gs>
                    <a:gs pos="51000">
                      <a:srgbClr val="FFFFFF"/>
                    </a:gs>
                  </a:gsLst>
                  <a:lin ang="5400000" scaled="0"/>
                </a:gradFill>
                <a:effectLst/>
                <a:uLnTx/>
                <a:uFillTx/>
              </a:rPr>
              <a:t>or change</a:t>
            </a:r>
          </a:p>
        </p:txBody>
      </p:sp>
      <p:grpSp>
        <p:nvGrpSpPr>
          <p:cNvPr id="129" name="Group 128">
            <a:extLst>
              <a:ext uri="{FF2B5EF4-FFF2-40B4-BE49-F238E27FC236}">
                <a16:creationId xmlns:a16="http://schemas.microsoft.com/office/drawing/2014/main" id="{795FE636-5CBF-4F6B-82CB-F20534B16F58}"/>
              </a:ext>
            </a:extLst>
          </p:cNvPr>
          <p:cNvGrpSpPr/>
          <p:nvPr/>
        </p:nvGrpSpPr>
        <p:grpSpPr>
          <a:xfrm>
            <a:off x="460938" y="2721905"/>
            <a:ext cx="3612592" cy="1863818"/>
            <a:chOff x="585216" y="2324626"/>
            <a:chExt cx="3685032" cy="1901191"/>
          </a:xfrm>
        </p:grpSpPr>
        <p:sp>
          <p:nvSpPr>
            <p:cNvPr id="130" name="Rectangle 129">
              <a:extLst>
                <a:ext uri="{FF2B5EF4-FFF2-40B4-BE49-F238E27FC236}">
                  <a16:creationId xmlns:a16="http://schemas.microsoft.com/office/drawing/2014/main" id="{C1BDD8A6-8F96-4097-B178-A2DE49487768}"/>
                </a:ext>
              </a:extLst>
            </p:cNvPr>
            <p:cNvSpPr/>
            <p:nvPr/>
          </p:nvSpPr>
          <p:spPr bwMode="auto">
            <a:xfrm>
              <a:off x="585216" y="2324626"/>
              <a:ext cx="3685032" cy="936289"/>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34464" tIns="89642" rIns="134464" bIns="89642"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defTabSz="896386" eaLnBrk="1" fontAlgn="auto" latinLnBrk="0" hangingPunct="1">
                <a:lnSpc>
                  <a:spcPct val="100000"/>
                </a:lnSpc>
                <a:spcBef>
                  <a:spcPts val="196"/>
                </a:spcBef>
                <a:spcAft>
                  <a:spcPts val="196"/>
                </a:spcAft>
                <a:buClrTx/>
                <a:buSzTx/>
                <a:buFontTx/>
                <a:buNone/>
                <a:tabLst/>
                <a:defRPr/>
              </a:pPr>
              <a:r>
                <a:rPr kumimoji="0" lang="en-US" sz="1765" b="0" i="0" u="none" strike="noStrike" kern="0" cap="none" spc="0" normalizeH="0" baseline="0" noProof="0" dirty="0">
                  <a:ln>
                    <a:noFill/>
                  </a:ln>
                  <a:gradFill>
                    <a:gsLst>
                      <a:gs pos="20732">
                        <a:srgbClr val="0078D7"/>
                      </a:gs>
                      <a:gs pos="70000">
                        <a:srgbClr val="0078D7"/>
                      </a:gs>
                    </a:gsLst>
                    <a:lin ang="5400000" scaled="0"/>
                  </a:gradFill>
                  <a:effectLst/>
                  <a:uLnTx/>
                  <a:uFillTx/>
                  <a:latin typeface="Segoe UI Semibold" panose="020B0702040204020203" pitchFamily="34" charset="0"/>
                </a:rPr>
                <a:t>Code</a:t>
              </a:r>
            </a:p>
          </p:txBody>
        </p:sp>
        <p:sp>
          <p:nvSpPr>
            <p:cNvPr id="131" name="Rectangle 130">
              <a:extLst>
                <a:ext uri="{FF2B5EF4-FFF2-40B4-BE49-F238E27FC236}">
                  <a16:creationId xmlns:a16="http://schemas.microsoft.com/office/drawing/2014/main" id="{30B16179-D957-43CB-8CB2-A334654C3DA9}"/>
                </a:ext>
              </a:extLst>
            </p:cNvPr>
            <p:cNvSpPr/>
            <p:nvPr/>
          </p:nvSpPr>
          <p:spPr bwMode="auto">
            <a:xfrm>
              <a:off x="585216" y="3289528"/>
              <a:ext cx="3685032" cy="936289"/>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34464" tIns="89642" rIns="134464" bIns="89642"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defTabSz="896386" eaLnBrk="1" fontAlgn="auto" latinLnBrk="0" hangingPunct="1">
                <a:lnSpc>
                  <a:spcPct val="100000"/>
                </a:lnSpc>
                <a:spcBef>
                  <a:spcPts val="196"/>
                </a:spcBef>
                <a:spcAft>
                  <a:spcPts val="196"/>
                </a:spcAft>
                <a:buClrTx/>
                <a:buSzTx/>
                <a:buFontTx/>
                <a:buNone/>
                <a:tabLst/>
                <a:defRPr/>
              </a:pPr>
              <a:r>
                <a:rPr kumimoji="0" lang="en-US" sz="1765" b="0" i="0" u="none" strike="noStrike" kern="0" cap="none" spc="0" normalizeH="0" baseline="0" noProof="0" dirty="0">
                  <a:ln>
                    <a:noFill/>
                  </a:ln>
                  <a:gradFill>
                    <a:gsLst>
                      <a:gs pos="20732">
                        <a:srgbClr val="0078D7"/>
                      </a:gs>
                      <a:gs pos="70000">
                        <a:srgbClr val="0078D7"/>
                      </a:gs>
                    </a:gsLst>
                    <a:lin ang="5400000" scaled="0"/>
                  </a:gradFill>
                  <a:effectLst/>
                  <a:uLnTx/>
                  <a:uFillTx/>
                  <a:latin typeface="Segoe UI Semibold" panose="020B0702040204020203" pitchFamily="34" charset="0"/>
                </a:rPr>
                <a:t>Downloads</a:t>
              </a:r>
            </a:p>
          </p:txBody>
        </p:sp>
        <p:sp>
          <p:nvSpPr>
            <p:cNvPr id="132" name="Oval 50">
              <a:extLst>
                <a:ext uri="{FF2B5EF4-FFF2-40B4-BE49-F238E27FC236}">
                  <a16:creationId xmlns:a16="http://schemas.microsoft.com/office/drawing/2014/main" id="{EAB57183-734D-4AFA-A4E4-2E63FCD7285D}"/>
                </a:ext>
              </a:extLst>
            </p:cNvPr>
            <p:cNvSpPr/>
            <p:nvPr/>
          </p:nvSpPr>
          <p:spPr bwMode="auto">
            <a:xfrm>
              <a:off x="2758647" y="3464746"/>
              <a:ext cx="553633" cy="585853"/>
            </a:xfrm>
            <a:custGeom>
              <a:avLst/>
              <a:gdLst/>
              <a:ahLst/>
              <a:cxnLst/>
              <a:rect l="l" t="t" r="r" b="b"/>
              <a:pathLst>
                <a:path w="1169831" h="1237913">
                  <a:moveTo>
                    <a:pt x="1070418" y="598922"/>
                  </a:moveTo>
                  <a:cubicBezTo>
                    <a:pt x="1082081" y="596527"/>
                    <a:pt x="1094675" y="599986"/>
                    <a:pt x="1109397" y="616482"/>
                  </a:cubicBezTo>
                  <a:lnTo>
                    <a:pt x="1151969" y="676083"/>
                  </a:lnTo>
                  <a:cubicBezTo>
                    <a:pt x="1158000" y="686725"/>
                    <a:pt x="1189574" y="703754"/>
                    <a:pt x="1150905" y="743133"/>
                  </a:cubicBezTo>
                  <a:cubicBezTo>
                    <a:pt x="1004388" y="855238"/>
                    <a:pt x="912149" y="969472"/>
                    <a:pt x="824168" y="1097541"/>
                  </a:cubicBezTo>
                  <a:cubicBezTo>
                    <a:pt x="795432" y="1139403"/>
                    <a:pt x="762440" y="1128051"/>
                    <a:pt x="741154" y="1095413"/>
                  </a:cubicBezTo>
                  <a:cubicBezTo>
                    <a:pt x="681199" y="1025524"/>
                    <a:pt x="623372" y="964150"/>
                    <a:pt x="558096" y="901712"/>
                  </a:cubicBezTo>
                  <a:cubicBezTo>
                    <a:pt x="542841" y="876878"/>
                    <a:pt x="540358" y="866945"/>
                    <a:pt x="572996" y="827212"/>
                  </a:cubicBezTo>
                  <a:lnTo>
                    <a:pt x="611310" y="788897"/>
                  </a:lnTo>
                  <a:cubicBezTo>
                    <a:pt x="630113" y="772933"/>
                    <a:pt x="663815" y="768676"/>
                    <a:pt x="683682" y="801669"/>
                  </a:cubicBezTo>
                  <a:lnTo>
                    <a:pt x="770954" y="888940"/>
                  </a:lnTo>
                  <a:cubicBezTo>
                    <a:pt x="835166" y="814085"/>
                    <a:pt x="895121" y="708366"/>
                    <a:pt x="1037026" y="616482"/>
                  </a:cubicBezTo>
                  <a:cubicBezTo>
                    <a:pt x="1048023" y="609565"/>
                    <a:pt x="1058755" y="601316"/>
                    <a:pt x="1070418" y="598922"/>
                  </a:cubicBezTo>
                  <a:close/>
                  <a:moveTo>
                    <a:pt x="529911" y="569622"/>
                  </a:moveTo>
                  <a:lnTo>
                    <a:pt x="496573" y="695829"/>
                  </a:lnTo>
                  <a:cubicBezTo>
                    <a:pt x="520386" y="713291"/>
                    <a:pt x="539435" y="723610"/>
                    <a:pt x="553723" y="719641"/>
                  </a:cubicBezTo>
                  <a:cubicBezTo>
                    <a:pt x="587854" y="718847"/>
                    <a:pt x="602936" y="708528"/>
                    <a:pt x="627542" y="702972"/>
                  </a:cubicBezTo>
                  <a:lnTo>
                    <a:pt x="660880" y="574385"/>
                  </a:lnTo>
                  <a:cubicBezTo>
                    <a:pt x="634686" y="587085"/>
                    <a:pt x="615636" y="592642"/>
                    <a:pt x="582298" y="591054"/>
                  </a:cubicBezTo>
                  <a:cubicBezTo>
                    <a:pt x="550548" y="583910"/>
                    <a:pt x="547373" y="576766"/>
                    <a:pt x="529911" y="569622"/>
                  </a:cubicBezTo>
                  <a:close/>
                  <a:moveTo>
                    <a:pt x="459059" y="532199"/>
                  </a:moveTo>
                  <a:cubicBezTo>
                    <a:pt x="428434" y="533036"/>
                    <a:pt x="426031" y="536292"/>
                    <a:pt x="388955" y="546804"/>
                  </a:cubicBezTo>
                  <a:lnTo>
                    <a:pt x="354480" y="675055"/>
                  </a:lnTo>
                  <a:cubicBezTo>
                    <a:pt x="379613" y="664862"/>
                    <a:pt x="395802" y="663501"/>
                    <a:pt x="422547" y="660565"/>
                  </a:cubicBezTo>
                  <a:cubicBezTo>
                    <a:pt x="452183" y="665129"/>
                    <a:pt x="450485" y="668924"/>
                    <a:pt x="475283" y="681551"/>
                  </a:cubicBezTo>
                  <a:lnTo>
                    <a:pt x="514558" y="558488"/>
                  </a:lnTo>
                  <a:cubicBezTo>
                    <a:pt x="493640" y="542468"/>
                    <a:pt x="485622" y="536930"/>
                    <a:pt x="459059" y="532199"/>
                  </a:cubicBezTo>
                  <a:close/>
                  <a:moveTo>
                    <a:pt x="572474" y="421137"/>
                  </a:moveTo>
                  <a:lnTo>
                    <a:pt x="539136" y="547344"/>
                  </a:lnTo>
                  <a:cubicBezTo>
                    <a:pt x="562949" y="564806"/>
                    <a:pt x="581998" y="575125"/>
                    <a:pt x="596286" y="571156"/>
                  </a:cubicBezTo>
                  <a:cubicBezTo>
                    <a:pt x="630417" y="570362"/>
                    <a:pt x="645499" y="560043"/>
                    <a:pt x="670105" y="554487"/>
                  </a:cubicBezTo>
                  <a:lnTo>
                    <a:pt x="703443" y="425900"/>
                  </a:lnTo>
                  <a:cubicBezTo>
                    <a:pt x="677249" y="438600"/>
                    <a:pt x="658199" y="444157"/>
                    <a:pt x="624861" y="442569"/>
                  </a:cubicBezTo>
                  <a:cubicBezTo>
                    <a:pt x="593111" y="435425"/>
                    <a:pt x="589936" y="428281"/>
                    <a:pt x="572474" y="421137"/>
                  </a:cubicBezTo>
                  <a:close/>
                  <a:moveTo>
                    <a:pt x="495319" y="384525"/>
                  </a:moveTo>
                  <a:cubicBezTo>
                    <a:pt x="464694" y="385362"/>
                    <a:pt x="462290" y="388617"/>
                    <a:pt x="425215" y="399130"/>
                  </a:cubicBezTo>
                  <a:lnTo>
                    <a:pt x="393122" y="529763"/>
                  </a:lnTo>
                  <a:cubicBezTo>
                    <a:pt x="418255" y="519570"/>
                    <a:pt x="429680" y="515827"/>
                    <a:pt x="456425" y="512891"/>
                  </a:cubicBezTo>
                  <a:cubicBezTo>
                    <a:pt x="486061" y="517455"/>
                    <a:pt x="496270" y="528394"/>
                    <a:pt x="521068" y="541021"/>
                  </a:cubicBezTo>
                  <a:lnTo>
                    <a:pt x="555580" y="410814"/>
                  </a:lnTo>
                  <a:cubicBezTo>
                    <a:pt x="537042" y="387650"/>
                    <a:pt x="521882" y="389256"/>
                    <a:pt x="495319" y="384525"/>
                  </a:cubicBezTo>
                  <a:close/>
                  <a:moveTo>
                    <a:pt x="752037" y="79426"/>
                  </a:moveTo>
                  <a:cubicBezTo>
                    <a:pt x="853552" y="96306"/>
                    <a:pt x="889770" y="176387"/>
                    <a:pt x="889770" y="245426"/>
                  </a:cubicBezTo>
                  <a:lnTo>
                    <a:pt x="889770" y="695699"/>
                  </a:lnTo>
                  <a:cubicBezTo>
                    <a:pt x="838717" y="746496"/>
                    <a:pt x="794644" y="799619"/>
                    <a:pt x="769186" y="845131"/>
                  </a:cubicBezTo>
                  <a:lnTo>
                    <a:pt x="684285" y="761262"/>
                  </a:lnTo>
                  <a:lnTo>
                    <a:pt x="683829" y="760811"/>
                  </a:lnTo>
                  <a:cubicBezTo>
                    <a:pt x="670590" y="739020"/>
                    <a:pt x="652741" y="729531"/>
                    <a:pt x="635069" y="728126"/>
                  </a:cubicBezTo>
                  <a:cubicBezTo>
                    <a:pt x="631532" y="727845"/>
                    <a:pt x="628002" y="727887"/>
                    <a:pt x="624641" y="729512"/>
                  </a:cubicBezTo>
                  <a:cubicBezTo>
                    <a:pt x="619298" y="728718"/>
                    <a:pt x="614181" y="729867"/>
                    <a:pt x="609294" y="731553"/>
                  </a:cubicBezTo>
                  <a:cubicBezTo>
                    <a:pt x="601145" y="734364"/>
                    <a:pt x="593638" y="738669"/>
                    <a:pt x="587373" y="743942"/>
                  </a:cubicBezTo>
                  <a:lnTo>
                    <a:pt x="536309" y="794551"/>
                  </a:lnTo>
                  <a:cubicBezTo>
                    <a:pt x="492810" y="847035"/>
                    <a:pt x="484213" y="867298"/>
                    <a:pt x="504545" y="900101"/>
                  </a:cubicBezTo>
                  <a:cubicBezTo>
                    <a:pt x="572348" y="964378"/>
                    <a:pt x="635565" y="1036480"/>
                    <a:pt x="697760" y="1109064"/>
                  </a:cubicBezTo>
                  <a:lnTo>
                    <a:pt x="149203" y="1230769"/>
                  </a:lnTo>
                  <a:lnTo>
                    <a:pt x="156912" y="1230740"/>
                  </a:lnTo>
                  <a:lnTo>
                    <a:pt x="153427" y="1231570"/>
                  </a:lnTo>
                  <a:lnTo>
                    <a:pt x="149106" y="1231570"/>
                  </a:lnTo>
                  <a:lnTo>
                    <a:pt x="149106" y="120420"/>
                  </a:lnTo>
                  <a:lnTo>
                    <a:pt x="149106" y="113186"/>
                  </a:lnTo>
                  <a:cubicBezTo>
                    <a:pt x="345320" y="110775"/>
                    <a:pt x="546298" y="79426"/>
                    <a:pt x="752037" y="79426"/>
                  </a:cubicBezTo>
                  <a:close/>
                  <a:moveTo>
                    <a:pt x="19048" y="43710"/>
                  </a:moveTo>
                  <a:lnTo>
                    <a:pt x="21430" y="1146228"/>
                  </a:lnTo>
                  <a:lnTo>
                    <a:pt x="109535" y="1215284"/>
                  </a:lnTo>
                  <a:lnTo>
                    <a:pt x="111916" y="103241"/>
                  </a:lnTo>
                  <a:close/>
                  <a:moveTo>
                    <a:pt x="640907" y="352"/>
                  </a:moveTo>
                  <a:cubicBezTo>
                    <a:pt x="761041" y="-4974"/>
                    <a:pt x="853453" y="50165"/>
                    <a:pt x="878664" y="153713"/>
                  </a:cubicBezTo>
                  <a:cubicBezTo>
                    <a:pt x="860627" y="103305"/>
                    <a:pt x="814243" y="60110"/>
                    <a:pt x="726548" y="58394"/>
                  </a:cubicBezTo>
                  <a:cubicBezTo>
                    <a:pt x="434983" y="75063"/>
                    <a:pt x="329157" y="86969"/>
                    <a:pt x="130462" y="101257"/>
                  </a:cubicBezTo>
                  <a:lnTo>
                    <a:pt x="128081" y="1235407"/>
                  </a:lnTo>
                  <a:lnTo>
                    <a:pt x="104776" y="1237913"/>
                  </a:lnTo>
                  <a:lnTo>
                    <a:pt x="0" y="1156947"/>
                  </a:lnTo>
                  <a:lnTo>
                    <a:pt x="2381" y="35793"/>
                  </a:lnTo>
                  <a:lnTo>
                    <a:pt x="9525" y="33411"/>
                  </a:lnTo>
                  <a:cubicBezTo>
                    <a:pt x="209668" y="21503"/>
                    <a:pt x="393139" y="5116"/>
                    <a:pt x="640907" y="352"/>
                  </a:cubicBez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1568" b="0" i="0" u="none" strike="noStrike" kern="0" cap="none" spc="-49" normalizeH="0" baseline="0" noProof="0" dirty="0" err="1">
                <a:ln>
                  <a:noFill/>
                </a:ln>
                <a:solidFill>
                  <a:srgbClr val="0078D7"/>
                </a:solidFill>
                <a:effectLst/>
                <a:uLnTx/>
                <a:uFillTx/>
                <a:latin typeface="Segoe UI" pitchFamily="34" charset="0"/>
                <a:ea typeface="Segoe UI" pitchFamily="34" charset="0"/>
                <a:cs typeface="Segoe UI" pitchFamily="34" charset="0"/>
              </a:endParaRPr>
            </a:p>
          </p:txBody>
        </p:sp>
        <p:sp>
          <p:nvSpPr>
            <p:cNvPr id="133" name="Rounded Rectangle 100">
              <a:extLst>
                <a:ext uri="{FF2B5EF4-FFF2-40B4-BE49-F238E27FC236}">
                  <a16:creationId xmlns:a16="http://schemas.microsoft.com/office/drawing/2014/main" id="{35AAB811-A488-4815-A1E7-A8EC63635CFB}"/>
                </a:ext>
              </a:extLst>
            </p:cNvPr>
            <p:cNvSpPr/>
            <p:nvPr/>
          </p:nvSpPr>
          <p:spPr bwMode="auto">
            <a:xfrm>
              <a:off x="3457356" y="3547900"/>
              <a:ext cx="601497" cy="419545"/>
            </a:xfrm>
            <a:custGeom>
              <a:avLst/>
              <a:gdLst/>
              <a:ahLst/>
              <a:cxnLst/>
              <a:rect l="l" t="t" r="r" b="b"/>
              <a:pathLst>
                <a:path w="2887155" h="2013794">
                  <a:moveTo>
                    <a:pt x="2806194" y="600178"/>
                  </a:moveTo>
                  <a:lnTo>
                    <a:pt x="2806465" y="600178"/>
                  </a:lnTo>
                  <a:lnTo>
                    <a:pt x="2806194" y="601519"/>
                  </a:lnTo>
                  <a:close/>
                  <a:moveTo>
                    <a:pt x="361229" y="443131"/>
                  </a:moveTo>
                  <a:lnTo>
                    <a:pt x="1109412" y="493017"/>
                  </a:lnTo>
                  <a:lnTo>
                    <a:pt x="1109412" y="492615"/>
                  </a:lnTo>
                  <a:lnTo>
                    <a:pt x="2805607" y="604426"/>
                  </a:lnTo>
                  <a:lnTo>
                    <a:pt x="2805073" y="607074"/>
                  </a:lnTo>
                  <a:cubicBezTo>
                    <a:pt x="2849816" y="611693"/>
                    <a:pt x="2889996" y="634087"/>
                    <a:pt x="2886998" y="679176"/>
                  </a:cubicBezTo>
                  <a:lnTo>
                    <a:pt x="2886010" y="778003"/>
                  </a:lnTo>
                  <a:lnTo>
                    <a:pt x="2884496" y="778279"/>
                  </a:lnTo>
                  <a:lnTo>
                    <a:pt x="2808096" y="1937751"/>
                  </a:lnTo>
                  <a:cubicBezTo>
                    <a:pt x="2792647" y="1980164"/>
                    <a:pt x="2767776" y="2001736"/>
                    <a:pt x="2736070" y="1999207"/>
                  </a:cubicBezTo>
                  <a:lnTo>
                    <a:pt x="168758" y="2013794"/>
                  </a:lnTo>
                  <a:cubicBezTo>
                    <a:pt x="201856" y="1517417"/>
                    <a:pt x="234956" y="1021042"/>
                    <a:pt x="268048" y="524666"/>
                  </a:cubicBezTo>
                  <a:cubicBezTo>
                    <a:pt x="271261" y="476420"/>
                    <a:pt x="312982" y="439914"/>
                    <a:pt x="361229" y="443131"/>
                  </a:cubicBezTo>
                  <a:close/>
                  <a:moveTo>
                    <a:pt x="1507748" y="0"/>
                  </a:moveTo>
                  <a:lnTo>
                    <a:pt x="2555522" y="0"/>
                  </a:lnTo>
                  <a:cubicBezTo>
                    <a:pt x="2610316" y="0"/>
                    <a:pt x="2656518" y="36782"/>
                    <a:pt x="2668824" y="87557"/>
                  </a:cubicBezTo>
                  <a:lnTo>
                    <a:pt x="2670467" y="87557"/>
                  </a:lnTo>
                  <a:lnTo>
                    <a:pt x="2670467" y="177810"/>
                  </a:lnTo>
                  <a:cubicBezTo>
                    <a:pt x="2670467" y="215172"/>
                    <a:pt x="2692702" y="247343"/>
                    <a:pt x="2724701" y="261530"/>
                  </a:cubicBezTo>
                  <a:lnTo>
                    <a:pt x="2728135" y="261530"/>
                  </a:lnTo>
                  <a:cubicBezTo>
                    <a:pt x="2771556" y="261530"/>
                    <a:pt x="2806753" y="296727"/>
                    <a:pt x="2806753" y="340148"/>
                  </a:cubicBezTo>
                  <a:lnTo>
                    <a:pt x="2806753" y="554459"/>
                  </a:lnTo>
                  <a:lnTo>
                    <a:pt x="2806194" y="554459"/>
                  </a:lnTo>
                  <a:lnTo>
                    <a:pt x="2804312" y="554330"/>
                  </a:lnTo>
                  <a:lnTo>
                    <a:pt x="2804312" y="553687"/>
                  </a:lnTo>
                  <a:lnTo>
                    <a:pt x="1108434" y="436730"/>
                  </a:lnTo>
                  <a:lnTo>
                    <a:pt x="1154868" y="441133"/>
                  </a:lnTo>
                  <a:lnTo>
                    <a:pt x="1105981" y="437778"/>
                  </a:lnTo>
                  <a:lnTo>
                    <a:pt x="1106004" y="438299"/>
                  </a:lnTo>
                  <a:lnTo>
                    <a:pt x="308167" y="385105"/>
                  </a:lnTo>
                  <a:cubicBezTo>
                    <a:pt x="257066" y="381696"/>
                    <a:pt x="212882" y="420360"/>
                    <a:pt x="209473" y="471459"/>
                  </a:cubicBezTo>
                  <a:lnTo>
                    <a:pt x="107502" y="2000823"/>
                  </a:lnTo>
                  <a:lnTo>
                    <a:pt x="87553" y="2000823"/>
                  </a:lnTo>
                  <a:cubicBezTo>
                    <a:pt x="39201" y="2000823"/>
                    <a:pt x="0" y="1961623"/>
                    <a:pt x="0" y="1913272"/>
                  </a:cubicBezTo>
                  <a:lnTo>
                    <a:pt x="4" y="356712"/>
                  </a:lnTo>
                  <a:cubicBezTo>
                    <a:pt x="0" y="308357"/>
                    <a:pt x="39201" y="269157"/>
                    <a:pt x="87553" y="269157"/>
                  </a:cubicBezTo>
                  <a:lnTo>
                    <a:pt x="1155278" y="269157"/>
                  </a:lnTo>
                  <a:lnTo>
                    <a:pt x="1157206" y="268708"/>
                  </a:lnTo>
                  <a:lnTo>
                    <a:pt x="1349398" y="268708"/>
                  </a:lnTo>
                  <a:cubicBezTo>
                    <a:pt x="1375408" y="268708"/>
                    <a:pt x="1396493" y="247623"/>
                    <a:pt x="1396493" y="221613"/>
                  </a:cubicBezTo>
                  <a:lnTo>
                    <a:pt x="1396493" y="82827"/>
                  </a:lnTo>
                  <a:cubicBezTo>
                    <a:pt x="1409787" y="34412"/>
                    <a:pt x="1454749" y="0"/>
                    <a:pt x="1507748" y="0"/>
                  </a:cubicBez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1568" b="0" i="0" u="none" strike="noStrike" kern="0" cap="none" spc="-49" normalizeH="0" baseline="0" noProof="0" dirty="0" err="1">
                <a:ln>
                  <a:noFill/>
                </a:ln>
                <a:solidFill>
                  <a:srgbClr val="0078D7"/>
                </a:solidFill>
                <a:effectLst/>
                <a:uLnTx/>
                <a:uFillTx/>
                <a:latin typeface="Segoe UI" pitchFamily="34" charset="0"/>
                <a:ea typeface="Segoe UI" pitchFamily="34" charset="0"/>
                <a:cs typeface="Segoe UI" pitchFamily="34" charset="0"/>
              </a:endParaRPr>
            </a:p>
          </p:txBody>
        </p:sp>
        <p:sp>
          <p:nvSpPr>
            <p:cNvPr id="134" name="Freeform 82">
              <a:extLst>
                <a:ext uri="{FF2B5EF4-FFF2-40B4-BE49-F238E27FC236}">
                  <a16:creationId xmlns:a16="http://schemas.microsoft.com/office/drawing/2014/main" id="{48A3E919-3800-49F1-AD5D-EF14B5161FEB}"/>
                </a:ext>
              </a:extLst>
            </p:cNvPr>
            <p:cNvSpPr/>
            <p:nvPr/>
          </p:nvSpPr>
          <p:spPr>
            <a:xfrm>
              <a:off x="2433394" y="2491018"/>
              <a:ext cx="438912" cy="603504"/>
            </a:xfrm>
            <a:custGeom>
              <a:avLst/>
              <a:gdLst/>
              <a:ahLst/>
              <a:cxnLst/>
              <a:rect l="l" t="t" r="r" b="b"/>
              <a:pathLst>
                <a:path w="3718560" h="5000625">
                  <a:moveTo>
                    <a:pt x="776285" y="1667829"/>
                  </a:moveTo>
                  <a:cubicBezTo>
                    <a:pt x="775968" y="2127568"/>
                    <a:pt x="775652" y="2587308"/>
                    <a:pt x="775335" y="3047047"/>
                  </a:cubicBezTo>
                  <a:lnTo>
                    <a:pt x="2400300" y="3047048"/>
                  </a:lnTo>
                  <a:lnTo>
                    <a:pt x="2400300" y="3575685"/>
                  </a:lnTo>
                  <a:lnTo>
                    <a:pt x="1897380" y="3743325"/>
                  </a:lnTo>
                  <a:lnTo>
                    <a:pt x="1348740" y="3606165"/>
                  </a:lnTo>
                  <a:lnTo>
                    <a:pt x="1350645" y="3226118"/>
                  </a:lnTo>
                  <a:lnTo>
                    <a:pt x="771522" y="3227680"/>
                  </a:lnTo>
                  <a:lnTo>
                    <a:pt x="771522" y="3929078"/>
                  </a:lnTo>
                  <a:lnTo>
                    <a:pt x="1874520" y="4238625"/>
                  </a:lnTo>
                  <a:lnTo>
                    <a:pt x="2929573" y="3910648"/>
                  </a:lnTo>
                  <a:cubicBezTo>
                    <a:pt x="2930951" y="3467527"/>
                    <a:pt x="2932328" y="3024407"/>
                    <a:pt x="2933706" y="2581286"/>
                  </a:cubicBezTo>
                  <a:lnTo>
                    <a:pt x="1355407" y="2582228"/>
                  </a:lnTo>
                  <a:cubicBezTo>
                    <a:pt x="1357312" y="2433320"/>
                    <a:pt x="1354455" y="2303463"/>
                    <a:pt x="1356360" y="2154555"/>
                  </a:cubicBezTo>
                  <a:lnTo>
                    <a:pt x="2943231" y="2152684"/>
                  </a:lnTo>
                  <a:cubicBezTo>
                    <a:pt x="2941643" y="1985317"/>
                    <a:pt x="2940056" y="1836999"/>
                    <a:pt x="2938468" y="1669632"/>
                  </a:cubicBezTo>
                  <a:close/>
                  <a:moveTo>
                    <a:pt x="0" y="992505"/>
                  </a:moveTo>
                  <a:lnTo>
                    <a:pt x="3718560" y="1000125"/>
                  </a:lnTo>
                  <a:lnTo>
                    <a:pt x="3307080" y="4586605"/>
                  </a:lnTo>
                  <a:lnTo>
                    <a:pt x="1889760" y="5000625"/>
                  </a:lnTo>
                  <a:lnTo>
                    <a:pt x="381000" y="4589145"/>
                  </a:lnTo>
                  <a:close/>
                  <a:moveTo>
                    <a:pt x="2738438" y="657"/>
                  </a:moveTo>
                  <a:lnTo>
                    <a:pt x="3005138" y="657"/>
                  </a:lnTo>
                  <a:lnTo>
                    <a:pt x="3005138" y="434259"/>
                  </a:lnTo>
                  <a:lnTo>
                    <a:pt x="3324229" y="434259"/>
                  </a:lnTo>
                  <a:lnTo>
                    <a:pt x="3324229" y="699435"/>
                  </a:lnTo>
                  <a:lnTo>
                    <a:pt x="3005138" y="699435"/>
                  </a:lnTo>
                  <a:lnTo>
                    <a:pt x="2738438" y="699435"/>
                  </a:lnTo>
                  <a:close/>
                  <a:moveTo>
                    <a:pt x="1146894" y="657"/>
                  </a:moveTo>
                  <a:lnTo>
                    <a:pt x="1386555" y="657"/>
                  </a:lnTo>
                  <a:lnTo>
                    <a:pt x="1606011" y="657"/>
                  </a:lnTo>
                  <a:lnTo>
                    <a:pt x="1845672" y="657"/>
                  </a:lnTo>
                  <a:lnTo>
                    <a:pt x="1845672" y="265833"/>
                  </a:lnTo>
                  <a:lnTo>
                    <a:pt x="1606011" y="265833"/>
                  </a:lnTo>
                  <a:lnTo>
                    <a:pt x="1606011" y="699435"/>
                  </a:lnTo>
                  <a:lnTo>
                    <a:pt x="1386555" y="699435"/>
                  </a:lnTo>
                  <a:lnTo>
                    <a:pt x="1386555" y="265833"/>
                  </a:lnTo>
                  <a:lnTo>
                    <a:pt x="1146894" y="265833"/>
                  </a:lnTo>
                  <a:close/>
                  <a:moveTo>
                    <a:pt x="385761" y="657"/>
                  </a:moveTo>
                  <a:lnTo>
                    <a:pt x="652461" y="657"/>
                  </a:lnTo>
                  <a:lnTo>
                    <a:pt x="652461" y="248308"/>
                  </a:lnTo>
                  <a:lnTo>
                    <a:pt x="819147" y="248308"/>
                  </a:lnTo>
                  <a:lnTo>
                    <a:pt x="819147" y="657"/>
                  </a:lnTo>
                  <a:lnTo>
                    <a:pt x="1085847" y="657"/>
                  </a:lnTo>
                  <a:lnTo>
                    <a:pt x="1085847" y="699435"/>
                  </a:lnTo>
                  <a:lnTo>
                    <a:pt x="819147" y="699435"/>
                  </a:lnTo>
                  <a:lnTo>
                    <a:pt x="819147" y="451785"/>
                  </a:lnTo>
                  <a:lnTo>
                    <a:pt x="652461" y="451785"/>
                  </a:lnTo>
                  <a:lnTo>
                    <a:pt x="652461" y="699435"/>
                  </a:lnTo>
                  <a:lnTo>
                    <a:pt x="385761" y="699435"/>
                  </a:lnTo>
                  <a:close/>
                  <a:moveTo>
                    <a:pt x="2414610" y="0"/>
                  </a:moveTo>
                  <a:cubicBezTo>
                    <a:pt x="2414609" y="219"/>
                    <a:pt x="2414608" y="438"/>
                    <a:pt x="2414606" y="657"/>
                  </a:cubicBezTo>
                  <a:lnTo>
                    <a:pt x="2677500" y="657"/>
                  </a:lnTo>
                  <a:lnTo>
                    <a:pt x="2677500" y="699435"/>
                  </a:lnTo>
                  <a:lnTo>
                    <a:pt x="2410800" y="699435"/>
                  </a:lnTo>
                  <a:lnTo>
                    <a:pt x="2410800" y="404254"/>
                  </a:lnTo>
                  <a:lnTo>
                    <a:pt x="2289991" y="625475"/>
                  </a:lnTo>
                  <a:lnTo>
                    <a:pt x="2170136" y="411394"/>
                  </a:lnTo>
                  <a:lnTo>
                    <a:pt x="2170136" y="699435"/>
                  </a:lnTo>
                  <a:lnTo>
                    <a:pt x="1903436" y="699435"/>
                  </a:lnTo>
                  <a:lnTo>
                    <a:pt x="1903436" y="657"/>
                  </a:lnTo>
                  <a:lnTo>
                    <a:pt x="2170136" y="657"/>
                  </a:lnTo>
                  <a:lnTo>
                    <a:pt x="2170136" y="813"/>
                  </a:lnTo>
                  <a:lnTo>
                    <a:pt x="2173310" y="794"/>
                  </a:lnTo>
                  <a:lnTo>
                    <a:pt x="2287610" y="250825"/>
                  </a:lnTo>
                  <a:lnTo>
                    <a:pt x="2410800" y="7525"/>
                  </a:lnTo>
                  <a:lnTo>
                    <a:pt x="2410800" y="657"/>
                  </a:lnTo>
                  <a:lnTo>
                    <a:pt x="2414278" y="657"/>
                  </a:lnTo>
                  <a:close/>
                </a:path>
              </a:pathLst>
            </a:custGeom>
            <a:solidFill>
              <a:srgbClr val="0078D7"/>
            </a:solidFill>
            <a:ln w="12700" cap="rnd" cmpd="sng" algn="ctr">
              <a:noFill/>
              <a:prstDash val="sysDot"/>
              <a:headEnd type="none" w="med" len="med"/>
              <a:tailEnd type="none" w="med" len="med"/>
            </a:ln>
            <a:effectLst/>
          </p:spPr>
          <p:txBody>
            <a:bodyPr rot="0" spcFirstLastPara="0" vertOverflow="overflow" horzOverflow="overflow" vert="horz" wrap="square" lIns="0" tIns="89642" rIns="0" bIns="89642" numCol="1" spcCol="0" rtlCol="0" fromWordArt="0" anchor="b"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1194758" eaLnBrk="1" fontAlgn="base" latinLnBrk="0" hangingPunct="1">
                <a:lnSpc>
                  <a:spcPct val="100000"/>
                </a:lnSpc>
                <a:spcBef>
                  <a:spcPct val="0"/>
                </a:spcBef>
                <a:spcAft>
                  <a:spcPct val="0"/>
                </a:spcAft>
                <a:buClrTx/>
                <a:buSzTx/>
                <a:buFontTx/>
                <a:buNone/>
                <a:tabLst/>
                <a:defRPr/>
              </a:pPr>
              <a:endParaRPr kumimoji="0" lang="en-US" sz="2157" b="0" i="0" u="none" strike="noStrike" kern="0" cap="none" spc="-29" normalizeH="0" baseline="0" noProof="0" dirty="0" err="1">
                <a:ln>
                  <a:solidFill>
                    <a:srgbClr val="FFFFFF">
                      <a:alpha val="0"/>
                    </a:srgbClr>
                  </a:solidFill>
                </a:ln>
                <a:solidFill>
                  <a:srgbClr val="0078D7"/>
                </a:solidFill>
                <a:effectLst/>
                <a:uLnTx/>
                <a:uFillTx/>
                <a:latin typeface="Segoe UI Semilight"/>
                <a:ea typeface="Segoe UI" pitchFamily="34" charset="0"/>
                <a:cs typeface="Segoe UI" pitchFamily="34" charset="0"/>
              </a:endParaRPr>
            </a:p>
          </p:txBody>
        </p:sp>
        <p:sp>
          <p:nvSpPr>
            <p:cNvPr id="135" name="Freeform 93">
              <a:extLst>
                <a:ext uri="{FF2B5EF4-FFF2-40B4-BE49-F238E27FC236}">
                  <a16:creationId xmlns:a16="http://schemas.microsoft.com/office/drawing/2014/main" id="{5119E625-53CF-4BF7-A5C8-F6B4078D898E}"/>
                </a:ext>
              </a:extLst>
            </p:cNvPr>
            <p:cNvSpPr/>
            <p:nvPr/>
          </p:nvSpPr>
          <p:spPr>
            <a:xfrm>
              <a:off x="3053117" y="2491018"/>
              <a:ext cx="438912" cy="603504"/>
            </a:xfrm>
            <a:custGeom>
              <a:avLst/>
              <a:gdLst>
                <a:gd name="connsiteX0" fmla="*/ 84993 w 425943"/>
                <a:gd name="connsiteY0" fmla="*/ 187399 h 565218"/>
                <a:gd name="connsiteX1" fmla="*/ 89516 w 425943"/>
                <a:gd name="connsiteY1" fmla="*/ 240168 h 565218"/>
                <a:gd name="connsiteX2" fmla="*/ 288531 w 425943"/>
                <a:gd name="connsiteY2" fmla="*/ 240168 h 565218"/>
                <a:gd name="connsiteX3" fmla="*/ 282501 w 425943"/>
                <a:gd name="connsiteY3" fmla="*/ 292937 h 565218"/>
                <a:gd name="connsiteX4" fmla="*/ 153593 w 425943"/>
                <a:gd name="connsiteY4" fmla="*/ 292937 h 565218"/>
                <a:gd name="connsiteX5" fmla="*/ 158870 w 425943"/>
                <a:gd name="connsiteY5" fmla="*/ 344952 h 565218"/>
                <a:gd name="connsiteX6" fmla="*/ 278731 w 425943"/>
                <a:gd name="connsiteY6" fmla="*/ 344952 h 565218"/>
                <a:gd name="connsiteX7" fmla="*/ 274208 w 425943"/>
                <a:gd name="connsiteY7" fmla="*/ 412044 h 565218"/>
                <a:gd name="connsiteX8" fmla="*/ 216162 w 425943"/>
                <a:gd name="connsiteY8" fmla="*/ 429383 h 565218"/>
                <a:gd name="connsiteX9" fmla="*/ 157362 w 425943"/>
                <a:gd name="connsiteY9" fmla="*/ 412798 h 565218"/>
                <a:gd name="connsiteX10" fmla="*/ 153593 w 425943"/>
                <a:gd name="connsiteY10" fmla="*/ 372844 h 565218"/>
                <a:gd name="connsiteX11" fmla="*/ 101578 w 425943"/>
                <a:gd name="connsiteY11" fmla="*/ 372844 h 565218"/>
                <a:gd name="connsiteX12" fmla="*/ 109116 w 425943"/>
                <a:gd name="connsiteY12" fmla="*/ 453506 h 565218"/>
                <a:gd name="connsiteX13" fmla="*/ 216162 w 425943"/>
                <a:gd name="connsiteY13" fmla="*/ 484413 h 565218"/>
                <a:gd name="connsiteX14" fmla="*/ 324716 w 425943"/>
                <a:gd name="connsiteY14" fmla="*/ 454260 h 565218"/>
                <a:gd name="connsiteX15" fmla="*/ 346578 w 425943"/>
                <a:gd name="connsiteY15" fmla="*/ 187399 h 565218"/>
                <a:gd name="connsiteX16" fmla="*/ 0 w 425943"/>
                <a:gd name="connsiteY16" fmla="*/ 106108 h 565218"/>
                <a:gd name="connsiteX17" fmla="*/ 425943 w 425943"/>
                <a:gd name="connsiteY17" fmla="*/ 106981 h 565218"/>
                <a:gd name="connsiteX18" fmla="*/ 378810 w 425943"/>
                <a:gd name="connsiteY18" fmla="*/ 517794 h 565218"/>
                <a:gd name="connsiteX19" fmla="*/ 216463 w 425943"/>
                <a:gd name="connsiteY19" fmla="*/ 565218 h 565218"/>
                <a:gd name="connsiteX20" fmla="*/ 43642 w 425943"/>
                <a:gd name="connsiteY20" fmla="*/ 518085 h 565218"/>
                <a:gd name="connsiteX21" fmla="*/ 260890 w 425943"/>
                <a:gd name="connsiteY21" fmla="*/ 0 h 565218"/>
                <a:gd name="connsiteX22" fmla="*/ 333946 w 425943"/>
                <a:gd name="connsiteY22" fmla="*/ 0 h 565218"/>
                <a:gd name="connsiteX23" fmla="*/ 333946 w 425943"/>
                <a:gd name="connsiteY23" fmla="*/ 22615 h 565218"/>
                <a:gd name="connsiteX24" fmla="*/ 297910 w 425943"/>
                <a:gd name="connsiteY24" fmla="*/ 22615 h 565218"/>
                <a:gd name="connsiteX25" fmla="*/ 332439 w 425943"/>
                <a:gd name="connsiteY25" fmla="*/ 58988 h 565218"/>
                <a:gd name="connsiteX26" fmla="*/ 332439 w 425943"/>
                <a:gd name="connsiteY26" fmla="*/ 81603 h 565218"/>
                <a:gd name="connsiteX27" fmla="*/ 259382 w 425943"/>
                <a:gd name="connsiteY27" fmla="*/ 81603 h 565218"/>
                <a:gd name="connsiteX28" fmla="*/ 259382 w 425943"/>
                <a:gd name="connsiteY28" fmla="*/ 58988 h 565218"/>
                <a:gd name="connsiteX29" fmla="*/ 296031 w 425943"/>
                <a:gd name="connsiteY29" fmla="*/ 58988 h 565218"/>
                <a:gd name="connsiteX30" fmla="*/ 260890 w 425943"/>
                <a:gd name="connsiteY30" fmla="*/ 22615 h 565218"/>
                <a:gd name="connsiteX31" fmla="*/ 177197 w 425943"/>
                <a:gd name="connsiteY31" fmla="*/ 0 h 565218"/>
                <a:gd name="connsiteX32" fmla="*/ 250253 w 425943"/>
                <a:gd name="connsiteY32" fmla="*/ 0 h 565218"/>
                <a:gd name="connsiteX33" fmla="*/ 250253 w 425943"/>
                <a:gd name="connsiteY33" fmla="*/ 22615 h 565218"/>
                <a:gd name="connsiteX34" fmla="*/ 214217 w 425943"/>
                <a:gd name="connsiteY34" fmla="*/ 22615 h 565218"/>
                <a:gd name="connsiteX35" fmla="*/ 248746 w 425943"/>
                <a:gd name="connsiteY35" fmla="*/ 58988 h 565218"/>
                <a:gd name="connsiteX36" fmla="*/ 248746 w 425943"/>
                <a:gd name="connsiteY36" fmla="*/ 81603 h 565218"/>
                <a:gd name="connsiteX37" fmla="*/ 175689 w 425943"/>
                <a:gd name="connsiteY37" fmla="*/ 81603 h 565218"/>
                <a:gd name="connsiteX38" fmla="*/ 175689 w 425943"/>
                <a:gd name="connsiteY38" fmla="*/ 58988 h 565218"/>
                <a:gd name="connsiteX39" fmla="*/ 212338 w 425943"/>
                <a:gd name="connsiteY39" fmla="*/ 58988 h 565218"/>
                <a:gd name="connsiteX40" fmla="*/ 177197 w 425943"/>
                <a:gd name="connsiteY40" fmla="*/ 22615 h 565218"/>
                <a:gd name="connsiteX41" fmla="*/ 96678 w 425943"/>
                <a:gd name="connsiteY41" fmla="*/ 0 h 565218"/>
                <a:gd name="connsiteX42" fmla="*/ 101243 w 425943"/>
                <a:gd name="connsiteY42" fmla="*/ 0 h 565218"/>
                <a:gd name="connsiteX43" fmla="*/ 123440 w 425943"/>
                <a:gd name="connsiteY43" fmla="*/ 0 h 565218"/>
                <a:gd name="connsiteX44" fmla="*/ 158493 w 425943"/>
                <a:gd name="connsiteY44" fmla="*/ 0 h 565218"/>
                <a:gd name="connsiteX45" fmla="*/ 158493 w 425943"/>
                <a:gd name="connsiteY45" fmla="*/ 22089 h 565218"/>
                <a:gd name="connsiteX46" fmla="*/ 123440 w 425943"/>
                <a:gd name="connsiteY46" fmla="*/ 22089 h 565218"/>
                <a:gd name="connsiteX47" fmla="*/ 123440 w 425943"/>
                <a:gd name="connsiteY47" fmla="*/ 56562 h 565218"/>
                <a:gd name="connsiteX48" fmla="*/ 158493 w 425943"/>
                <a:gd name="connsiteY48" fmla="*/ 56562 h 565218"/>
                <a:gd name="connsiteX49" fmla="*/ 158493 w 425943"/>
                <a:gd name="connsiteY49" fmla="*/ 78651 h 565218"/>
                <a:gd name="connsiteX50" fmla="*/ 123440 w 425943"/>
                <a:gd name="connsiteY50" fmla="*/ 78651 h 565218"/>
                <a:gd name="connsiteX51" fmla="*/ 123440 w 425943"/>
                <a:gd name="connsiteY51" fmla="*/ 78651 h 565218"/>
                <a:gd name="connsiteX52" fmla="*/ 96678 w 425943"/>
                <a:gd name="connsiteY52" fmla="*/ 78651 h 565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25943" h="565218">
                  <a:moveTo>
                    <a:pt x="84993" y="187399"/>
                  </a:moveTo>
                  <a:lnTo>
                    <a:pt x="89516" y="240168"/>
                  </a:lnTo>
                  <a:lnTo>
                    <a:pt x="288531" y="240168"/>
                  </a:lnTo>
                  <a:lnTo>
                    <a:pt x="282501" y="292937"/>
                  </a:lnTo>
                  <a:lnTo>
                    <a:pt x="153593" y="292937"/>
                  </a:lnTo>
                  <a:lnTo>
                    <a:pt x="158870" y="344952"/>
                  </a:lnTo>
                  <a:lnTo>
                    <a:pt x="278731" y="344952"/>
                  </a:lnTo>
                  <a:lnTo>
                    <a:pt x="274208" y="412044"/>
                  </a:lnTo>
                  <a:lnTo>
                    <a:pt x="216162" y="429383"/>
                  </a:lnTo>
                  <a:lnTo>
                    <a:pt x="157362" y="412798"/>
                  </a:lnTo>
                  <a:lnTo>
                    <a:pt x="153593" y="372844"/>
                  </a:lnTo>
                  <a:lnTo>
                    <a:pt x="101578" y="372844"/>
                  </a:lnTo>
                  <a:lnTo>
                    <a:pt x="109116" y="453506"/>
                  </a:lnTo>
                  <a:lnTo>
                    <a:pt x="216162" y="484413"/>
                  </a:lnTo>
                  <a:lnTo>
                    <a:pt x="324716" y="454260"/>
                  </a:lnTo>
                  <a:lnTo>
                    <a:pt x="346578" y="187399"/>
                  </a:lnTo>
                  <a:close/>
                  <a:moveTo>
                    <a:pt x="0" y="106108"/>
                  </a:moveTo>
                  <a:lnTo>
                    <a:pt x="425943" y="106981"/>
                  </a:lnTo>
                  <a:lnTo>
                    <a:pt x="378810" y="517794"/>
                  </a:lnTo>
                  <a:lnTo>
                    <a:pt x="216463" y="565218"/>
                  </a:lnTo>
                  <a:lnTo>
                    <a:pt x="43642" y="518085"/>
                  </a:lnTo>
                  <a:close/>
                  <a:moveTo>
                    <a:pt x="260890" y="0"/>
                  </a:moveTo>
                  <a:lnTo>
                    <a:pt x="333946" y="0"/>
                  </a:lnTo>
                  <a:lnTo>
                    <a:pt x="333946" y="22615"/>
                  </a:lnTo>
                  <a:lnTo>
                    <a:pt x="297910" y="22615"/>
                  </a:lnTo>
                  <a:lnTo>
                    <a:pt x="332439" y="58988"/>
                  </a:lnTo>
                  <a:lnTo>
                    <a:pt x="332439" y="81603"/>
                  </a:lnTo>
                  <a:lnTo>
                    <a:pt x="259382" y="81603"/>
                  </a:lnTo>
                  <a:lnTo>
                    <a:pt x="259382" y="58988"/>
                  </a:lnTo>
                  <a:lnTo>
                    <a:pt x="296031" y="58988"/>
                  </a:lnTo>
                  <a:lnTo>
                    <a:pt x="260890" y="22615"/>
                  </a:lnTo>
                  <a:close/>
                  <a:moveTo>
                    <a:pt x="177197" y="0"/>
                  </a:moveTo>
                  <a:lnTo>
                    <a:pt x="250253" y="0"/>
                  </a:lnTo>
                  <a:lnTo>
                    <a:pt x="250253" y="22615"/>
                  </a:lnTo>
                  <a:lnTo>
                    <a:pt x="214217" y="22615"/>
                  </a:lnTo>
                  <a:lnTo>
                    <a:pt x="248746" y="58988"/>
                  </a:lnTo>
                  <a:lnTo>
                    <a:pt x="248746" y="81603"/>
                  </a:lnTo>
                  <a:lnTo>
                    <a:pt x="175689" y="81603"/>
                  </a:lnTo>
                  <a:lnTo>
                    <a:pt x="175689" y="58988"/>
                  </a:lnTo>
                  <a:lnTo>
                    <a:pt x="212338" y="58988"/>
                  </a:lnTo>
                  <a:lnTo>
                    <a:pt x="177197" y="22615"/>
                  </a:lnTo>
                  <a:close/>
                  <a:moveTo>
                    <a:pt x="96678" y="0"/>
                  </a:moveTo>
                  <a:lnTo>
                    <a:pt x="101243" y="0"/>
                  </a:lnTo>
                  <a:lnTo>
                    <a:pt x="123440" y="0"/>
                  </a:lnTo>
                  <a:lnTo>
                    <a:pt x="158493" y="0"/>
                  </a:lnTo>
                  <a:lnTo>
                    <a:pt x="158493" y="22089"/>
                  </a:lnTo>
                  <a:lnTo>
                    <a:pt x="123440" y="22089"/>
                  </a:lnTo>
                  <a:lnTo>
                    <a:pt x="123440" y="56562"/>
                  </a:lnTo>
                  <a:lnTo>
                    <a:pt x="158493" y="56562"/>
                  </a:lnTo>
                  <a:lnTo>
                    <a:pt x="158493" y="78651"/>
                  </a:lnTo>
                  <a:lnTo>
                    <a:pt x="123440" y="78651"/>
                  </a:lnTo>
                  <a:lnTo>
                    <a:pt x="123440" y="78651"/>
                  </a:lnTo>
                  <a:lnTo>
                    <a:pt x="96678" y="78651"/>
                  </a:lnTo>
                  <a:close/>
                </a:path>
              </a:pathLst>
            </a:custGeom>
            <a:solidFill>
              <a:srgbClr val="0078D7"/>
            </a:solidFill>
            <a:ln w="19050" cap="rnd" cmpd="sng" algn="ctr">
              <a:noFill/>
              <a:prstDash val="solid"/>
              <a:headEnd type="none" w="med" len="med"/>
              <a:tailEnd type="none" w="med" len="med"/>
            </a:ln>
            <a:effectLst/>
          </p:spPr>
          <p:txBody>
            <a:bodyPr rot="0" spcFirstLastPara="0" vertOverflow="overflow" horzOverflow="overflow" vert="horz" wrap="square" lIns="0" tIns="89642" rIns="0" bIns="89642" numCol="1" spcCol="0" rtlCol="0" fromWordArt="0" anchor="b"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1194758" eaLnBrk="1" fontAlgn="base" latinLnBrk="0" hangingPunct="1">
                <a:lnSpc>
                  <a:spcPct val="100000"/>
                </a:lnSpc>
                <a:spcBef>
                  <a:spcPct val="0"/>
                </a:spcBef>
                <a:spcAft>
                  <a:spcPct val="0"/>
                </a:spcAft>
                <a:buClrTx/>
                <a:buSzTx/>
                <a:buFontTx/>
                <a:buNone/>
                <a:tabLst/>
                <a:defRPr/>
              </a:pPr>
              <a:endParaRPr kumimoji="0" lang="en-US" sz="2157" b="0" i="0" u="none" strike="noStrike" kern="0" cap="none" spc="-29" normalizeH="0" baseline="0" noProof="0" dirty="0" err="1">
                <a:ln>
                  <a:solidFill>
                    <a:srgbClr val="FFFFFF">
                      <a:alpha val="0"/>
                    </a:srgbClr>
                  </a:solidFill>
                </a:ln>
                <a:solidFill>
                  <a:srgbClr val="0078D7"/>
                </a:solidFill>
                <a:effectLst/>
                <a:uLnTx/>
                <a:uFillTx/>
                <a:latin typeface="Segoe UI Semilight"/>
                <a:ea typeface="Segoe UI" pitchFamily="34" charset="0"/>
                <a:cs typeface="Segoe UI" pitchFamily="34" charset="0"/>
              </a:endParaRPr>
            </a:p>
          </p:txBody>
        </p:sp>
        <p:sp>
          <p:nvSpPr>
            <p:cNvPr id="136" name="Freeform 84">
              <a:extLst>
                <a:ext uri="{FF2B5EF4-FFF2-40B4-BE49-F238E27FC236}">
                  <a16:creationId xmlns:a16="http://schemas.microsoft.com/office/drawing/2014/main" id="{DEA6181B-44CC-4C5F-A9D8-FDB2C8AC6696}"/>
                </a:ext>
              </a:extLst>
            </p:cNvPr>
            <p:cNvSpPr/>
            <p:nvPr/>
          </p:nvSpPr>
          <p:spPr bwMode="auto">
            <a:xfrm>
              <a:off x="3672840" y="2491018"/>
              <a:ext cx="438912" cy="603504"/>
            </a:xfrm>
            <a:custGeom>
              <a:avLst/>
              <a:gdLst>
                <a:gd name="connsiteX0" fmla="*/ 562501 w 2695575"/>
                <a:gd name="connsiteY0" fmla="*/ 1308509 h 3717135"/>
                <a:gd name="connsiteX1" fmla="*/ 561814 w 2695575"/>
                <a:gd name="connsiteY1" fmla="*/ 2305276 h 3717135"/>
                <a:gd name="connsiteX2" fmla="*/ 1736187 w 2695575"/>
                <a:gd name="connsiteY2" fmla="*/ 2305277 h 3717135"/>
                <a:gd name="connsiteX3" fmla="*/ 1736187 w 2695575"/>
                <a:gd name="connsiteY3" fmla="*/ 2687324 h 3717135"/>
                <a:gd name="connsiteX4" fmla="*/ 1372723 w 2695575"/>
                <a:gd name="connsiteY4" fmla="*/ 2808479 h 3717135"/>
                <a:gd name="connsiteX5" fmla="*/ 976218 w 2695575"/>
                <a:gd name="connsiteY5" fmla="*/ 2709352 h 3717135"/>
                <a:gd name="connsiteX6" fmla="*/ 977594 w 2695575"/>
                <a:gd name="connsiteY6" fmla="*/ 2434691 h 3717135"/>
                <a:gd name="connsiteX7" fmla="*/ 559059 w 2695575"/>
                <a:gd name="connsiteY7" fmla="*/ 2435820 h 3717135"/>
                <a:gd name="connsiteX8" fmla="*/ 559059 w 2695575"/>
                <a:gd name="connsiteY8" fmla="*/ 2942724 h 3717135"/>
                <a:gd name="connsiteX9" fmla="*/ 1356202 w 2695575"/>
                <a:gd name="connsiteY9" fmla="*/ 3166435 h 3717135"/>
                <a:gd name="connsiteX10" fmla="*/ 2118694 w 2695575"/>
                <a:gd name="connsiteY10" fmla="*/ 2929404 h 3717135"/>
                <a:gd name="connsiteX11" fmla="*/ 2121681 w 2695575"/>
                <a:gd name="connsiteY11" fmla="*/ 1968668 h 3717135"/>
                <a:gd name="connsiteX12" fmla="*/ 981036 w 2695575"/>
                <a:gd name="connsiteY12" fmla="*/ 1969349 h 3717135"/>
                <a:gd name="connsiteX13" fmla="*/ 981725 w 2695575"/>
                <a:gd name="connsiteY13" fmla="*/ 1660268 h 3717135"/>
                <a:gd name="connsiteX14" fmla="*/ 982660 w 2695575"/>
                <a:gd name="connsiteY14" fmla="*/ 1660267 h 3717135"/>
                <a:gd name="connsiteX15" fmla="*/ 982660 w 2695575"/>
                <a:gd name="connsiteY15" fmla="*/ 1560116 h 3717135"/>
                <a:gd name="connsiteX16" fmla="*/ 1703385 w 2695575"/>
                <a:gd name="connsiteY16" fmla="*/ 1560116 h 3717135"/>
                <a:gd name="connsiteX17" fmla="*/ 1703385 w 2695575"/>
                <a:gd name="connsiteY17" fmla="*/ 1659417 h 3717135"/>
                <a:gd name="connsiteX18" fmla="*/ 1703386 w 2695575"/>
                <a:gd name="connsiteY18" fmla="*/ 1659417 h 3717135"/>
                <a:gd name="connsiteX19" fmla="*/ 1703386 w 2695575"/>
                <a:gd name="connsiteY19" fmla="*/ 1858567 h 3717135"/>
                <a:gd name="connsiteX20" fmla="*/ 2132011 w 2695575"/>
                <a:gd name="connsiteY20" fmla="*/ 1858567 h 3717135"/>
                <a:gd name="connsiteX21" fmla="*/ 2125123 w 2695575"/>
                <a:gd name="connsiteY21" fmla="*/ 1309812 h 3717135"/>
                <a:gd name="connsiteX22" fmla="*/ 0 w 2695575"/>
                <a:gd name="connsiteY22" fmla="*/ 816773 h 3717135"/>
                <a:gd name="connsiteX23" fmla="*/ 2695575 w 2695575"/>
                <a:gd name="connsiteY23" fmla="*/ 816773 h 3717135"/>
                <a:gd name="connsiteX24" fmla="*/ 2390775 w 2695575"/>
                <a:gd name="connsiteY24" fmla="*/ 3426623 h 3717135"/>
                <a:gd name="connsiteX25" fmla="*/ 1362075 w 2695575"/>
                <a:gd name="connsiteY25" fmla="*/ 3717135 h 3717135"/>
                <a:gd name="connsiteX26" fmla="*/ 276225 w 2695575"/>
                <a:gd name="connsiteY26" fmla="*/ 3421860 h 3717135"/>
                <a:gd name="connsiteX27" fmla="*/ 0 w 2695575"/>
                <a:gd name="connsiteY27" fmla="*/ 821535 h 3717135"/>
                <a:gd name="connsiteX28" fmla="*/ 6678 w 2695575"/>
                <a:gd name="connsiteY28" fmla="*/ 822683 h 3717135"/>
                <a:gd name="connsiteX29" fmla="*/ 1363420 w 2695575"/>
                <a:gd name="connsiteY29" fmla="*/ 1985 h 3717135"/>
                <a:gd name="connsiteX30" fmla="*/ 1824358 w 2695575"/>
                <a:gd name="connsiteY30" fmla="*/ 1985 h 3717135"/>
                <a:gd name="connsiteX31" fmla="*/ 1824358 w 2695575"/>
                <a:gd name="connsiteY31" fmla="*/ 144674 h 3717135"/>
                <a:gd name="connsiteX32" fmla="*/ 1596996 w 2695575"/>
                <a:gd name="connsiteY32" fmla="*/ 144674 h 3717135"/>
                <a:gd name="connsiteX33" fmla="*/ 1814847 w 2695575"/>
                <a:gd name="connsiteY33" fmla="*/ 374160 h 3717135"/>
                <a:gd name="connsiteX34" fmla="*/ 1814847 w 2695575"/>
                <a:gd name="connsiteY34" fmla="*/ 516848 h 3717135"/>
                <a:gd name="connsiteX35" fmla="*/ 1353909 w 2695575"/>
                <a:gd name="connsiteY35" fmla="*/ 516848 h 3717135"/>
                <a:gd name="connsiteX36" fmla="*/ 1353909 w 2695575"/>
                <a:gd name="connsiteY36" fmla="*/ 374160 h 3717135"/>
                <a:gd name="connsiteX37" fmla="*/ 1585137 w 2695575"/>
                <a:gd name="connsiteY37" fmla="*/ 374160 h 3717135"/>
                <a:gd name="connsiteX38" fmla="*/ 1363420 w 2695575"/>
                <a:gd name="connsiteY38" fmla="*/ 144674 h 3717135"/>
                <a:gd name="connsiteX39" fmla="*/ 1114510 w 2695575"/>
                <a:gd name="connsiteY39" fmla="*/ 0 h 3717135"/>
                <a:gd name="connsiteX40" fmla="*/ 1276223 w 2695575"/>
                <a:gd name="connsiteY40" fmla="*/ 0 h 3717135"/>
                <a:gd name="connsiteX41" fmla="*/ 1276223 w 2695575"/>
                <a:gd name="connsiteY41" fmla="*/ 516848 h 3717135"/>
                <a:gd name="connsiteX42" fmla="*/ 1247686 w 2695575"/>
                <a:gd name="connsiteY42" fmla="*/ 516848 h 3717135"/>
                <a:gd name="connsiteX43" fmla="*/ 1114510 w 2695575"/>
                <a:gd name="connsiteY43" fmla="*/ 516848 h 3717135"/>
                <a:gd name="connsiteX44" fmla="*/ 864013 w 2695575"/>
                <a:gd name="connsiteY44" fmla="*/ 516848 h 3717135"/>
                <a:gd name="connsiteX45" fmla="*/ 864013 w 2695575"/>
                <a:gd name="connsiteY45" fmla="*/ 348793 h 3717135"/>
                <a:gd name="connsiteX46" fmla="*/ 1114510 w 2695575"/>
                <a:gd name="connsiteY46" fmla="*/ 348793 h 3717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695575" h="3717135">
                  <a:moveTo>
                    <a:pt x="562501" y="1308509"/>
                  </a:moveTo>
                  <a:cubicBezTo>
                    <a:pt x="562273" y="1640765"/>
                    <a:pt x="562044" y="1973020"/>
                    <a:pt x="561814" y="2305276"/>
                  </a:cubicBezTo>
                  <a:lnTo>
                    <a:pt x="1736187" y="2305277"/>
                  </a:lnTo>
                  <a:lnTo>
                    <a:pt x="1736187" y="2687324"/>
                  </a:lnTo>
                  <a:lnTo>
                    <a:pt x="1372723" y="2808479"/>
                  </a:lnTo>
                  <a:lnTo>
                    <a:pt x="976218" y="2709352"/>
                  </a:lnTo>
                  <a:cubicBezTo>
                    <a:pt x="976677" y="2617798"/>
                    <a:pt x="977135" y="2526245"/>
                    <a:pt x="977594" y="2434691"/>
                  </a:cubicBezTo>
                  <a:lnTo>
                    <a:pt x="559059" y="2435820"/>
                  </a:lnTo>
                  <a:lnTo>
                    <a:pt x="559059" y="2942724"/>
                  </a:lnTo>
                  <a:lnTo>
                    <a:pt x="1356202" y="3166435"/>
                  </a:lnTo>
                  <a:lnTo>
                    <a:pt x="2118694" y="2929404"/>
                  </a:lnTo>
                  <a:cubicBezTo>
                    <a:pt x="2119691" y="2609159"/>
                    <a:pt x="2120685" y="2288913"/>
                    <a:pt x="2121681" y="1968668"/>
                  </a:cubicBezTo>
                  <a:lnTo>
                    <a:pt x="981036" y="1969349"/>
                  </a:lnTo>
                  <a:cubicBezTo>
                    <a:pt x="982413" y="1861732"/>
                    <a:pt x="980348" y="1767884"/>
                    <a:pt x="981725" y="1660268"/>
                  </a:cubicBezTo>
                  <a:lnTo>
                    <a:pt x="982660" y="1660267"/>
                  </a:lnTo>
                  <a:lnTo>
                    <a:pt x="982660" y="1560116"/>
                  </a:lnTo>
                  <a:lnTo>
                    <a:pt x="1703385" y="1560116"/>
                  </a:lnTo>
                  <a:lnTo>
                    <a:pt x="1703385" y="1659417"/>
                  </a:lnTo>
                  <a:lnTo>
                    <a:pt x="1703386" y="1659417"/>
                  </a:lnTo>
                  <a:lnTo>
                    <a:pt x="1703386" y="1858567"/>
                  </a:lnTo>
                  <a:lnTo>
                    <a:pt x="2132011" y="1858567"/>
                  </a:lnTo>
                  <a:lnTo>
                    <a:pt x="2125123" y="1309812"/>
                  </a:lnTo>
                  <a:close/>
                  <a:moveTo>
                    <a:pt x="0" y="816773"/>
                  </a:moveTo>
                  <a:lnTo>
                    <a:pt x="2695575" y="816773"/>
                  </a:lnTo>
                  <a:lnTo>
                    <a:pt x="2390775" y="3426623"/>
                  </a:lnTo>
                  <a:lnTo>
                    <a:pt x="1362075" y="3717135"/>
                  </a:lnTo>
                  <a:lnTo>
                    <a:pt x="276225" y="3421860"/>
                  </a:lnTo>
                  <a:lnTo>
                    <a:pt x="0" y="821535"/>
                  </a:lnTo>
                  <a:lnTo>
                    <a:pt x="6678" y="822683"/>
                  </a:lnTo>
                  <a:close/>
                  <a:moveTo>
                    <a:pt x="1363420" y="1985"/>
                  </a:moveTo>
                  <a:lnTo>
                    <a:pt x="1824358" y="1985"/>
                  </a:lnTo>
                  <a:lnTo>
                    <a:pt x="1824358" y="144674"/>
                  </a:lnTo>
                  <a:lnTo>
                    <a:pt x="1596996" y="144674"/>
                  </a:lnTo>
                  <a:lnTo>
                    <a:pt x="1814847" y="374160"/>
                  </a:lnTo>
                  <a:lnTo>
                    <a:pt x="1814847" y="516848"/>
                  </a:lnTo>
                  <a:lnTo>
                    <a:pt x="1353909" y="516848"/>
                  </a:lnTo>
                  <a:lnTo>
                    <a:pt x="1353909" y="374160"/>
                  </a:lnTo>
                  <a:lnTo>
                    <a:pt x="1585137" y="374160"/>
                  </a:lnTo>
                  <a:lnTo>
                    <a:pt x="1363420" y="144674"/>
                  </a:lnTo>
                  <a:close/>
                  <a:moveTo>
                    <a:pt x="1114510" y="0"/>
                  </a:moveTo>
                  <a:lnTo>
                    <a:pt x="1276223" y="0"/>
                  </a:lnTo>
                  <a:lnTo>
                    <a:pt x="1276223" y="516848"/>
                  </a:lnTo>
                  <a:lnTo>
                    <a:pt x="1247686" y="516848"/>
                  </a:lnTo>
                  <a:lnTo>
                    <a:pt x="1114510" y="516848"/>
                  </a:lnTo>
                  <a:lnTo>
                    <a:pt x="864013" y="516848"/>
                  </a:lnTo>
                  <a:lnTo>
                    <a:pt x="864013" y="348793"/>
                  </a:lnTo>
                  <a:lnTo>
                    <a:pt x="1114510" y="348793"/>
                  </a:ln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solidFill>
                  <a:srgbClr val="0078D7"/>
                </a:solidFill>
                <a:effectLst/>
                <a:uLnTx/>
                <a:uFillTx/>
                <a:latin typeface="Segoe UI Semilight"/>
                <a:ea typeface="Segoe UI" pitchFamily="34" charset="0"/>
                <a:cs typeface="Segoe UI" pitchFamily="34" charset="0"/>
              </a:endParaRPr>
            </a:p>
          </p:txBody>
        </p:sp>
      </p:grpSp>
      <p:grpSp>
        <p:nvGrpSpPr>
          <p:cNvPr id="137" name="Group 136">
            <a:extLst>
              <a:ext uri="{FF2B5EF4-FFF2-40B4-BE49-F238E27FC236}">
                <a16:creationId xmlns:a16="http://schemas.microsoft.com/office/drawing/2014/main" id="{25E22429-18A2-4FA5-98D7-E5BFCB4F49B6}"/>
              </a:ext>
            </a:extLst>
          </p:cNvPr>
          <p:cNvGrpSpPr/>
          <p:nvPr/>
        </p:nvGrpSpPr>
        <p:grpSpPr>
          <a:xfrm>
            <a:off x="4161696" y="2721905"/>
            <a:ext cx="3612592" cy="1863818"/>
            <a:chOff x="4360182" y="2324626"/>
            <a:chExt cx="3685032" cy="1901191"/>
          </a:xfrm>
        </p:grpSpPr>
        <p:sp>
          <p:nvSpPr>
            <p:cNvPr id="138" name="Rectangle 137">
              <a:extLst>
                <a:ext uri="{FF2B5EF4-FFF2-40B4-BE49-F238E27FC236}">
                  <a16:creationId xmlns:a16="http://schemas.microsoft.com/office/drawing/2014/main" id="{F925B736-4D79-4C41-BE96-CB934EC76F61}"/>
                </a:ext>
              </a:extLst>
            </p:cNvPr>
            <p:cNvSpPr/>
            <p:nvPr/>
          </p:nvSpPr>
          <p:spPr bwMode="auto">
            <a:xfrm>
              <a:off x="4360182" y="2324626"/>
              <a:ext cx="3685032" cy="936289"/>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34464" tIns="89642" rIns="134464" bIns="89642"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defTabSz="896386" eaLnBrk="1" fontAlgn="auto" latinLnBrk="0" hangingPunct="1">
                <a:lnSpc>
                  <a:spcPct val="100000"/>
                </a:lnSpc>
                <a:spcBef>
                  <a:spcPts val="196"/>
                </a:spcBef>
                <a:spcAft>
                  <a:spcPts val="196"/>
                </a:spcAft>
                <a:buClrTx/>
                <a:buSzTx/>
                <a:buFontTx/>
                <a:buNone/>
                <a:tabLst/>
                <a:defRPr/>
              </a:pPr>
              <a:r>
                <a:rPr kumimoji="0" lang="en-US" sz="1765" b="0" i="0" u="none" strike="noStrike" kern="0" cap="none" spc="0" normalizeH="0" baseline="0" noProof="0" dirty="0">
                  <a:ln>
                    <a:noFill/>
                  </a:ln>
                  <a:gradFill>
                    <a:gsLst>
                      <a:gs pos="20732">
                        <a:srgbClr val="0078D7"/>
                      </a:gs>
                      <a:gs pos="70000">
                        <a:srgbClr val="0078D7"/>
                      </a:gs>
                    </a:gsLst>
                    <a:lin ang="5400000" scaled="0"/>
                  </a:gradFill>
                  <a:effectLst/>
                  <a:uLnTx/>
                  <a:uFillTx/>
                  <a:latin typeface="Segoe UI Semibold" panose="020B0702040204020203" pitchFamily="34" charset="0"/>
                </a:rPr>
                <a:t>SaaS</a:t>
              </a:r>
            </a:p>
          </p:txBody>
        </p:sp>
        <p:sp>
          <p:nvSpPr>
            <p:cNvPr id="139" name="Rectangle 138">
              <a:extLst>
                <a:ext uri="{FF2B5EF4-FFF2-40B4-BE49-F238E27FC236}">
                  <a16:creationId xmlns:a16="http://schemas.microsoft.com/office/drawing/2014/main" id="{68ADDB65-F589-463E-A30E-6EC1B95D88EC}"/>
                </a:ext>
              </a:extLst>
            </p:cNvPr>
            <p:cNvSpPr/>
            <p:nvPr/>
          </p:nvSpPr>
          <p:spPr bwMode="auto">
            <a:xfrm>
              <a:off x="4360182" y="3289528"/>
              <a:ext cx="3685032" cy="936289"/>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34464" tIns="89642" rIns="134464" bIns="89642"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defTabSz="896386" eaLnBrk="1" fontAlgn="auto" latinLnBrk="0" hangingPunct="1">
                <a:lnSpc>
                  <a:spcPct val="100000"/>
                </a:lnSpc>
                <a:spcBef>
                  <a:spcPts val="196"/>
                </a:spcBef>
                <a:spcAft>
                  <a:spcPts val="196"/>
                </a:spcAft>
                <a:buClrTx/>
                <a:buSzTx/>
                <a:buFontTx/>
                <a:buNone/>
                <a:tabLst/>
                <a:defRPr/>
              </a:pPr>
              <a:r>
                <a:rPr kumimoji="0" lang="en-US" sz="1765" b="0" i="0" u="none" strike="noStrike" kern="0" cap="none" spc="0" normalizeH="0" baseline="0" noProof="0" dirty="0">
                  <a:ln>
                    <a:noFill/>
                  </a:ln>
                  <a:gradFill>
                    <a:gsLst>
                      <a:gs pos="20732">
                        <a:srgbClr val="0078D7"/>
                      </a:gs>
                      <a:gs pos="70000">
                        <a:srgbClr val="0078D7"/>
                      </a:gs>
                    </a:gsLst>
                    <a:lin ang="5400000" scaled="0"/>
                  </a:gradFill>
                  <a:effectLst/>
                  <a:uLnTx/>
                  <a:uFillTx/>
                  <a:latin typeface="Segoe UI Semibold" panose="020B0702040204020203" pitchFamily="34" charset="0"/>
                </a:rPr>
                <a:t>Web applications</a:t>
              </a:r>
            </a:p>
          </p:txBody>
        </p:sp>
        <p:pic>
          <p:nvPicPr>
            <p:cNvPr id="140" name="Picture 139">
              <a:extLst>
                <a:ext uri="{FF2B5EF4-FFF2-40B4-BE49-F238E27FC236}">
                  <a16:creationId xmlns:a16="http://schemas.microsoft.com/office/drawing/2014/main" id="{E0FB83E4-FFBA-4517-A97F-900B62C24EFF}"/>
                </a:ext>
              </a:extLst>
            </p:cNvPr>
            <p:cNvPicPr>
              <a:picLocks noChangeAspect="1"/>
            </p:cNvPicPr>
            <p:nvPr/>
          </p:nvPicPr>
          <p:blipFill>
            <a:blip r:embed="rId7">
              <a:duotone>
                <a:prstClr val="black"/>
                <a:srgbClr val="0078D7">
                  <a:tint val="45000"/>
                  <a:satMod val="400000"/>
                </a:srgbClr>
              </a:duotone>
            </a:blip>
            <a:stretch>
              <a:fillRect/>
            </a:stretch>
          </p:blipFill>
          <p:spPr>
            <a:xfrm>
              <a:off x="6700310" y="3491900"/>
              <a:ext cx="527800" cy="531544"/>
            </a:xfrm>
            <a:prstGeom prst="rect">
              <a:avLst/>
            </a:prstGeom>
            <a:ln>
              <a:noFill/>
            </a:ln>
          </p:spPr>
        </p:pic>
        <p:pic>
          <p:nvPicPr>
            <p:cNvPr id="141" name="Picture 140">
              <a:extLst>
                <a:ext uri="{FF2B5EF4-FFF2-40B4-BE49-F238E27FC236}">
                  <a16:creationId xmlns:a16="http://schemas.microsoft.com/office/drawing/2014/main" id="{53344155-48D5-4B50-A0FF-055D3A8C7A91}"/>
                </a:ext>
              </a:extLst>
            </p:cNvPr>
            <p:cNvPicPr>
              <a:picLocks noChangeAspect="1"/>
            </p:cNvPicPr>
            <p:nvPr/>
          </p:nvPicPr>
          <p:blipFill>
            <a:blip r:embed="rId8">
              <a:duotone>
                <a:prstClr val="black"/>
                <a:srgbClr val="0078D7">
                  <a:tint val="45000"/>
                  <a:satMod val="400000"/>
                </a:srgbClr>
              </a:duotone>
            </a:blip>
            <a:stretch>
              <a:fillRect/>
            </a:stretch>
          </p:blipFill>
          <p:spPr>
            <a:xfrm>
              <a:off x="7409607" y="3491900"/>
              <a:ext cx="531544" cy="531544"/>
            </a:xfrm>
            <a:prstGeom prst="rect">
              <a:avLst/>
            </a:prstGeom>
          </p:spPr>
        </p:pic>
        <p:grpSp>
          <p:nvGrpSpPr>
            <p:cNvPr id="142" name="Group 141">
              <a:extLst>
                <a:ext uri="{FF2B5EF4-FFF2-40B4-BE49-F238E27FC236}">
                  <a16:creationId xmlns:a16="http://schemas.microsoft.com/office/drawing/2014/main" id="{42A6C2FD-3380-4439-B806-07C986EC4941}"/>
                </a:ext>
              </a:extLst>
            </p:cNvPr>
            <p:cNvGrpSpPr/>
            <p:nvPr/>
          </p:nvGrpSpPr>
          <p:grpSpPr>
            <a:xfrm>
              <a:off x="6467836" y="2456322"/>
              <a:ext cx="1421150" cy="672895"/>
              <a:chOff x="6467836" y="2451882"/>
              <a:chExt cx="1421150" cy="672895"/>
            </a:xfrm>
          </p:grpSpPr>
          <p:pic>
            <p:nvPicPr>
              <p:cNvPr id="143" name="Picture 142">
                <a:extLst>
                  <a:ext uri="{FF2B5EF4-FFF2-40B4-BE49-F238E27FC236}">
                    <a16:creationId xmlns:a16="http://schemas.microsoft.com/office/drawing/2014/main" id="{BFA247F5-7766-4806-9B89-24BAC1880A78}"/>
                  </a:ext>
                </a:extLst>
              </p:cNvPr>
              <p:cNvPicPr>
                <a:picLocks noChangeAspect="1"/>
              </p:cNvPicPr>
              <p:nvPr/>
            </p:nvPicPr>
            <p:blipFill>
              <a:blip r:embed="rId9"/>
              <a:stretch>
                <a:fillRect/>
              </a:stretch>
            </p:blipFill>
            <p:spPr>
              <a:xfrm>
                <a:off x="6467836" y="2451882"/>
                <a:ext cx="1376478" cy="303152"/>
              </a:xfrm>
              <a:prstGeom prst="rect">
                <a:avLst/>
              </a:prstGeom>
            </p:spPr>
          </p:pic>
          <p:pic>
            <p:nvPicPr>
              <p:cNvPr id="144" name="Picture 143">
                <a:extLst>
                  <a:ext uri="{FF2B5EF4-FFF2-40B4-BE49-F238E27FC236}">
                    <a16:creationId xmlns:a16="http://schemas.microsoft.com/office/drawing/2014/main" id="{853F0CFA-A664-4989-8DE2-5CD3F235D2FF}"/>
                  </a:ext>
                </a:extLst>
              </p:cNvPr>
              <p:cNvPicPr>
                <a:picLocks noChangeAspect="1"/>
              </p:cNvPicPr>
              <p:nvPr/>
            </p:nvPicPr>
            <p:blipFill>
              <a:blip r:embed="rId10">
                <a:duotone>
                  <a:prstClr val="black"/>
                  <a:srgbClr val="0078D7">
                    <a:tint val="45000"/>
                    <a:satMod val="400000"/>
                  </a:srgbClr>
                </a:duotone>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tretch>
                <a:fillRect/>
              </a:stretch>
            </p:blipFill>
            <p:spPr>
              <a:xfrm>
                <a:off x="6467836" y="2836707"/>
                <a:ext cx="1421150" cy="288070"/>
              </a:xfrm>
              <a:prstGeom prst="rect">
                <a:avLst/>
              </a:prstGeom>
            </p:spPr>
          </p:pic>
        </p:grpSp>
      </p:grpSp>
    </p:spTree>
    <p:extLst>
      <p:ext uri="{BB962C8B-B14F-4D97-AF65-F5344CB8AC3E}">
        <p14:creationId xmlns:p14="http://schemas.microsoft.com/office/powerpoint/2010/main" val="741479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0285" y="123825"/>
            <a:ext cx="10515600" cy="1325563"/>
          </a:xfrm>
        </p:spPr>
        <p:txBody>
          <a:bodyPr>
            <a:normAutofit/>
          </a:bodyPr>
          <a:lstStyle/>
          <a:p>
            <a:r>
              <a:rPr lang="en-US" dirty="0">
                <a:latin typeface="Segoe UI Light" panose="020B0502040204020203" pitchFamily="34" charset="0"/>
                <a:cs typeface="Segoe UI Light" panose="020B0502040204020203" pitchFamily="34" charset="0"/>
              </a:rPr>
              <a:t>Challenge</a:t>
            </a:r>
            <a:r>
              <a:rPr lang="en-US" sz="4400" dirty="0">
                <a:solidFill>
                  <a:schemeClr val="tx1"/>
                </a:solidFill>
                <a:latin typeface="Segoe UI Light" panose="020B0502040204020203" pitchFamily="34" charset="0"/>
                <a:cs typeface="Segoe UI Light" panose="020B0502040204020203" pitchFamily="34" charset="0"/>
              </a:rPr>
              <a:t> 6: Optimize web application performance implementing CDN</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1945148"/>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Web Application has a CDN implemented to improve performance</a:t>
            </a:r>
          </a:p>
          <a:p>
            <a:pPr>
              <a:lnSpc>
                <a:spcPct val="90000"/>
              </a:lnSpc>
              <a:spcAft>
                <a:spcPts val="600"/>
              </a:spcAft>
            </a:pPr>
            <a:endParaRPr lang="en-US" sz="2400" dirty="0"/>
          </a:p>
        </p:txBody>
      </p:sp>
      <p:sp>
        <p:nvSpPr>
          <p:cNvPr id="4" name="Rectangle 3">
            <a:extLst>
              <a:ext uri="{FF2B5EF4-FFF2-40B4-BE49-F238E27FC236}">
                <a16:creationId xmlns:a16="http://schemas.microsoft.com/office/drawing/2014/main" id="{7996E51F-61E5-134F-88EE-3CF0A55AA2BE}"/>
              </a:ext>
            </a:extLst>
          </p:cNvPr>
          <p:cNvSpPr/>
          <p:nvPr/>
        </p:nvSpPr>
        <p:spPr>
          <a:xfrm>
            <a:off x="7815042" y="4528412"/>
            <a:ext cx="4110038" cy="2200602"/>
          </a:xfrm>
          <a:prstGeom prst="rect">
            <a:avLst/>
          </a:prstGeom>
        </p:spPr>
        <p:txBody>
          <a:bodyPr wrap="square">
            <a:spAutoFit/>
          </a:bodyPr>
          <a:lstStyle/>
          <a:p>
            <a:pPr marR="288290">
              <a:spcBef>
                <a:spcPts val="600"/>
              </a:spcBef>
            </a:pPr>
            <a:r>
              <a:rPr lang="en-US" sz="2400" dirty="0">
                <a:ea typeface="Segoe UI"/>
                <a:cs typeface="Segoe UI"/>
              </a:rPr>
              <a:t>Default Accounts</a:t>
            </a:r>
          </a:p>
          <a:p>
            <a:pPr marR="288290">
              <a:spcBef>
                <a:spcPts val="600"/>
              </a:spcBef>
            </a:pPr>
            <a:r>
              <a:rPr lang="en-US" dirty="0">
                <a:ea typeface="Segoe UI"/>
                <a:cs typeface="Segoe UI"/>
              </a:rPr>
              <a:t>Admin User Name: sysadmin</a:t>
            </a:r>
            <a:br>
              <a:rPr lang="en-US" dirty="0">
                <a:ea typeface="Segoe UI"/>
                <a:cs typeface="Segoe UI"/>
              </a:rPr>
            </a:br>
            <a:r>
              <a:rPr lang="en-US" dirty="0">
                <a:ea typeface="Segoe UI"/>
                <a:cs typeface="Segoe UI"/>
              </a:rPr>
              <a:t>Admin User Password: Password$123</a:t>
            </a:r>
          </a:p>
          <a:p>
            <a:pPr marR="288290"/>
            <a:r>
              <a:rPr lang="en-US" dirty="0" err="1">
                <a:ea typeface="Segoe UI"/>
                <a:cs typeface="Segoe UI"/>
              </a:rPr>
              <a:t>db</a:t>
            </a:r>
            <a:r>
              <a:rPr lang="en-US" dirty="0">
                <a:ea typeface="Segoe UI"/>
                <a:cs typeface="Segoe UI"/>
              </a:rPr>
              <a:t> Login Name: </a:t>
            </a:r>
            <a:r>
              <a:rPr lang="en-US" dirty="0" err="1">
                <a:ea typeface="Segoe UI"/>
                <a:cs typeface="Segoe UI"/>
              </a:rPr>
              <a:t>workshopServiceAcc</a:t>
            </a:r>
            <a:br>
              <a:rPr lang="en-US" dirty="0">
                <a:ea typeface="Segoe UI"/>
                <a:cs typeface="Segoe UI"/>
              </a:rPr>
            </a:br>
            <a:r>
              <a:rPr lang="en-US" dirty="0" err="1">
                <a:ea typeface="Segoe UI"/>
                <a:cs typeface="Segoe UI"/>
              </a:rPr>
              <a:t>db</a:t>
            </a:r>
            <a:r>
              <a:rPr lang="en-US" dirty="0">
                <a:ea typeface="Segoe UI"/>
                <a:cs typeface="Segoe UI"/>
              </a:rPr>
              <a:t> User Name: </a:t>
            </a:r>
            <a:r>
              <a:rPr lang="en-US" dirty="0" err="1">
                <a:ea typeface="Segoe UI"/>
                <a:cs typeface="Segoe UI"/>
              </a:rPr>
              <a:t>workshopServiceAcc</a:t>
            </a:r>
            <a:br>
              <a:rPr lang="en-US" dirty="0">
                <a:ea typeface="Segoe UI"/>
                <a:cs typeface="Segoe UI"/>
              </a:rPr>
            </a:br>
            <a:r>
              <a:rPr lang="en-US" dirty="0" err="1">
                <a:ea typeface="Segoe UI"/>
                <a:cs typeface="Segoe UI"/>
              </a:rPr>
              <a:t>db</a:t>
            </a:r>
            <a:r>
              <a:rPr lang="en-US" dirty="0">
                <a:ea typeface="Segoe UI"/>
                <a:cs typeface="Segoe UI"/>
              </a:rPr>
              <a:t> User Password: P2ssw0rd</a:t>
            </a:r>
          </a:p>
          <a:p>
            <a:pPr marR="288290">
              <a:spcAft>
                <a:spcPts val="600"/>
              </a:spcAft>
            </a:pPr>
            <a:r>
              <a:rPr lang="en-US" dirty="0">
                <a:ea typeface="Segoe UI"/>
                <a:cs typeface="Segoe UI"/>
              </a:rPr>
              <a:t>Database Name: </a:t>
            </a:r>
            <a:r>
              <a:rPr lang="en-US" dirty="0" err="1">
                <a:ea typeface="Segoe UI"/>
                <a:cs typeface="Segoe UI"/>
              </a:rPr>
              <a:t>partsUnlimitedDB</a:t>
            </a:r>
            <a:endParaRPr lang="en-US" dirty="0">
              <a:ea typeface="Segoe UI"/>
              <a:cs typeface="Segoe UI"/>
            </a:endParaRPr>
          </a:p>
        </p:txBody>
      </p:sp>
      <p:sp>
        <p:nvSpPr>
          <p:cNvPr id="3" name="Rectangle 2">
            <a:extLst>
              <a:ext uri="{FF2B5EF4-FFF2-40B4-BE49-F238E27FC236}">
                <a16:creationId xmlns:a16="http://schemas.microsoft.com/office/drawing/2014/main" id="{C6BB9A4B-058B-CB47-8FE3-08242EC6F7F8}"/>
              </a:ext>
            </a:extLst>
          </p:cNvPr>
          <p:cNvSpPr/>
          <p:nvPr/>
        </p:nvSpPr>
        <p:spPr>
          <a:xfrm>
            <a:off x="340285" y="4528412"/>
            <a:ext cx="7247964" cy="2031325"/>
          </a:xfrm>
          <a:prstGeom prst="rect">
            <a:avLst/>
          </a:prstGeom>
        </p:spPr>
        <p:txBody>
          <a:bodyPr wrap="square">
            <a:spAutoFit/>
          </a:bodyPr>
          <a:lstStyle/>
          <a:p>
            <a:r>
              <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3"/>
              </a:rPr>
              <a:t>https://azure.microsoft.com/en-us/services/cdn/</a:t>
            </a:r>
            <a:endPar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endParaRPr>
          </a:p>
          <a:p>
            <a:endParaRPr lang="en-US" u="sng" dirty="0">
              <a:solidFill>
                <a:srgbClr val="0563C1"/>
              </a:solidFill>
              <a:latin typeface="Calibri" panose="020F0502020204030204" pitchFamily="34" charset="0"/>
              <a:cs typeface="Times New Roman" panose="02020603050405020304" pitchFamily="18" charset="0"/>
            </a:endParaRPr>
          </a:p>
          <a:p>
            <a:r>
              <a:rPr lang="en-US" u="sng" dirty="0">
                <a:hlinkClick r:id="rId4"/>
              </a:rPr>
              <a:t>https://docs.microsoft.com/en-us/azure/cdn/cdn-overview</a:t>
            </a:r>
            <a:r>
              <a:rPr lang="en-US" dirty="0"/>
              <a:t> </a:t>
            </a:r>
          </a:p>
          <a:p>
            <a:endParaRPr lang="en-US" u="sng" dirty="0">
              <a:solidFill>
                <a:srgbClr val="0563C1"/>
              </a:solidFill>
              <a:latin typeface="Calibri" panose="020F0502020204030204" pitchFamily="34" charset="0"/>
              <a:cs typeface="Times New Roman" panose="02020603050405020304" pitchFamily="18" charset="0"/>
            </a:endParaRPr>
          </a:p>
          <a:p>
            <a:r>
              <a:rPr lang="en-US" u="sng" dirty="0">
                <a:hlinkClick r:id="rId5"/>
              </a:rPr>
              <a:t>https://docs.microsoft.com/en-us/azure/cdn/cdn-create-new-endpoint</a:t>
            </a:r>
            <a:endParaRPr lang="en-US" dirty="0"/>
          </a:p>
          <a:p>
            <a:endParaRPr lang="en-US" u="sng" dirty="0">
              <a:solidFill>
                <a:srgbClr val="0563C1"/>
              </a:solidFill>
              <a:latin typeface="Calibri" panose="020F0502020204030204" pitchFamily="34" charset="0"/>
              <a:cs typeface="Times New Roman" panose="02020603050405020304" pitchFamily="18" charset="0"/>
            </a:endParaRPr>
          </a:p>
          <a:p>
            <a:r>
              <a:rPr lang="en-US" dirty="0"/>
              <a:t> </a:t>
            </a:r>
          </a:p>
        </p:txBody>
      </p:sp>
    </p:spTree>
    <p:extLst>
      <p:ext uri="{BB962C8B-B14F-4D97-AF65-F5344CB8AC3E}">
        <p14:creationId xmlns:p14="http://schemas.microsoft.com/office/powerpoint/2010/main" val="15795195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0285" y="136525"/>
            <a:ext cx="10515600" cy="1325563"/>
          </a:xfrm>
        </p:spPr>
        <p:txBody>
          <a:bodyPr>
            <a:normAutofit fontScale="90000"/>
          </a:bodyPr>
          <a:lstStyle/>
          <a:p>
            <a:r>
              <a:rPr lang="en-US" dirty="0">
                <a:latin typeface="Segoe UI Light" panose="020B0502040204020203" pitchFamily="34" charset="0"/>
                <a:cs typeface="Segoe UI Light" panose="020B0502040204020203" pitchFamily="34" charset="0"/>
              </a:rPr>
              <a:t>Challenge</a:t>
            </a:r>
            <a:r>
              <a:rPr lang="en-US" sz="4400" dirty="0">
                <a:solidFill>
                  <a:schemeClr val="tx1"/>
                </a:solidFill>
                <a:latin typeface="Segoe UI Light" panose="020B0502040204020203" pitchFamily="34" charset="0"/>
                <a:cs typeface="Segoe UI Light" panose="020B0502040204020203" pitchFamily="34" charset="0"/>
              </a:rPr>
              <a:t> 7: Optimize web application performance implementing CDN for static assets</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1945148"/>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Web Application has a CDN implemented for static files to improve performance</a:t>
            </a:r>
          </a:p>
          <a:p>
            <a:pPr>
              <a:lnSpc>
                <a:spcPct val="90000"/>
              </a:lnSpc>
              <a:spcAft>
                <a:spcPts val="600"/>
              </a:spcAft>
            </a:pPr>
            <a:endParaRPr lang="en-US" sz="2400" dirty="0"/>
          </a:p>
        </p:txBody>
      </p:sp>
      <p:sp>
        <p:nvSpPr>
          <p:cNvPr id="4" name="Rectangle 3">
            <a:extLst>
              <a:ext uri="{FF2B5EF4-FFF2-40B4-BE49-F238E27FC236}">
                <a16:creationId xmlns:a16="http://schemas.microsoft.com/office/drawing/2014/main" id="{938020DC-BCF3-4446-BD0D-5DDCF21A61D7}"/>
              </a:ext>
            </a:extLst>
          </p:cNvPr>
          <p:cNvSpPr/>
          <p:nvPr/>
        </p:nvSpPr>
        <p:spPr>
          <a:xfrm>
            <a:off x="7815042" y="4528412"/>
            <a:ext cx="4110038" cy="2200602"/>
          </a:xfrm>
          <a:prstGeom prst="rect">
            <a:avLst/>
          </a:prstGeom>
        </p:spPr>
        <p:txBody>
          <a:bodyPr wrap="square">
            <a:spAutoFit/>
          </a:bodyPr>
          <a:lstStyle/>
          <a:p>
            <a:pPr marR="288290">
              <a:spcBef>
                <a:spcPts val="600"/>
              </a:spcBef>
            </a:pPr>
            <a:r>
              <a:rPr lang="en-US" sz="2400" dirty="0">
                <a:ea typeface="Segoe UI"/>
                <a:cs typeface="Segoe UI"/>
              </a:rPr>
              <a:t>Default Accounts</a:t>
            </a:r>
          </a:p>
          <a:p>
            <a:pPr marR="288290">
              <a:spcBef>
                <a:spcPts val="600"/>
              </a:spcBef>
            </a:pPr>
            <a:r>
              <a:rPr lang="en-US" dirty="0">
                <a:ea typeface="Segoe UI"/>
                <a:cs typeface="Segoe UI"/>
              </a:rPr>
              <a:t>Admin User Name: sysadmin</a:t>
            </a:r>
            <a:br>
              <a:rPr lang="en-US" dirty="0">
                <a:ea typeface="Segoe UI"/>
                <a:cs typeface="Segoe UI"/>
              </a:rPr>
            </a:br>
            <a:r>
              <a:rPr lang="en-US" dirty="0">
                <a:ea typeface="Segoe UI"/>
                <a:cs typeface="Segoe UI"/>
              </a:rPr>
              <a:t>Admin User Password: Password$123</a:t>
            </a:r>
          </a:p>
          <a:p>
            <a:pPr marR="288290"/>
            <a:r>
              <a:rPr lang="en-US" dirty="0" err="1">
                <a:ea typeface="Segoe UI"/>
                <a:cs typeface="Segoe UI"/>
              </a:rPr>
              <a:t>db</a:t>
            </a:r>
            <a:r>
              <a:rPr lang="en-US" dirty="0">
                <a:ea typeface="Segoe UI"/>
                <a:cs typeface="Segoe UI"/>
              </a:rPr>
              <a:t> Login Name: </a:t>
            </a:r>
            <a:r>
              <a:rPr lang="en-US" dirty="0" err="1">
                <a:ea typeface="Segoe UI"/>
                <a:cs typeface="Segoe UI"/>
              </a:rPr>
              <a:t>workshopServiceAcc</a:t>
            </a:r>
            <a:br>
              <a:rPr lang="en-US" dirty="0">
                <a:ea typeface="Segoe UI"/>
                <a:cs typeface="Segoe UI"/>
              </a:rPr>
            </a:br>
            <a:r>
              <a:rPr lang="en-US" dirty="0" err="1">
                <a:ea typeface="Segoe UI"/>
                <a:cs typeface="Segoe UI"/>
              </a:rPr>
              <a:t>db</a:t>
            </a:r>
            <a:r>
              <a:rPr lang="en-US" dirty="0">
                <a:ea typeface="Segoe UI"/>
                <a:cs typeface="Segoe UI"/>
              </a:rPr>
              <a:t> User Name: </a:t>
            </a:r>
            <a:r>
              <a:rPr lang="en-US" dirty="0" err="1">
                <a:ea typeface="Segoe UI"/>
                <a:cs typeface="Segoe UI"/>
              </a:rPr>
              <a:t>workshopServiceAcc</a:t>
            </a:r>
            <a:br>
              <a:rPr lang="en-US" dirty="0">
                <a:ea typeface="Segoe UI"/>
                <a:cs typeface="Segoe UI"/>
              </a:rPr>
            </a:br>
            <a:r>
              <a:rPr lang="en-US" dirty="0" err="1">
                <a:ea typeface="Segoe UI"/>
                <a:cs typeface="Segoe UI"/>
              </a:rPr>
              <a:t>db</a:t>
            </a:r>
            <a:r>
              <a:rPr lang="en-US" dirty="0">
                <a:ea typeface="Segoe UI"/>
                <a:cs typeface="Segoe UI"/>
              </a:rPr>
              <a:t> User Password: P2ssw0rd</a:t>
            </a:r>
          </a:p>
          <a:p>
            <a:pPr marR="288290">
              <a:spcAft>
                <a:spcPts val="600"/>
              </a:spcAft>
            </a:pPr>
            <a:r>
              <a:rPr lang="en-US" dirty="0">
                <a:ea typeface="Segoe UI"/>
                <a:cs typeface="Segoe UI"/>
              </a:rPr>
              <a:t>Database Name: </a:t>
            </a:r>
            <a:r>
              <a:rPr lang="en-US" dirty="0" err="1">
                <a:ea typeface="Segoe UI"/>
                <a:cs typeface="Segoe UI"/>
              </a:rPr>
              <a:t>partsUnlimitedDB</a:t>
            </a:r>
            <a:endParaRPr lang="en-US" dirty="0">
              <a:ea typeface="Segoe UI"/>
              <a:cs typeface="Segoe UI"/>
            </a:endParaRPr>
          </a:p>
        </p:txBody>
      </p:sp>
      <p:sp>
        <p:nvSpPr>
          <p:cNvPr id="5" name="Rectangle 4">
            <a:extLst>
              <a:ext uri="{FF2B5EF4-FFF2-40B4-BE49-F238E27FC236}">
                <a16:creationId xmlns:a16="http://schemas.microsoft.com/office/drawing/2014/main" id="{2160B553-2B95-ED45-A0A9-3190C178EC46}"/>
              </a:ext>
            </a:extLst>
          </p:cNvPr>
          <p:cNvSpPr/>
          <p:nvPr/>
        </p:nvSpPr>
        <p:spPr>
          <a:xfrm>
            <a:off x="340285" y="4528412"/>
            <a:ext cx="7247964" cy="2031325"/>
          </a:xfrm>
          <a:prstGeom prst="rect">
            <a:avLst/>
          </a:prstGeom>
        </p:spPr>
        <p:txBody>
          <a:bodyPr wrap="square">
            <a:spAutoFit/>
          </a:bodyPr>
          <a:lstStyle/>
          <a:p>
            <a:r>
              <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3"/>
              </a:rPr>
              <a:t>https://azure.microsoft.com/en-us/services/cdn/</a:t>
            </a:r>
            <a:endPar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endParaRPr>
          </a:p>
          <a:p>
            <a:endParaRPr lang="en-US" u="sng" dirty="0">
              <a:solidFill>
                <a:srgbClr val="0563C1"/>
              </a:solidFill>
              <a:latin typeface="Calibri" panose="020F0502020204030204" pitchFamily="34" charset="0"/>
              <a:cs typeface="Times New Roman" panose="02020603050405020304" pitchFamily="18" charset="0"/>
            </a:endParaRPr>
          </a:p>
          <a:p>
            <a:r>
              <a:rPr lang="en-US" u="sng" dirty="0">
                <a:hlinkClick r:id="rId4"/>
              </a:rPr>
              <a:t>https://docs.microsoft.com/en-us/azure/cdn/cdn-overview</a:t>
            </a:r>
            <a:r>
              <a:rPr lang="en-US" dirty="0"/>
              <a:t> </a:t>
            </a:r>
          </a:p>
          <a:p>
            <a:endParaRPr lang="en-US" u="sng" dirty="0">
              <a:solidFill>
                <a:srgbClr val="0563C1"/>
              </a:solidFill>
              <a:latin typeface="Calibri" panose="020F0502020204030204" pitchFamily="34" charset="0"/>
              <a:cs typeface="Times New Roman" panose="02020603050405020304" pitchFamily="18" charset="0"/>
            </a:endParaRPr>
          </a:p>
          <a:p>
            <a:r>
              <a:rPr lang="en-US" u="sng" dirty="0">
                <a:hlinkClick r:id="rId5"/>
              </a:rPr>
              <a:t>https://docs.microsoft.com/en-us/azure/cdn/cdn-create-new-endpoint</a:t>
            </a:r>
            <a:endParaRPr lang="en-US" dirty="0"/>
          </a:p>
          <a:p>
            <a:endParaRPr lang="en-US" u="sng" dirty="0">
              <a:solidFill>
                <a:srgbClr val="0563C1"/>
              </a:solidFill>
              <a:latin typeface="Calibri" panose="020F0502020204030204" pitchFamily="34" charset="0"/>
              <a:cs typeface="Times New Roman" panose="02020603050405020304" pitchFamily="18" charset="0"/>
            </a:endParaRPr>
          </a:p>
          <a:p>
            <a:r>
              <a:rPr lang="en-US" dirty="0"/>
              <a:t> </a:t>
            </a:r>
          </a:p>
        </p:txBody>
      </p:sp>
    </p:spTree>
    <p:extLst>
      <p:ext uri="{BB962C8B-B14F-4D97-AF65-F5344CB8AC3E}">
        <p14:creationId xmlns:p14="http://schemas.microsoft.com/office/powerpoint/2010/main" val="17812333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D2C4BFA1-2075-4901-9E24-E41D1FDD51F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55481" y="498348"/>
            <a:ext cx="9902663" cy="5861304"/>
            <a:chOff x="1155481" y="498348"/>
            <a:chExt cx="9902663" cy="5861304"/>
          </a:xfrm>
        </p:grpSpPr>
        <p:sp>
          <p:nvSpPr>
            <p:cNvPr id="9" name="Oval 5">
              <a:extLst>
                <a:ext uri="{FF2B5EF4-FFF2-40B4-BE49-F238E27FC236}">
                  <a16:creationId xmlns:a16="http://schemas.microsoft.com/office/drawing/2014/main" id="{985A7375-E3AF-4F5C-85AE-17E8832952CA}"/>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1155481" y="498348"/>
              <a:ext cx="5861304" cy="5861304"/>
            </a:xfrm>
            <a:prstGeom prst="ellipse">
              <a:avLst/>
            </a:prstGeom>
            <a:solidFill>
              <a:schemeClr val="accent1">
                <a:alpha val="55000"/>
              </a:schemeClr>
            </a:solidFill>
            <a:ln>
              <a:noFill/>
            </a:ln>
          </p:spPr>
        </p:sp>
        <p:sp>
          <p:nvSpPr>
            <p:cNvPr id="10" name="Oval 9">
              <a:extLst>
                <a:ext uri="{FF2B5EF4-FFF2-40B4-BE49-F238E27FC236}">
                  <a16:creationId xmlns:a16="http://schemas.microsoft.com/office/drawing/2014/main" id="{F0307F65-8304-4FA8-A841-D4D7625411BE}"/>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5196840" y="498348"/>
              <a:ext cx="5861304" cy="5861304"/>
            </a:xfrm>
            <a:prstGeom prst="ellipse">
              <a:avLst/>
            </a:prstGeom>
            <a:solidFill>
              <a:schemeClr val="accent1">
                <a:alpha val="55000"/>
              </a:schemeClr>
            </a:solidFill>
            <a:ln>
              <a:noFill/>
            </a:ln>
          </p:spPr>
        </p:sp>
        <p:sp>
          <p:nvSpPr>
            <p:cNvPr id="11" name="Oval 5">
              <a:extLst>
                <a:ext uri="{FF2B5EF4-FFF2-40B4-BE49-F238E27FC236}">
                  <a16:creationId xmlns:a16="http://schemas.microsoft.com/office/drawing/2014/main" id="{C8B8394C-136F-4E05-A002-D93A5E79CD50}"/>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3165348" y="498348"/>
              <a:ext cx="5861304" cy="5861304"/>
            </a:xfrm>
            <a:prstGeom prst="ellipse">
              <a:avLst/>
            </a:prstGeom>
            <a:solidFill>
              <a:schemeClr val="accent1">
                <a:alpha val="70000"/>
              </a:schemeClr>
            </a:solidFill>
            <a:ln>
              <a:noFill/>
            </a:ln>
          </p:spPr>
        </p:sp>
      </p:grpSp>
      <p:sp>
        <p:nvSpPr>
          <p:cNvPr id="13" name="Rectangle 12">
            <a:extLst>
              <a:ext uri="{FF2B5EF4-FFF2-40B4-BE49-F238E27FC236}">
                <a16:creationId xmlns:a16="http://schemas.microsoft.com/office/drawing/2014/main" id="{053FB2EE-284F-4C87-AB3D-BBF87A9FAB9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514600"/>
            <a:ext cx="12192000" cy="182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Title 2">
            <a:extLst>
              <a:ext uri="{FF2B5EF4-FFF2-40B4-BE49-F238E27FC236}">
                <a16:creationId xmlns:a16="http://schemas.microsoft.com/office/drawing/2014/main" id="{B05187A4-3AC0-564E-94A0-1FBD419CF1A3}"/>
              </a:ext>
            </a:extLst>
          </p:cNvPr>
          <p:cNvSpPr>
            <a:spLocks noGrp="1"/>
          </p:cNvSpPr>
          <p:nvPr>
            <p:ph type="title"/>
          </p:nvPr>
        </p:nvSpPr>
        <p:spPr>
          <a:xfrm>
            <a:off x="1524000" y="2776538"/>
            <a:ext cx="9144000" cy="1381188"/>
          </a:xfrm>
        </p:spPr>
        <p:txBody>
          <a:bodyPr vert="horz" lIns="91440" tIns="45720" rIns="91440" bIns="45720" rtlCol="0" anchor="ctr">
            <a:normAutofit/>
          </a:bodyPr>
          <a:lstStyle/>
          <a:p>
            <a:pPr algn="ctr"/>
            <a:r>
              <a:rPr lang="en-US" sz="4000" kern="1200" dirty="0">
                <a:solidFill>
                  <a:schemeClr val="bg2"/>
                </a:solidFill>
                <a:latin typeface="+mj-lt"/>
                <a:ea typeface="+mj-ea"/>
                <a:cs typeface="+mj-cs"/>
              </a:rPr>
              <a:t>Caching – </a:t>
            </a:r>
            <a:r>
              <a:rPr lang="en-US" sz="4000" kern="1200" dirty="0" err="1">
                <a:solidFill>
                  <a:schemeClr val="bg2"/>
                </a:solidFill>
                <a:latin typeface="+mj-lt"/>
                <a:ea typeface="+mj-ea"/>
                <a:cs typeface="+mj-cs"/>
              </a:rPr>
              <a:t>Redis</a:t>
            </a:r>
            <a:r>
              <a:rPr lang="en-US" sz="4000" kern="1200" dirty="0">
                <a:solidFill>
                  <a:schemeClr val="bg2"/>
                </a:solidFill>
                <a:latin typeface="+mj-lt"/>
                <a:ea typeface="+mj-ea"/>
                <a:cs typeface="+mj-cs"/>
              </a:rPr>
              <a:t> Cache</a:t>
            </a:r>
          </a:p>
        </p:txBody>
      </p:sp>
    </p:spTree>
    <p:extLst>
      <p:ext uri="{BB962C8B-B14F-4D97-AF65-F5344CB8AC3E}">
        <p14:creationId xmlns:p14="http://schemas.microsoft.com/office/powerpoint/2010/main" val="3986397017"/>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748A70-81DB-8A4F-AD20-202191C3B1E7}"/>
              </a:ext>
            </a:extLst>
          </p:cNvPr>
          <p:cNvSpPr>
            <a:spLocks noGrp="1"/>
          </p:cNvSpPr>
          <p:nvPr>
            <p:ph type="title"/>
          </p:nvPr>
        </p:nvSpPr>
        <p:spPr>
          <a:xfrm>
            <a:off x="762001" y="803325"/>
            <a:ext cx="5314536" cy="1325563"/>
          </a:xfrm>
        </p:spPr>
        <p:txBody>
          <a:bodyPr>
            <a:normAutofit/>
          </a:bodyPr>
          <a:lstStyle/>
          <a:p>
            <a:r>
              <a:rPr lang="en-US" dirty="0"/>
              <a:t>What is </a:t>
            </a:r>
            <a:r>
              <a:rPr lang="en-US" dirty="0" err="1"/>
              <a:t>Redis</a:t>
            </a:r>
            <a:r>
              <a:rPr lang="en-US" dirty="0"/>
              <a:t>?</a:t>
            </a:r>
          </a:p>
        </p:txBody>
      </p:sp>
      <p:sp>
        <p:nvSpPr>
          <p:cNvPr id="4" name="Content Placeholder 3">
            <a:extLst>
              <a:ext uri="{FF2B5EF4-FFF2-40B4-BE49-F238E27FC236}">
                <a16:creationId xmlns:a16="http://schemas.microsoft.com/office/drawing/2014/main" id="{7FF10E26-B966-D946-A9D8-2A3B31A26229}"/>
              </a:ext>
            </a:extLst>
          </p:cNvPr>
          <p:cNvSpPr>
            <a:spLocks noGrp="1"/>
          </p:cNvSpPr>
          <p:nvPr>
            <p:ph idx="1"/>
          </p:nvPr>
        </p:nvSpPr>
        <p:spPr>
          <a:xfrm>
            <a:off x="762000" y="2279018"/>
            <a:ext cx="5314543" cy="3375920"/>
          </a:xfrm>
        </p:spPr>
        <p:txBody>
          <a:bodyPr anchor="t">
            <a:normAutofit/>
          </a:bodyPr>
          <a:lstStyle/>
          <a:p>
            <a:pPr marL="448193" lvl="0" indent="-448193" defTabSz="896386"/>
            <a:r>
              <a:rPr lang="en-US" sz="1800" kern="0"/>
              <a:t>It stands for REmote DIctionary Server</a:t>
            </a:r>
          </a:p>
          <a:p>
            <a:pPr marL="448193" lvl="0" indent="-448193" defTabSz="896386"/>
            <a:r>
              <a:rPr lang="en-US" sz="1800" kern="0"/>
              <a:t>Extremely fast and versatile</a:t>
            </a:r>
          </a:p>
          <a:p>
            <a:pPr marL="448193" lvl="0" indent="-448193" defTabSz="896386"/>
            <a:r>
              <a:rPr lang="en-US" sz="1800" kern="0"/>
              <a:t>Ability to store complex Data Structure(s)</a:t>
            </a:r>
          </a:p>
          <a:p>
            <a:pPr marL="448193" lvl="0" indent="-448193" defTabSz="896386"/>
            <a:r>
              <a:rPr lang="en-US" sz="1800" kern="0"/>
              <a:t>Blurring boundaries where caching ends and where NoSQL DB begins</a:t>
            </a:r>
          </a:p>
          <a:p>
            <a:pPr marL="448193" lvl="0" indent="-448193" defTabSz="896386"/>
            <a:r>
              <a:rPr lang="en-US" sz="1800" kern="0"/>
              <a:t>Rapidly growing (Craiglist, Twitter, Instagram)</a:t>
            </a:r>
          </a:p>
          <a:p>
            <a:pPr marL="448193" lvl="0" indent="-448193" defTabSz="896386"/>
            <a:r>
              <a:rPr lang="en-US" sz="1800" kern="0"/>
              <a:t>Open Source, awesome community</a:t>
            </a:r>
          </a:p>
        </p:txBody>
      </p:sp>
      <p:sp>
        <p:nvSpPr>
          <p:cNvPr id="10" name="Freeform: Shape 9">
            <a:extLst>
              <a:ext uri="{FF2B5EF4-FFF2-40B4-BE49-F238E27FC236}">
                <a16:creationId xmlns:a16="http://schemas.microsoft.com/office/drawing/2014/main" id="{CF62D2A7-8207-488C-9F46-316BA81A16C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582780" y="-2008"/>
            <a:ext cx="5609220" cy="5840278"/>
          </a:xfrm>
          <a:custGeom>
            <a:avLst/>
            <a:gdLst>
              <a:gd name="connsiteX0" fmla="*/ 0 w 5609220"/>
              <a:gd name="connsiteY0" fmla="*/ 0 h 5840278"/>
              <a:gd name="connsiteX1" fmla="*/ 4637091 w 5609220"/>
              <a:gd name="connsiteY1" fmla="*/ 0 h 5840278"/>
              <a:gd name="connsiteX2" fmla="*/ 4822569 w 5609220"/>
              <a:gd name="connsiteY2" fmla="*/ 204077 h 5840278"/>
              <a:gd name="connsiteX3" fmla="*/ 5609220 w 5609220"/>
              <a:gd name="connsiteY3" fmla="*/ 2395363 h 5840278"/>
              <a:gd name="connsiteX4" fmla="*/ 2164305 w 5609220"/>
              <a:gd name="connsiteY4" fmla="*/ 5840278 h 5840278"/>
              <a:gd name="connsiteX5" fmla="*/ 238220 w 5609220"/>
              <a:gd name="connsiteY5" fmla="*/ 5251941 h 5840278"/>
              <a:gd name="connsiteX6" fmla="*/ 0 w 5609220"/>
              <a:gd name="connsiteY6" fmla="*/ 5073803 h 584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09220" h="5840278">
                <a:moveTo>
                  <a:pt x="0" y="0"/>
                </a:moveTo>
                <a:lnTo>
                  <a:pt x="4637091" y="0"/>
                </a:lnTo>
                <a:lnTo>
                  <a:pt x="4822569" y="204077"/>
                </a:lnTo>
                <a:cubicBezTo>
                  <a:pt x="5314007" y="799562"/>
                  <a:pt x="5609220" y="1562987"/>
                  <a:pt x="5609220" y="2395363"/>
                </a:cubicBezTo>
                <a:cubicBezTo>
                  <a:pt x="5609220" y="4297937"/>
                  <a:pt x="4066879" y="5840278"/>
                  <a:pt x="2164305" y="5840278"/>
                </a:cubicBezTo>
                <a:cubicBezTo>
                  <a:pt x="1450840" y="5840278"/>
                  <a:pt x="788032" y="5623387"/>
                  <a:pt x="238220" y="5251941"/>
                </a:cubicBezTo>
                <a:lnTo>
                  <a:pt x="0" y="5073803"/>
                </a:ln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CD80B4D0-848D-E947-AA62-5FA6BD39E15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943" r="1824" b="-1"/>
          <a:stretch/>
        </p:blipFill>
        <p:spPr>
          <a:xfrm>
            <a:off x="6750141" y="-2"/>
            <a:ext cx="5441859" cy="5654940"/>
          </a:xfrm>
          <a:custGeom>
            <a:avLst/>
            <a:gdLst>
              <a:gd name="connsiteX0" fmla="*/ 1041368 w 5441859"/>
              <a:gd name="connsiteY0" fmla="*/ 0 h 5654940"/>
              <a:gd name="connsiteX1" fmla="*/ 5441859 w 5441859"/>
              <a:gd name="connsiteY1" fmla="*/ 0 h 5654940"/>
              <a:gd name="connsiteX2" fmla="*/ 5441859 w 5441859"/>
              <a:gd name="connsiteY2" fmla="*/ 4820612 h 5654940"/>
              <a:gd name="connsiteX3" fmla="*/ 5285166 w 5441859"/>
              <a:gd name="connsiteY3" fmla="*/ 4957981 h 5654940"/>
              <a:gd name="connsiteX4" fmla="*/ 3267719 w 5441859"/>
              <a:gd name="connsiteY4" fmla="*/ 5654940 h 5654940"/>
              <a:gd name="connsiteX5" fmla="*/ 0 w 5441859"/>
              <a:gd name="connsiteY5" fmla="*/ 2387221 h 5654940"/>
              <a:gd name="connsiteX6" fmla="*/ 957093 w 5441859"/>
              <a:gd name="connsiteY6" fmla="*/ 76595 h 56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1859" h="5654940">
                <a:moveTo>
                  <a:pt x="1041368" y="0"/>
                </a:moveTo>
                <a:lnTo>
                  <a:pt x="5441859" y="0"/>
                </a:lnTo>
                <a:lnTo>
                  <a:pt x="5441859" y="4820612"/>
                </a:lnTo>
                <a:lnTo>
                  <a:pt x="5285166" y="4957981"/>
                </a:lnTo>
                <a:cubicBezTo>
                  <a:pt x="4729628" y="5394557"/>
                  <a:pt x="4029081" y="5654940"/>
                  <a:pt x="3267719" y="5654940"/>
                </a:cubicBezTo>
                <a:cubicBezTo>
                  <a:pt x="1463008" y="5654940"/>
                  <a:pt x="0" y="4191932"/>
                  <a:pt x="0" y="2387221"/>
                </a:cubicBezTo>
                <a:cubicBezTo>
                  <a:pt x="0" y="1484866"/>
                  <a:pt x="365752" y="667936"/>
                  <a:pt x="957093" y="76595"/>
                </a:cubicBezTo>
                <a:close/>
              </a:path>
            </a:pathLst>
          </a:custGeom>
        </p:spPr>
      </p:pic>
    </p:spTree>
    <p:extLst>
      <p:ext uri="{BB962C8B-B14F-4D97-AF65-F5344CB8AC3E}">
        <p14:creationId xmlns:p14="http://schemas.microsoft.com/office/powerpoint/2010/main" val="1804567554"/>
      </p:ext>
    </p:extLst>
  </p:cSld>
  <p:clrMapOvr>
    <a:overrideClrMapping bg1="dk1" tx1="lt1" bg2="dk2" tx2="lt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a:solidFill>
                  <a:schemeClr val="tx2"/>
                </a:solidFill>
              </a:rPr>
              <a:t>The Journey to the Cloud</a:t>
            </a:r>
          </a:p>
        </p:txBody>
      </p:sp>
      <p:grpSp>
        <p:nvGrpSpPr>
          <p:cNvPr id="225" name="Group 224">
            <a:extLst>
              <a:ext uri="{FF2B5EF4-FFF2-40B4-BE49-F238E27FC236}">
                <a16:creationId xmlns:a16="http://schemas.microsoft.com/office/drawing/2014/main" id="{2D283D6F-FC0B-4D6E-B9A4-C31E83E3F9A4}"/>
              </a:ext>
            </a:extLst>
          </p:cNvPr>
          <p:cNvGrpSpPr/>
          <p:nvPr/>
        </p:nvGrpSpPr>
        <p:grpSpPr>
          <a:xfrm>
            <a:off x="457200" y="5512276"/>
            <a:ext cx="9641576" cy="485342"/>
            <a:chOff x="457200" y="5650428"/>
            <a:chExt cx="11284010" cy="236696"/>
          </a:xfrm>
        </p:grpSpPr>
        <p:cxnSp>
          <p:nvCxnSpPr>
            <p:cNvPr id="226" name="Straight Connector 225">
              <a:extLst>
                <a:ext uri="{FF2B5EF4-FFF2-40B4-BE49-F238E27FC236}">
                  <a16:creationId xmlns:a16="http://schemas.microsoft.com/office/drawing/2014/main" id="{1827EAA5-9C18-486E-8345-7E7126940A25}"/>
                </a:ext>
              </a:extLst>
            </p:cNvPr>
            <p:cNvCxnSpPr>
              <a:cxnSpLocks/>
              <a:stCxn id="227" idx="1"/>
            </p:cNvCxnSpPr>
            <p:nvPr/>
          </p:nvCxnSpPr>
          <p:spPr>
            <a:xfrm flipH="1">
              <a:off x="457200" y="5768776"/>
              <a:ext cx="11211632" cy="0"/>
            </a:xfrm>
            <a:prstGeom prst="line">
              <a:avLst/>
            </a:prstGeom>
            <a:noFill/>
            <a:ln w="57150" cap="rnd" cmpd="sng" algn="ctr">
              <a:solidFill>
                <a:srgbClr val="FFFFFF">
                  <a:lumMod val="50000"/>
                </a:srgbClr>
              </a:solidFill>
              <a:prstDash val="solid"/>
              <a:headEnd type="none" w="med" len="med"/>
              <a:tailEnd type="none" w="med" len="med"/>
            </a:ln>
            <a:effectLst/>
          </p:spPr>
        </p:cxnSp>
        <p:sp>
          <p:nvSpPr>
            <p:cNvPr id="227" name="Arrow: Chevron 226">
              <a:extLst>
                <a:ext uri="{FF2B5EF4-FFF2-40B4-BE49-F238E27FC236}">
                  <a16:creationId xmlns:a16="http://schemas.microsoft.com/office/drawing/2014/main" id="{C37BE55A-0A64-4001-A7B3-AF3EF624DBB2}"/>
                </a:ext>
              </a:extLst>
            </p:cNvPr>
            <p:cNvSpPr/>
            <p:nvPr/>
          </p:nvSpPr>
          <p:spPr bwMode="auto">
            <a:xfrm>
              <a:off x="11596453" y="5650428"/>
              <a:ext cx="144757" cy="236696"/>
            </a:xfrm>
            <a:prstGeom prst="chevron">
              <a:avLst/>
            </a:prstGeom>
            <a:solidFill>
              <a:srgbClr val="FFFFFF">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28" name="TextBox 227">
            <a:extLst>
              <a:ext uri="{FF2B5EF4-FFF2-40B4-BE49-F238E27FC236}">
                <a16:creationId xmlns:a16="http://schemas.microsoft.com/office/drawing/2014/main" id="{2762A995-6717-496D-AB9D-E5D29CE1EA53}"/>
              </a:ext>
            </a:extLst>
          </p:cNvPr>
          <p:cNvSpPr txBox="1"/>
          <p:nvPr/>
        </p:nvSpPr>
        <p:spPr>
          <a:xfrm>
            <a:off x="5650222" y="5809815"/>
            <a:ext cx="1503201" cy="982072"/>
          </a:xfrm>
          <a:prstGeom prst="rect">
            <a:avLst/>
          </a:prstGeom>
          <a:noFill/>
        </p:spPr>
        <p:txBody>
          <a:bodyPr wrap="square" lIns="179234" tIns="143387" rIns="179234" bIns="143387" rtlCol="0" anchor="t">
            <a:spAutoFit/>
          </a:bodyPr>
          <a:lstStyle/>
          <a:p>
            <a:pPr algn="ctr" defTabSz="896042">
              <a:spcAft>
                <a:spcPts val="588"/>
              </a:spcAft>
              <a:defRPr/>
            </a:pPr>
            <a:r>
              <a:rPr lang="en-US" kern="0" dirty="0">
                <a:solidFill>
                  <a:srgbClr val="353535"/>
                </a:solidFill>
                <a:latin typeface="Segoe UI Semilight"/>
              </a:rPr>
              <a:t>Containers</a:t>
            </a:r>
          </a:p>
          <a:p>
            <a:pPr algn="ctr" defTabSz="896042">
              <a:spcAft>
                <a:spcPts val="588"/>
              </a:spcAft>
              <a:defRPr/>
            </a:pPr>
            <a:r>
              <a:rPr lang="en-US" sz="1100" i="1" kern="0" dirty="0">
                <a:solidFill>
                  <a:srgbClr val="353535"/>
                </a:solidFill>
                <a:latin typeface="Segoe UI Semilight"/>
              </a:rPr>
              <a:t>Managed Container Platform</a:t>
            </a:r>
          </a:p>
        </p:txBody>
      </p:sp>
      <p:grpSp>
        <p:nvGrpSpPr>
          <p:cNvPr id="229" name="Group 228">
            <a:extLst>
              <a:ext uri="{FF2B5EF4-FFF2-40B4-BE49-F238E27FC236}">
                <a16:creationId xmlns:a16="http://schemas.microsoft.com/office/drawing/2014/main" id="{3925EC4B-0476-4938-95A3-FE2BEC16A443}"/>
              </a:ext>
            </a:extLst>
          </p:cNvPr>
          <p:cNvGrpSpPr/>
          <p:nvPr/>
        </p:nvGrpSpPr>
        <p:grpSpPr>
          <a:xfrm>
            <a:off x="900663" y="4800985"/>
            <a:ext cx="556486" cy="768586"/>
            <a:chOff x="2084593" y="2157479"/>
            <a:chExt cx="958326" cy="1022668"/>
          </a:xfrm>
        </p:grpSpPr>
        <p:grpSp>
          <p:nvGrpSpPr>
            <p:cNvPr id="230" name="Group 4">
              <a:extLst>
                <a:ext uri="{FF2B5EF4-FFF2-40B4-BE49-F238E27FC236}">
                  <a16:creationId xmlns:a16="http://schemas.microsoft.com/office/drawing/2014/main" id="{9E1D0442-74DF-459A-92AE-01CD462D759D}"/>
                </a:ext>
              </a:extLst>
            </p:cNvPr>
            <p:cNvGrpSpPr>
              <a:grpSpLocks noChangeAspect="1"/>
            </p:cNvGrpSpPr>
            <p:nvPr/>
          </p:nvGrpSpPr>
          <p:grpSpPr bwMode="auto">
            <a:xfrm>
              <a:off x="2084593" y="2157479"/>
              <a:ext cx="475727" cy="1022668"/>
              <a:chOff x="7" y="12"/>
              <a:chExt cx="167" cy="359"/>
            </a:xfrm>
          </p:grpSpPr>
          <p:sp>
            <p:nvSpPr>
              <p:cNvPr id="238" name="Rectangle 5">
                <a:extLst>
                  <a:ext uri="{FF2B5EF4-FFF2-40B4-BE49-F238E27FC236}">
                    <a16:creationId xmlns:a16="http://schemas.microsoft.com/office/drawing/2014/main" id="{E1608F15-8EC8-482E-9F5C-35B2E51157D1}"/>
                  </a:ext>
                </a:extLst>
              </p:cNvPr>
              <p:cNvSpPr>
                <a:spLocks noChangeArrowheads="1"/>
              </p:cNvSpPr>
              <p:nvPr/>
            </p:nvSpPr>
            <p:spPr bwMode="auto">
              <a:xfrm>
                <a:off x="7" y="45"/>
                <a:ext cx="167" cy="326"/>
              </a:xfrm>
              <a:prstGeom prst="rect">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39" name="Freeform 6">
                <a:extLst>
                  <a:ext uri="{FF2B5EF4-FFF2-40B4-BE49-F238E27FC236}">
                    <a16:creationId xmlns:a16="http://schemas.microsoft.com/office/drawing/2014/main" id="{F98A73D6-2EE3-4B31-ADB9-E9E37E073161}"/>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40" name="Rectangle 7">
                <a:extLst>
                  <a:ext uri="{FF2B5EF4-FFF2-40B4-BE49-F238E27FC236}">
                    <a16:creationId xmlns:a16="http://schemas.microsoft.com/office/drawing/2014/main" id="{85294162-CCF8-42AC-9EB1-E2779D36CDBC}"/>
                  </a:ext>
                </a:extLst>
              </p:cNvPr>
              <p:cNvSpPr>
                <a:spLocks noChangeArrowheads="1"/>
              </p:cNvSpPr>
              <p:nvPr/>
            </p:nvSpPr>
            <p:spPr bwMode="auto">
              <a:xfrm>
                <a:off x="42" y="232"/>
                <a:ext cx="25" cy="25"/>
              </a:xfrm>
              <a:prstGeom prst="rect">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41" name="Rectangle 8">
                <a:extLst>
                  <a:ext uri="{FF2B5EF4-FFF2-40B4-BE49-F238E27FC236}">
                    <a16:creationId xmlns:a16="http://schemas.microsoft.com/office/drawing/2014/main" id="{6A9D16B0-DF79-488B-97D5-C7D5AA9277E2}"/>
                  </a:ext>
                </a:extLst>
              </p:cNvPr>
              <p:cNvSpPr>
                <a:spLocks noChangeArrowheads="1"/>
              </p:cNvSpPr>
              <p:nvPr/>
            </p:nvSpPr>
            <p:spPr bwMode="auto">
              <a:xfrm>
                <a:off x="114" y="232"/>
                <a:ext cx="26" cy="25"/>
              </a:xfrm>
              <a:prstGeom prst="rect">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42" name="Rectangle 9">
                <a:extLst>
                  <a:ext uri="{FF2B5EF4-FFF2-40B4-BE49-F238E27FC236}">
                    <a16:creationId xmlns:a16="http://schemas.microsoft.com/office/drawing/2014/main" id="{D1823292-DE3E-47FC-A567-E09726891B45}"/>
                  </a:ext>
                </a:extLst>
              </p:cNvPr>
              <p:cNvSpPr>
                <a:spLocks noChangeArrowheads="1"/>
              </p:cNvSpPr>
              <p:nvPr/>
            </p:nvSpPr>
            <p:spPr bwMode="auto">
              <a:xfrm>
                <a:off x="42" y="164"/>
                <a:ext cx="25" cy="25"/>
              </a:xfrm>
              <a:prstGeom prst="rect">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43" name="Rectangle 10">
                <a:extLst>
                  <a:ext uri="{FF2B5EF4-FFF2-40B4-BE49-F238E27FC236}">
                    <a16:creationId xmlns:a16="http://schemas.microsoft.com/office/drawing/2014/main" id="{8758FB7E-6157-4473-98EF-F619F189C8AD}"/>
                  </a:ext>
                </a:extLst>
              </p:cNvPr>
              <p:cNvSpPr>
                <a:spLocks noChangeArrowheads="1"/>
              </p:cNvSpPr>
              <p:nvPr/>
            </p:nvSpPr>
            <p:spPr bwMode="auto">
              <a:xfrm>
                <a:off x="114" y="164"/>
                <a:ext cx="26" cy="25"/>
              </a:xfrm>
              <a:prstGeom prst="rect">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44" name="Rectangle 11">
                <a:extLst>
                  <a:ext uri="{FF2B5EF4-FFF2-40B4-BE49-F238E27FC236}">
                    <a16:creationId xmlns:a16="http://schemas.microsoft.com/office/drawing/2014/main" id="{35E1670F-493C-4A25-AF0B-DC5FE9667ADB}"/>
                  </a:ext>
                </a:extLst>
              </p:cNvPr>
              <p:cNvSpPr>
                <a:spLocks noChangeArrowheads="1"/>
              </p:cNvSpPr>
              <p:nvPr/>
            </p:nvSpPr>
            <p:spPr bwMode="auto">
              <a:xfrm>
                <a:off x="42" y="98"/>
                <a:ext cx="25" cy="24"/>
              </a:xfrm>
              <a:prstGeom prst="rect">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45" name="Rectangle 12">
                <a:extLst>
                  <a:ext uri="{FF2B5EF4-FFF2-40B4-BE49-F238E27FC236}">
                    <a16:creationId xmlns:a16="http://schemas.microsoft.com/office/drawing/2014/main" id="{A7F2D396-F5A5-42A3-A329-242A885FF77E}"/>
                  </a:ext>
                </a:extLst>
              </p:cNvPr>
              <p:cNvSpPr>
                <a:spLocks noChangeArrowheads="1"/>
              </p:cNvSpPr>
              <p:nvPr/>
            </p:nvSpPr>
            <p:spPr bwMode="auto">
              <a:xfrm>
                <a:off x="114" y="98"/>
                <a:ext cx="26" cy="24"/>
              </a:xfrm>
              <a:prstGeom prst="rect">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46" name="Rectangle 13">
                <a:extLst>
                  <a:ext uri="{FF2B5EF4-FFF2-40B4-BE49-F238E27FC236}">
                    <a16:creationId xmlns:a16="http://schemas.microsoft.com/office/drawing/2014/main" id="{2A4CFCD2-E307-4376-A7F3-582256F975C2}"/>
                  </a:ext>
                </a:extLst>
              </p:cNvPr>
              <p:cNvSpPr>
                <a:spLocks noChangeArrowheads="1"/>
              </p:cNvSpPr>
              <p:nvPr/>
            </p:nvSpPr>
            <p:spPr bwMode="auto">
              <a:xfrm>
                <a:off x="31" y="12"/>
                <a:ext cx="47" cy="33"/>
              </a:xfrm>
              <a:prstGeom prst="rect">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grpSp>
        <p:grpSp>
          <p:nvGrpSpPr>
            <p:cNvPr id="231" name="Group 230">
              <a:extLst>
                <a:ext uri="{FF2B5EF4-FFF2-40B4-BE49-F238E27FC236}">
                  <a16:creationId xmlns:a16="http://schemas.microsoft.com/office/drawing/2014/main" id="{FBFCDC99-D647-49DA-97B9-D7DA4D73F83D}"/>
                </a:ext>
              </a:extLst>
            </p:cNvPr>
            <p:cNvGrpSpPr/>
            <p:nvPr/>
          </p:nvGrpSpPr>
          <p:grpSpPr>
            <a:xfrm>
              <a:off x="2561534" y="2758439"/>
              <a:ext cx="475727" cy="421466"/>
              <a:chOff x="2779974" y="2727959"/>
              <a:chExt cx="475727" cy="421466"/>
            </a:xfrm>
          </p:grpSpPr>
          <p:sp>
            <p:nvSpPr>
              <p:cNvPr id="233" name="Rectangle 5">
                <a:extLst>
                  <a:ext uri="{FF2B5EF4-FFF2-40B4-BE49-F238E27FC236}">
                    <a16:creationId xmlns:a16="http://schemas.microsoft.com/office/drawing/2014/main" id="{584CF652-CA22-430E-AE6E-DECE7D9EF8A4}"/>
                  </a:ext>
                </a:extLst>
              </p:cNvPr>
              <p:cNvSpPr>
                <a:spLocks noChangeArrowheads="1"/>
              </p:cNvSpPr>
              <p:nvPr/>
            </p:nvSpPr>
            <p:spPr bwMode="auto">
              <a:xfrm>
                <a:off x="2779974" y="2727959"/>
                <a:ext cx="475727" cy="421465"/>
              </a:xfrm>
              <a:prstGeom prst="rect">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34" name="Freeform 6">
                <a:extLst>
                  <a:ext uri="{FF2B5EF4-FFF2-40B4-BE49-F238E27FC236}">
                    <a16:creationId xmlns:a16="http://schemas.microsoft.com/office/drawing/2014/main" id="{6409AE6B-7830-4E3F-95A0-4AF42D882A04}"/>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35" name="Rectangle 7">
                <a:extLst>
                  <a:ext uri="{FF2B5EF4-FFF2-40B4-BE49-F238E27FC236}">
                    <a16:creationId xmlns:a16="http://schemas.microsoft.com/office/drawing/2014/main" id="{884D19F4-289E-4B7B-B976-0C704F348A0C}"/>
                  </a:ext>
                </a:extLst>
              </p:cNvPr>
              <p:cNvSpPr>
                <a:spLocks noChangeArrowheads="1"/>
              </p:cNvSpPr>
              <p:nvPr/>
            </p:nvSpPr>
            <p:spPr bwMode="auto">
              <a:xfrm>
                <a:off x="2879677" y="2829662"/>
                <a:ext cx="71217" cy="71216"/>
              </a:xfrm>
              <a:prstGeom prst="rect">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36" name="Rectangle 8">
                <a:extLst>
                  <a:ext uri="{FF2B5EF4-FFF2-40B4-BE49-F238E27FC236}">
                    <a16:creationId xmlns:a16="http://schemas.microsoft.com/office/drawing/2014/main" id="{8B3081C6-AFCE-46A6-A4BF-40D112CEFDBB}"/>
                  </a:ext>
                </a:extLst>
              </p:cNvPr>
              <p:cNvSpPr>
                <a:spLocks noChangeArrowheads="1"/>
              </p:cNvSpPr>
              <p:nvPr/>
            </p:nvSpPr>
            <p:spPr bwMode="auto">
              <a:xfrm>
                <a:off x="3084781" y="2829662"/>
                <a:ext cx="74065" cy="71216"/>
              </a:xfrm>
              <a:prstGeom prst="rect">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37" name="Rectangle 9">
                <a:extLst>
                  <a:ext uri="{FF2B5EF4-FFF2-40B4-BE49-F238E27FC236}">
                    <a16:creationId xmlns:a16="http://schemas.microsoft.com/office/drawing/2014/main" id="{2C41AA77-2CB0-4AAE-877E-1C9E52CF9771}"/>
                  </a:ext>
                </a:extLst>
              </p:cNvPr>
              <p:cNvSpPr>
                <a:spLocks noChangeArrowheads="1"/>
              </p:cNvSpPr>
              <p:nvPr/>
            </p:nvSpPr>
            <p:spPr bwMode="auto">
              <a:xfrm>
                <a:off x="2879677" y="3004253"/>
                <a:ext cx="71217" cy="71216"/>
              </a:xfrm>
              <a:prstGeom prst="rect">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grpSp>
        <p:sp>
          <p:nvSpPr>
            <p:cNvPr id="232" name="Isosceles Triangle 231">
              <a:extLst>
                <a:ext uri="{FF2B5EF4-FFF2-40B4-BE49-F238E27FC236}">
                  <a16:creationId xmlns:a16="http://schemas.microsoft.com/office/drawing/2014/main" id="{E2F802F0-DC8D-4EA7-B59B-B9A8ACB60C2F}"/>
                </a:ext>
              </a:extLst>
            </p:cNvPr>
            <p:cNvSpPr/>
            <p:nvPr/>
          </p:nvSpPr>
          <p:spPr bwMode="auto">
            <a:xfrm>
              <a:off x="2560320" y="2537142"/>
              <a:ext cx="482599" cy="221297"/>
            </a:xfrm>
            <a:prstGeom prst="triangle">
              <a:avLst>
                <a:gd name="adj" fmla="val 0"/>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353535"/>
                </a:solidFill>
                <a:effectLst/>
                <a:uLnTx/>
                <a:uFillTx/>
                <a:latin typeface="Segoe UI Semilight"/>
              </a:endParaRPr>
            </a:p>
          </p:txBody>
        </p:sp>
      </p:grpSp>
      <p:grpSp>
        <p:nvGrpSpPr>
          <p:cNvPr id="247" name="Group 16">
            <a:extLst>
              <a:ext uri="{FF2B5EF4-FFF2-40B4-BE49-F238E27FC236}">
                <a16:creationId xmlns:a16="http://schemas.microsoft.com/office/drawing/2014/main" id="{5196A63F-C293-4B87-BEC9-996D00D92B04}"/>
              </a:ext>
            </a:extLst>
          </p:cNvPr>
          <p:cNvGrpSpPr>
            <a:grpSpLocks noChangeAspect="1"/>
          </p:cNvGrpSpPr>
          <p:nvPr/>
        </p:nvGrpSpPr>
        <p:grpSpPr bwMode="auto">
          <a:xfrm>
            <a:off x="8265725" y="4929953"/>
            <a:ext cx="578986" cy="669713"/>
            <a:chOff x="13" y="7"/>
            <a:chExt cx="351" cy="406"/>
          </a:xfrm>
        </p:grpSpPr>
        <p:sp>
          <p:nvSpPr>
            <p:cNvPr id="248" name="Freeform 17">
              <a:extLst>
                <a:ext uri="{FF2B5EF4-FFF2-40B4-BE49-F238E27FC236}">
                  <a16:creationId xmlns:a16="http://schemas.microsoft.com/office/drawing/2014/main" id="{50007D31-4A4A-4EC6-8BAA-9B94E5ED0494}"/>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49" name="Freeform 18">
              <a:extLst>
                <a:ext uri="{FF2B5EF4-FFF2-40B4-BE49-F238E27FC236}">
                  <a16:creationId xmlns:a16="http://schemas.microsoft.com/office/drawing/2014/main" id="{25BB429D-E7FC-4822-8ABB-40883F150FD8}"/>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50" name="Line 19">
              <a:extLst>
                <a:ext uri="{FF2B5EF4-FFF2-40B4-BE49-F238E27FC236}">
                  <a16:creationId xmlns:a16="http://schemas.microsoft.com/office/drawing/2014/main" id="{4B892142-38D7-4B8A-8E81-D2990458F8A8}"/>
                </a:ext>
              </a:extLst>
            </p:cNvPr>
            <p:cNvSpPr>
              <a:spLocks noChangeShapeType="1"/>
            </p:cNvSpPr>
            <p:nvPr/>
          </p:nvSpPr>
          <p:spPr bwMode="auto">
            <a:xfrm>
              <a:off x="288" y="282"/>
              <a:ext cx="0" cy="93"/>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51" name="Freeform 20">
              <a:extLst>
                <a:ext uri="{FF2B5EF4-FFF2-40B4-BE49-F238E27FC236}">
                  <a16:creationId xmlns:a16="http://schemas.microsoft.com/office/drawing/2014/main" id="{05B35994-72CE-4B06-888D-80B48CFD14A8}"/>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52" name="Freeform 21">
              <a:extLst>
                <a:ext uri="{FF2B5EF4-FFF2-40B4-BE49-F238E27FC236}">
                  <a16:creationId xmlns:a16="http://schemas.microsoft.com/office/drawing/2014/main" id="{6C19762E-131B-4735-9C9D-2523CAF1A7B8}"/>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53" name="Line 22">
              <a:extLst>
                <a:ext uri="{FF2B5EF4-FFF2-40B4-BE49-F238E27FC236}">
                  <a16:creationId xmlns:a16="http://schemas.microsoft.com/office/drawing/2014/main" id="{20DE501D-AE86-4770-A191-5A22DA92A426}"/>
                </a:ext>
              </a:extLst>
            </p:cNvPr>
            <p:cNvSpPr>
              <a:spLocks noChangeShapeType="1"/>
            </p:cNvSpPr>
            <p:nvPr/>
          </p:nvSpPr>
          <p:spPr bwMode="auto">
            <a:xfrm>
              <a:off x="89" y="282"/>
              <a:ext cx="0" cy="93"/>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54" name="Freeform 23">
              <a:extLst>
                <a:ext uri="{FF2B5EF4-FFF2-40B4-BE49-F238E27FC236}">
                  <a16:creationId xmlns:a16="http://schemas.microsoft.com/office/drawing/2014/main" id="{CF7386B4-B92E-4DD7-8C51-1CC5396574E6}"/>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55" name="Freeform 24">
              <a:extLst>
                <a:ext uri="{FF2B5EF4-FFF2-40B4-BE49-F238E27FC236}">
                  <a16:creationId xmlns:a16="http://schemas.microsoft.com/office/drawing/2014/main" id="{F27F5626-3D57-42AD-8B47-459549C6C3AF}"/>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56" name="Freeform 25">
              <a:extLst>
                <a:ext uri="{FF2B5EF4-FFF2-40B4-BE49-F238E27FC236}">
                  <a16:creationId xmlns:a16="http://schemas.microsoft.com/office/drawing/2014/main" id="{EDB04E38-3033-4B3D-A1D8-F06F18ABBD17}"/>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57" name="Line 26">
              <a:extLst>
                <a:ext uri="{FF2B5EF4-FFF2-40B4-BE49-F238E27FC236}">
                  <a16:creationId xmlns:a16="http://schemas.microsoft.com/office/drawing/2014/main" id="{4C5AB2C6-EAC4-4A63-9130-272357E50116}"/>
                </a:ext>
              </a:extLst>
            </p:cNvPr>
            <p:cNvSpPr>
              <a:spLocks noChangeShapeType="1"/>
            </p:cNvSpPr>
            <p:nvPr/>
          </p:nvSpPr>
          <p:spPr bwMode="auto">
            <a:xfrm>
              <a:off x="189" y="96"/>
              <a:ext cx="0" cy="87"/>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58" name="Freeform 27">
              <a:extLst>
                <a:ext uri="{FF2B5EF4-FFF2-40B4-BE49-F238E27FC236}">
                  <a16:creationId xmlns:a16="http://schemas.microsoft.com/office/drawing/2014/main" id="{446A177B-5A7F-4210-AD08-9788E09E4157}"/>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59" name="Freeform 28">
              <a:extLst>
                <a:ext uri="{FF2B5EF4-FFF2-40B4-BE49-F238E27FC236}">
                  <a16:creationId xmlns:a16="http://schemas.microsoft.com/office/drawing/2014/main" id="{FB71346C-5019-428D-AE67-101EB59E7B47}"/>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grpSp>
      <p:grpSp>
        <p:nvGrpSpPr>
          <p:cNvPr id="260" name="Group 31">
            <a:extLst>
              <a:ext uri="{FF2B5EF4-FFF2-40B4-BE49-F238E27FC236}">
                <a16:creationId xmlns:a16="http://schemas.microsoft.com/office/drawing/2014/main" id="{4A8EF9E8-B284-4FB1-932C-3D21C9A35F27}"/>
              </a:ext>
            </a:extLst>
          </p:cNvPr>
          <p:cNvGrpSpPr>
            <a:grpSpLocks noChangeAspect="1"/>
          </p:cNvGrpSpPr>
          <p:nvPr/>
        </p:nvGrpSpPr>
        <p:grpSpPr bwMode="auto">
          <a:xfrm>
            <a:off x="3261005" y="5002225"/>
            <a:ext cx="542786" cy="567346"/>
            <a:chOff x="12" y="7"/>
            <a:chExt cx="221" cy="231"/>
          </a:xfrm>
        </p:grpSpPr>
        <p:sp>
          <p:nvSpPr>
            <p:cNvPr id="261" name="Rectangle 32">
              <a:extLst>
                <a:ext uri="{FF2B5EF4-FFF2-40B4-BE49-F238E27FC236}">
                  <a16:creationId xmlns:a16="http://schemas.microsoft.com/office/drawing/2014/main" id="{5636ACF8-E415-40DC-8023-9A2D95A19243}"/>
                </a:ext>
              </a:extLst>
            </p:cNvPr>
            <p:cNvSpPr>
              <a:spLocks noChangeArrowheads="1"/>
            </p:cNvSpPr>
            <p:nvPr/>
          </p:nvSpPr>
          <p:spPr bwMode="auto">
            <a:xfrm>
              <a:off x="12" y="7"/>
              <a:ext cx="221" cy="60"/>
            </a:xfrm>
            <a:prstGeom prst="rect">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62" name="Line 33">
              <a:extLst>
                <a:ext uri="{FF2B5EF4-FFF2-40B4-BE49-F238E27FC236}">
                  <a16:creationId xmlns:a16="http://schemas.microsoft.com/office/drawing/2014/main" id="{2D561979-8B13-4299-8AC1-BA766EB766CD}"/>
                </a:ext>
              </a:extLst>
            </p:cNvPr>
            <p:cNvSpPr>
              <a:spLocks noChangeShapeType="1"/>
            </p:cNvSpPr>
            <p:nvPr/>
          </p:nvSpPr>
          <p:spPr bwMode="auto">
            <a:xfrm flipH="1">
              <a:off x="191" y="37"/>
              <a:ext cx="17"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63" name="Line 34">
              <a:extLst>
                <a:ext uri="{FF2B5EF4-FFF2-40B4-BE49-F238E27FC236}">
                  <a16:creationId xmlns:a16="http://schemas.microsoft.com/office/drawing/2014/main" id="{DF34DEBD-9E9C-4429-B1CE-9047B0B8DB11}"/>
                </a:ext>
              </a:extLst>
            </p:cNvPr>
            <p:cNvSpPr>
              <a:spLocks noChangeShapeType="1"/>
            </p:cNvSpPr>
            <p:nvPr/>
          </p:nvSpPr>
          <p:spPr bwMode="auto">
            <a:xfrm flipH="1">
              <a:off x="157" y="37"/>
              <a:ext cx="17"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64" name="Line 35">
              <a:extLst>
                <a:ext uri="{FF2B5EF4-FFF2-40B4-BE49-F238E27FC236}">
                  <a16:creationId xmlns:a16="http://schemas.microsoft.com/office/drawing/2014/main" id="{3466F950-AA76-4354-8E5A-2E5FA0791D33}"/>
                </a:ext>
              </a:extLst>
            </p:cNvPr>
            <p:cNvSpPr>
              <a:spLocks noChangeShapeType="1"/>
            </p:cNvSpPr>
            <p:nvPr/>
          </p:nvSpPr>
          <p:spPr bwMode="auto">
            <a:xfrm flipH="1">
              <a:off x="54" y="37"/>
              <a:ext cx="69"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65" name="Rectangle 36">
              <a:extLst>
                <a:ext uri="{FF2B5EF4-FFF2-40B4-BE49-F238E27FC236}">
                  <a16:creationId xmlns:a16="http://schemas.microsoft.com/office/drawing/2014/main" id="{EDF2C722-FD04-420D-B5F6-6C03159099DE}"/>
                </a:ext>
              </a:extLst>
            </p:cNvPr>
            <p:cNvSpPr>
              <a:spLocks noChangeArrowheads="1"/>
            </p:cNvSpPr>
            <p:nvPr/>
          </p:nvSpPr>
          <p:spPr bwMode="auto">
            <a:xfrm>
              <a:off x="12" y="93"/>
              <a:ext cx="221" cy="59"/>
            </a:xfrm>
            <a:prstGeom prst="rect">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66" name="Line 37">
              <a:extLst>
                <a:ext uri="{FF2B5EF4-FFF2-40B4-BE49-F238E27FC236}">
                  <a16:creationId xmlns:a16="http://schemas.microsoft.com/office/drawing/2014/main" id="{2AD833B4-BB49-402B-8050-7631E15B64C0}"/>
                </a:ext>
              </a:extLst>
            </p:cNvPr>
            <p:cNvSpPr>
              <a:spLocks noChangeShapeType="1"/>
            </p:cNvSpPr>
            <p:nvPr/>
          </p:nvSpPr>
          <p:spPr bwMode="auto">
            <a:xfrm flipH="1">
              <a:off x="191" y="123"/>
              <a:ext cx="17"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67" name="Line 38">
              <a:extLst>
                <a:ext uri="{FF2B5EF4-FFF2-40B4-BE49-F238E27FC236}">
                  <a16:creationId xmlns:a16="http://schemas.microsoft.com/office/drawing/2014/main" id="{9393B634-7655-47DD-B64D-8C57352F1489}"/>
                </a:ext>
              </a:extLst>
            </p:cNvPr>
            <p:cNvSpPr>
              <a:spLocks noChangeShapeType="1"/>
            </p:cNvSpPr>
            <p:nvPr/>
          </p:nvSpPr>
          <p:spPr bwMode="auto">
            <a:xfrm flipH="1">
              <a:off x="157" y="123"/>
              <a:ext cx="17"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68" name="Line 39">
              <a:extLst>
                <a:ext uri="{FF2B5EF4-FFF2-40B4-BE49-F238E27FC236}">
                  <a16:creationId xmlns:a16="http://schemas.microsoft.com/office/drawing/2014/main" id="{674A673C-AD73-4AFF-8BAA-01F7B3DF8389}"/>
                </a:ext>
              </a:extLst>
            </p:cNvPr>
            <p:cNvSpPr>
              <a:spLocks noChangeShapeType="1"/>
            </p:cNvSpPr>
            <p:nvPr/>
          </p:nvSpPr>
          <p:spPr bwMode="auto">
            <a:xfrm flipH="1">
              <a:off x="54" y="123"/>
              <a:ext cx="69"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69" name="Rectangle 40">
              <a:extLst>
                <a:ext uri="{FF2B5EF4-FFF2-40B4-BE49-F238E27FC236}">
                  <a16:creationId xmlns:a16="http://schemas.microsoft.com/office/drawing/2014/main" id="{5B91D1B4-163C-4C9C-A5C8-2D52EB64693C}"/>
                </a:ext>
              </a:extLst>
            </p:cNvPr>
            <p:cNvSpPr>
              <a:spLocks noChangeArrowheads="1"/>
            </p:cNvSpPr>
            <p:nvPr/>
          </p:nvSpPr>
          <p:spPr bwMode="auto">
            <a:xfrm>
              <a:off x="12" y="178"/>
              <a:ext cx="221" cy="60"/>
            </a:xfrm>
            <a:prstGeom prst="rect">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70" name="Line 41">
              <a:extLst>
                <a:ext uri="{FF2B5EF4-FFF2-40B4-BE49-F238E27FC236}">
                  <a16:creationId xmlns:a16="http://schemas.microsoft.com/office/drawing/2014/main" id="{6DA4C610-D60D-42E4-90D3-FF49B1A5ADB3}"/>
                </a:ext>
              </a:extLst>
            </p:cNvPr>
            <p:cNvSpPr>
              <a:spLocks noChangeShapeType="1"/>
            </p:cNvSpPr>
            <p:nvPr/>
          </p:nvSpPr>
          <p:spPr bwMode="auto">
            <a:xfrm flipH="1">
              <a:off x="191" y="208"/>
              <a:ext cx="17"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71" name="Line 42">
              <a:extLst>
                <a:ext uri="{FF2B5EF4-FFF2-40B4-BE49-F238E27FC236}">
                  <a16:creationId xmlns:a16="http://schemas.microsoft.com/office/drawing/2014/main" id="{A51D69DB-ED0B-4FF4-90D2-7FFEC2DF24B5}"/>
                </a:ext>
              </a:extLst>
            </p:cNvPr>
            <p:cNvSpPr>
              <a:spLocks noChangeShapeType="1"/>
            </p:cNvSpPr>
            <p:nvPr/>
          </p:nvSpPr>
          <p:spPr bwMode="auto">
            <a:xfrm flipH="1">
              <a:off x="157" y="208"/>
              <a:ext cx="17"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72" name="Line 43">
              <a:extLst>
                <a:ext uri="{FF2B5EF4-FFF2-40B4-BE49-F238E27FC236}">
                  <a16:creationId xmlns:a16="http://schemas.microsoft.com/office/drawing/2014/main" id="{E1190149-9F75-45D2-BABE-E022F6634C3D}"/>
                </a:ext>
              </a:extLst>
            </p:cNvPr>
            <p:cNvSpPr>
              <a:spLocks noChangeShapeType="1"/>
            </p:cNvSpPr>
            <p:nvPr/>
          </p:nvSpPr>
          <p:spPr bwMode="auto">
            <a:xfrm flipH="1">
              <a:off x="54" y="208"/>
              <a:ext cx="69"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73" name="Line 44">
              <a:extLst>
                <a:ext uri="{FF2B5EF4-FFF2-40B4-BE49-F238E27FC236}">
                  <a16:creationId xmlns:a16="http://schemas.microsoft.com/office/drawing/2014/main" id="{0B41469F-3D2F-40B0-B882-87620715DFC7}"/>
                </a:ext>
              </a:extLst>
            </p:cNvPr>
            <p:cNvSpPr>
              <a:spLocks noChangeShapeType="1"/>
            </p:cNvSpPr>
            <p:nvPr/>
          </p:nvSpPr>
          <p:spPr bwMode="auto">
            <a:xfrm flipV="1">
              <a:off x="165" y="127"/>
              <a:ext cx="0" cy="25"/>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74" name="Line 45">
              <a:extLst>
                <a:ext uri="{FF2B5EF4-FFF2-40B4-BE49-F238E27FC236}">
                  <a16:creationId xmlns:a16="http://schemas.microsoft.com/office/drawing/2014/main" id="{3B87EE73-7F50-4526-BDF1-8E87B4D5FA83}"/>
                </a:ext>
              </a:extLst>
            </p:cNvPr>
            <p:cNvSpPr>
              <a:spLocks noChangeShapeType="1"/>
            </p:cNvSpPr>
            <p:nvPr/>
          </p:nvSpPr>
          <p:spPr bwMode="auto">
            <a:xfrm flipV="1">
              <a:off x="165" y="42"/>
              <a:ext cx="0" cy="25"/>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75" name="Line 46">
              <a:extLst>
                <a:ext uri="{FF2B5EF4-FFF2-40B4-BE49-F238E27FC236}">
                  <a16:creationId xmlns:a16="http://schemas.microsoft.com/office/drawing/2014/main" id="{B7609AD9-D46C-4CF4-91B1-C46F31F5896D}"/>
                </a:ext>
              </a:extLst>
            </p:cNvPr>
            <p:cNvSpPr>
              <a:spLocks noChangeShapeType="1"/>
            </p:cNvSpPr>
            <p:nvPr/>
          </p:nvSpPr>
          <p:spPr bwMode="auto">
            <a:xfrm flipV="1">
              <a:off x="165" y="212"/>
              <a:ext cx="0" cy="26"/>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grpSp>
      <p:grpSp>
        <p:nvGrpSpPr>
          <p:cNvPr id="276" name="Group 275">
            <a:extLst>
              <a:ext uri="{FF2B5EF4-FFF2-40B4-BE49-F238E27FC236}">
                <a16:creationId xmlns:a16="http://schemas.microsoft.com/office/drawing/2014/main" id="{FF46AB40-200B-443D-84B6-69CFF7B4F026}"/>
              </a:ext>
            </a:extLst>
          </p:cNvPr>
          <p:cNvGrpSpPr/>
          <p:nvPr/>
        </p:nvGrpSpPr>
        <p:grpSpPr>
          <a:xfrm>
            <a:off x="5853477" y="4009548"/>
            <a:ext cx="801910" cy="437559"/>
            <a:chOff x="6772308" y="3901049"/>
            <a:chExt cx="1082491" cy="574783"/>
          </a:xfrm>
        </p:grpSpPr>
        <p:sp>
          <p:nvSpPr>
            <p:cNvPr id="277" name="Freeform 50">
              <a:extLst>
                <a:ext uri="{FF2B5EF4-FFF2-40B4-BE49-F238E27FC236}">
                  <a16:creationId xmlns:a16="http://schemas.microsoft.com/office/drawing/2014/main" id="{D101ECA3-5985-4EA8-8996-6BD14F3DC17B}"/>
                </a:ext>
              </a:extLst>
            </p:cNvPr>
            <p:cNvSpPr>
              <a:spLocks/>
            </p:cNvSpPr>
            <p:nvPr/>
          </p:nvSpPr>
          <p:spPr bwMode="auto">
            <a:xfrm>
              <a:off x="6772308" y="3901049"/>
              <a:ext cx="857132" cy="574783"/>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78" name="Freeform 50">
              <a:extLst>
                <a:ext uri="{FF2B5EF4-FFF2-40B4-BE49-F238E27FC236}">
                  <a16:creationId xmlns:a16="http://schemas.microsoft.com/office/drawing/2014/main" id="{1845CBDB-8BD7-41FD-8AAF-E440F1021329}"/>
                </a:ext>
              </a:extLst>
            </p:cNvPr>
            <p:cNvSpPr>
              <a:spLocks/>
            </p:cNvSpPr>
            <p:nvPr/>
          </p:nvSpPr>
          <p:spPr bwMode="auto">
            <a:xfrm flipH="1">
              <a:off x="7252539" y="4071519"/>
              <a:ext cx="602260" cy="403869"/>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E6E6E6"/>
            </a:solidFill>
            <a:ln w="19050" cap="flat">
              <a:solidFill>
                <a:srgbClr val="0078D7"/>
              </a:solidFill>
              <a:prstDash val="solid"/>
              <a:miter lim="800000"/>
              <a:headEnd/>
              <a:tailEnd/>
            </a:ln>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grpSp>
      <p:sp>
        <p:nvSpPr>
          <p:cNvPr id="279" name="TextBox 278">
            <a:extLst>
              <a:ext uri="{FF2B5EF4-FFF2-40B4-BE49-F238E27FC236}">
                <a16:creationId xmlns:a16="http://schemas.microsoft.com/office/drawing/2014/main" id="{4A87B8F5-761A-4CEA-BC6A-C83C57DEC752}"/>
              </a:ext>
            </a:extLst>
          </p:cNvPr>
          <p:cNvSpPr txBox="1"/>
          <p:nvPr/>
        </p:nvSpPr>
        <p:spPr>
          <a:xfrm>
            <a:off x="7640709" y="5778220"/>
            <a:ext cx="2030449" cy="812795"/>
          </a:xfrm>
          <a:prstGeom prst="rect">
            <a:avLst/>
          </a:prstGeom>
          <a:noFill/>
        </p:spPr>
        <p:txBody>
          <a:bodyPr wrap="square" lIns="179234" tIns="143387" rIns="179234" bIns="143387" rtlCol="0" anchor="t">
            <a:spAutoFit/>
          </a:bodyPr>
          <a:lstStyle/>
          <a:p>
            <a:pPr algn="ctr" defTabSz="896042">
              <a:spcAft>
                <a:spcPts val="588"/>
              </a:spcAft>
              <a:defRPr/>
            </a:pPr>
            <a:r>
              <a:rPr lang="en-US" kern="0" dirty="0">
                <a:solidFill>
                  <a:srgbClr val="353535"/>
                </a:solidFill>
                <a:latin typeface="Segoe UI Semilight"/>
              </a:rPr>
              <a:t>PaaS/Serverless</a:t>
            </a:r>
          </a:p>
          <a:p>
            <a:pPr algn="ctr" defTabSz="896042">
              <a:spcAft>
                <a:spcPts val="588"/>
              </a:spcAft>
              <a:defRPr/>
            </a:pPr>
            <a:r>
              <a:rPr lang="en-US" sz="1100" i="1" kern="0" dirty="0">
                <a:solidFill>
                  <a:srgbClr val="353535"/>
                </a:solidFill>
                <a:latin typeface="Segoe UI Semilight"/>
              </a:rPr>
              <a:t>Application Platform</a:t>
            </a:r>
          </a:p>
        </p:txBody>
      </p:sp>
      <p:grpSp>
        <p:nvGrpSpPr>
          <p:cNvPr id="280" name="Group 279">
            <a:extLst>
              <a:ext uri="{FF2B5EF4-FFF2-40B4-BE49-F238E27FC236}">
                <a16:creationId xmlns:a16="http://schemas.microsoft.com/office/drawing/2014/main" id="{7360F448-EF6B-4A86-921C-690F7127F23A}"/>
              </a:ext>
            </a:extLst>
          </p:cNvPr>
          <p:cNvGrpSpPr/>
          <p:nvPr/>
        </p:nvGrpSpPr>
        <p:grpSpPr>
          <a:xfrm>
            <a:off x="6037838" y="5029167"/>
            <a:ext cx="531047" cy="549848"/>
            <a:chOff x="5395286" y="2674311"/>
            <a:chExt cx="914389" cy="731512"/>
          </a:xfrm>
        </p:grpSpPr>
        <p:grpSp>
          <p:nvGrpSpPr>
            <p:cNvPr id="281" name="Group 280">
              <a:extLst>
                <a:ext uri="{FF2B5EF4-FFF2-40B4-BE49-F238E27FC236}">
                  <a16:creationId xmlns:a16="http://schemas.microsoft.com/office/drawing/2014/main" id="{5C26FB91-95B8-466F-BEC5-BB32B9657AA8}"/>
                </a:ext>
              </a:extLst>
            </p:cNvPr>
            <p:cNvGrpSpPr/>
            <p:nvPr/>
          </p:nvGrpSpPr>
          <p:grpSpPr>
            <a:xfrm>
              <a:off x="5395286" y="2674311"/>
              <a:ext cx="914389" cy="457195"/>
              <a:chOff x="5303847" y="2765750"/>
              <a:chExt cx="914389" cy="457195"/>
            </a:xfrm>
          </p:grpSpPr>
          <p:sp>
            <p:nvSpPr>
              <p:cNvPr id="287" name="Rectangle 32">
                <a:extLst>
                  <a:ext uri="{FF2B5EF4-FFF2-40B4-BE49-F238E27FC236}">
                    <a16:creationId xmlns:a16="http://schemas.microsoft.com/office/drawing/2014/main" id="{3B3F8CB2-5437-49CF-B43F-591AA515D95D}"/>
                  </a:ext>
                </a:extLst>
              </p:cNvPr>
              <p:cNvSpPr>
                <a:spLocks noChangeArrowheads="1"/>
              </p:cNvSpPr>
              <p:nvPr/>
            </p:nvSpPr>
            <p:spPr bwMode="auto">
              <a:xfrm>
                <a:off x="5303847" y="3131506"/>
                <a:ext cx="914389" cy="91439"/>
              </a:xfrm>
              <a:prstGeom prst="rect">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88" name="Rectangle 32">
                <a:extLst>
                  <a:ext uri="{FF2B5EF4-FFF2-40B4-BE49-F238E27FC236}">
                    <a16:creationId xmlns:a16="http://schemas.microsoft.com/office/drawing/2014/main" id="{99823DB1-FD8F-475B-8C1A-6D97F0646781}"/>
                  </a:ext>
                </a:extLst>
              </p:cNvPr>
              <p:cNvSpPr>
                <a:spLocks noChangeArrowheads="1"/>
              </p:cNvSpPr>
              <p:nvPr/>
            </p:nvSpPr>
            <p:spPr bwMode="auto">
              <a:xfrm>
                <a:off x="5395286" y="2948628"/>
                <a:ext cx="182878" cy="182878"/>
              </a:xfrm>
              <a:prstGeom prst="rect">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89" name="Rectangle 32">
                <a:extLst>
                  <a:ext uri="{FF2B5EF4-FFF2-40B4-BE49-F238E27FC236}">
                    <a16:creationId xmlns:a16="http://schemas.microsoft.com/office/drawing/2014/main" id="{1F635578-96BC-4677-BD1A-E76A704E2FE7}"/>
                  </a:ext>
                </a:extLst>
              </p:cNvPr>
              <p:cNvSpPr>
                <a:spLocks noChangeArrowheads="1"/>
              </p:cNvSpPr>
              <p:nvPr/>
            </p:nvSpPr>
            <p:spPr bwMode="auto">
              <a:xfrm>
                <a:off x="5578164" y="2948628"/>
                <a:ext cx="182878" cy="182878"/>
              </a:xfrm>
              <a:prstGeom prst="rect">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90" name="Rectangle 32">
                <a:extLst>
                  <a:ext uri="{FF2B5EF4-FFF2-40B4-BE49-F238E27FC236}">
                    <a16:creationId xmlns:a16="http://schemas.microsoft.com/office/drawing/2014/main" id="{96CF216D-0D9A-4752-B04B-3ED038FFF74D}"/>
                  </a:ext>
                </a:extLst>
              </p:cNvPr>
              <p:cNvSpPr>
                <a:spLocks noChangeArrowheads="1"/>
              </p:cNvSpPr>
              <p:nvPr/>
            </p:nvSpPr>
            <p:spPr bwMode="auto">
              <a:xfrm>
                <a:off x="5943920" y="2948628"/>
                <a:ext cx="182878" cy="182878"/>
              </a:xfrm>
              <a:prstGeom prst="rect">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91" name="Rectangle 32">
                <a:extLst>
                  <a:ext uri="{FF2B5EF4-FFF2-40B4-BE49-F238E27FC236}">
                    <a16:creationId xmlns:a16="http://schemas.microsoft.com/office/drawing/2014/main" id="{29395290-D905-4037-8F21-56BB1F43E944}"/>
                  </a:ext>
                </a:extLst>
              </p:cNvPr>
              <p:cNvSpPr>
                <a:spLocks noChangeArrowheads="1"/>
              </p:cNvSpPr>
              <p:nvPr/>
            </p:nvSpPr>
            <p:spPr bwMode="auto">
              <a:xfrm>
                <a:off x="5669603" y="2765750"/>
                <a:ext cx="182878" cy="182878"/>
              </a:xfrm>
              <a:prstGeom prst="rect">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92" name="Rectangle 32">
                <a:extLst>
                  <a:ext uri="{FF2B5EF4-FFF2-40B4-BE49-F238E27FC236}">
                    <a16:creationId xmlns:a16="http://schemas.microsoft.com/office/drawing/2014/main" id="{FFA39B92-2C48-4ABB-B312-B36D0180E770}"/>
                  </a:ext>
                </a:extLst>
              </p:cNvPr>
              <p:cNvSpPr>
                <a:spLocks noChangeArrowheads="1"/>
              </p:cNvSpPr>
              <p:nvPr/>
            </p:nvSpPr>
            <p:spPr bwMode="auto">
              <a:xfrm>
                <a:off x="5852481" y="2765750"/>
                <a:ext cx="182878" cy="182878"/>
              </a:xfrm>
              <a:prstGeom prst="rect">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grpSp>
        <p:sp>
          <p:nvSpPr>
            <p:cNvPr id="282" name="Rectangle 32">
              <a:extLst>
                <a:ext uri="{FF2B5EF4-FFF2-40B4-BE49-F238E27FC236}">
                  <a16:creationId xmlns:a16="http://schemas.microsoft.com/office/drawing/2014/main" id="{14A546D0-DB37-4EC2-BF0F-D8A1DF626D58}"/>
                </a:ext>
              </a:extLst>
            </p:cNvPr>
            <p:cNvSpPr>
              <a:spLocks noChangeArrowheads="1"/>
            </p:cNvSpPr>
            <p:nvPr/>
          </p:nvSpPr>
          <p:spPr bwMode="auto">
            <a:xfrm>
              <a:off x="5486725" y="3217854"/>
              <a:ext cx="692354" cy="187969"/>
            </a:xfrm>
            <a:prstGeom prst="rect">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83" name="Line 33">
              <a:extLst>
                <a:ext uri="{FF2B5EF4-FFF2-40B4-BE49-F238E27FC236}">
                  <a16:creationId xmlns:a16="http://schemas.microsoft.com/office/drawing/2014/main" id="{A9CA5874-C41D-4B3D-8836-40310A4DE05B}"/>
                </a:ext>
              </a:extLst>
            </p:cNvPr>
            <p:cNvSpPr>
              <a:spLocks noChangeShapeType="1"/>
            </p:cNvSpPr>
            <p:nvPr/>
          </p:nvSpPr>
          <p:spPr bwMode="auto">
            <a:xfrm flipH="1">
              <a:off x="6047500" y="3311839"/>
              <a:ext cx="53258"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84" name="Line 34">
              <a:extLst>
                <a:ext uri="{FF2B5EF4-FFF2-40B4-BE49-F238E27FC236}">
                  <a16:creationId xmlns:a16="http://schemas.microsoft.com/office/drawing/2014/main" id="{953C9B96-A3DD-49CC-9E6B-174BA5D7BF7D}"/>
                </a:ext>
              </a:extLst>
            </p:cNvPr>
            <p:cNvSpPr>
              <a:spLocks noChangeShapeType="1"/>
            </p:cNvSpPr>
            <p:nvPr/>
          </p:nvSpPr>
          <p:spPr bwMode="auto">
            <a:xfrm flipH="1">
              <a:off x="5940984" y="3311839"/>
              <a:ext cx="53258"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85" name="Line 35">
              <a:extLst>
                <a:ext uri="{FF2B5EF4-FFF2-40B4-BE49-F238E27FC236}">
                  <a16:creationId xmlns:a16="http://schemas.microsoft.com/office/drawing/2014/main" id="{5FB144A1-92D2-4132-93DA-3023B27BCD93}"/>
                </a:ext>
              </a:extLst>
            </p:cNvPr>
            <p:cNvSpPr>
              <a:spLocks noChangeShapeType="1"/>
            </p:cNvSpPr>
            <p:nvPr/>
          </p:nvSpPr>
          <p:spPr bwMode="auto">
            <a:xfrm flipH="1">
              <a:off x="5618304" y="3311839"/>
              <a:ext cx="216165"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86" name="Line 45">
              <a:extLst>
                <a:ext uri="{FF2B5EF4-FFF2-40B4-BE49-F238E27FC236}">
                  <a16:creationId xmlns:a16="http://schemas.microsoft.com/office/drawing/2014/main" id="{7A9B3F60-F707-4F01-93CB-3A06AD8D0A9B}"/>
                </a:ext>
              </a:extLst>
            </p:cNvPr>
            <p:cNvSpPr>
              <a:spLocks noChangeShapeType="1"/>
            </p:cNvSpPr>
            <p:nvPr/>
          </p:nvSpPr>
          <p:spPr bwMode="auto">
            <a:xfrm flipV="1">
              <a:off x="5966047" y="3327503"/>
              <a:ext cx="0" cy="7832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grpSp>
      <p:sp>
        <p:nvSpPr>
          <p:cNvPr id="293" name="Oval 292">
            <a:extLst>
              <a:ext uri="{FF2B5EF4-FFF2-40B4-BE49-F238E27FC236}">
                <a16:creationId xmlns:a16="http://schemas.microsoft.com/office/drawing/2014/main" id="{029B064B-BEC6-42B9-B9B5-AD8D344600F7}"/>
              </a:ext>
            </a:extLst>
          </p:cNvPr>
          <p:cNvSpPr/>
          <p:nvPr/>
        </p:nvSpPr>
        <p:spPr bwMode="auto">
          <a:xfrm>
            <a:off x="1190079" y="5682594"/>
            <a:ext cx="172365" cy="172365"/>
          </a:xfrm>
          <a:prstGeom prst="ellipse">
            <a:avLst/>
          </a:prstGeom>
          <a:solidFill>
            <a:srgbClr val="E6E6E6"/>
          </a:solidFill>
          <a:ln w="25400"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4" name="Oval 293">
            <a:extLst>
              <a:ext uri="{FF2B5EF4-FFF2-40B4-BE49-F238E27FC236}">
                <a16:creationId xmlns:a16="http://schemas.microsoft.com/office/drawing/2014/main" id="{8E27534E-9706-4F3E-A169-B3D07B383337}"/>
              </a:ext>
            </a:extLst>
          </p:cNvPr>
          <p:cNvSpPr/>
          <p:nvPr/>
        </p:nvSpPr>
        <p:spPr bwMode="auto">
          <a:xfrm>
            <a:off x="3656207" y="5682594"/>
            <a:ext cx="172365" cy="172365"/>
          </a:xfrm>
          <a:prstGeom prst="ellipse">
            <a:avLst/>
          </a:prstGeom>
          <a:solidFill>
            <a:srgbClr val="E6E6E6"/>
          </a:solidFill>
          <a:ln w="25400"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5" name="Oval 294">
            <a:extLst>
              <a:ext uri="{FF2B5EF4-FFF2-40B4-BE49-F238E27FC236}">
                <a16:creationId xmlns:a16="http://schemas.microsoft.com/office/drawing/2014/main" id="{E469793F-9410-46BA-A9A6-68ED05EE1CAC}"/>
              </a:ext>
            </a:extLst>
          </p:cNvPr>
          <p:cNvSpPr/>
          <p:nvPr/>
        </p:nvSpPr>
        <p:spPr bwMode="auto">
          <a:xfrm>
            <a:off x="8516454" y="5682594"/>
            <a:ext cx="172365" cy="172365"/>
          </a:xfrm>
          <a:prstGeom prst="ellipse">
            <a:avLst/>
          </a:prstGeom>
          <a:solidFill>
            <a:srgbClr val="E6E6E6"/>
          </a:solidFill>
          <a:ln w="25400"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6" name="Oval 295">
            <a:extLst>
              <a:ext uri="{FF2B5EF4-FFF2-40B4-BE49-F238E27FC236}">
                <a16:creationId xmlns:a16="http://schemas.microsoft.com/office/drawing/2014/main" id="{80AE4955-5798-4A8C-8AAE-E0DD7DCA0906}"/>
              </a:ext>
            </a:extLst>
          </p:cNvPr>
          <p:cNvSpPr/>
          <p:nvPr/>
        </p:nvSpPr>
        <p:spPr bwMode="auto">
          <a:xfrm>
            <a:off x="6174134" y="5643919"/>
            <a:ext cx="172365" cy="172365"/>
          </a:xfrm>
          <a:prstGeom prst="ellipse">
            <a:avLst/>
          </a:prstGeom>
          <a:solidFill>
            <a:srgbClr val="E6E6E6"/>
          </a:solidFill>
          <a:ln w="25400"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97" name="Group 31">
            <a:extLst>
              <a:ext uri="{FF2B5EF4-FFF2-40B4-BE49-F238E27FC236}">
                <a16:creationId xmlns:a16="http://schemas.microsoft.com/office/drawing/2014/main" id="{DA04F2EE-9824-4D5F-B0E1-B105A635B424}"/>
              </a:ext>
            </a:extLst>
          </p:cNvPr>
          <p:cNvGrpSpPr>
            <a:grpSpLocks noChangeAspect="1"/>
          </p:cNvGrpSpPr>
          <p:nvPr/>
        </p:nvGrpSpPr>
        <p:grpSpPr bwMode="auto">
          <a:xfrm>
            <a:off x="3831544" y="5034864"/>
            <a:ext cx="520412" cy="543960"/>
            <a:chOff x="12" y="7"/>
            <a:chExt cx="221" cy="231"/>
          </a:xfrm>
        </p:grpSpPr>
        <p:sp>
          <p:nvSpPr>
            <p:cNvPr id="298" name="Rectangle 32">
              <a:extLst>
                <a:ext uri="{FF2B5EF4-FFF2-40B4-BE49-F238E27FC236}">
                  <a16:creationId xmlns:a16="http://schemas.microsoft.com/office/drawing/2014/main" id="{9236FD99-7C3C-46F1-B3B6-15B411A35751}"/>
                </a:ext>
              </a:extLst>
            </p:cNvPr>
            <p:cNvSpPr>
              <a:spLocks noChangeArrowheads="1"/>
            </p:cNvSpPr>
            <p:nvPr/>
          </p:nvSpPr>
          <p:spPr bwMode="auto">
            <a:xfrm>
              <a:off x="12" y="7"/>
              <a:ext cx="221" cy="60"/>
            </a:xfrm>
            <a:prstGeom prst="rect">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99" name="Line 33">
              <a:extLst>
                <a:ext uri="{FF2B5EF4-FFF2-40B4-BE49-F238E27FC236}">
                  <a16:creationId xmlns:a16="http://schemas.microsoft.com/office/drawing/2014/main" id="{52475B5A-1AE9-4E44-9690-2DE56EDDAB77}"/>
                </a:ext>
              </a:extLst>
            </p:cNvPr>
            <p:cNvSpPr>
              <a:spLocks noChangeShapeType="1"/>
            </p:cNvSpPr>
            <p:nvPr/>
          </p:nvSpPr>
          <p:spPr bwMode="auto">
            <a:xfrm flipH="1">
              <a:off x="191" y="37"/>
              <a:ext cx="17"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300" name="Line 34">
              <a:extLst>
                <a:ext uri="{FF2B5EF4-FFF2-40B4-BE49-F238E27FC236}">
                  <a16:creationId xmlns:a16="http://schemas.microsoft.com/office/drawing/2014/main" id="{5DEBB6BE-9888-4D35-A8F2-C985AAB12109}"/>
                </a:ext>
              </a:extLst>
            </p:cNvPr>
            <p:cNvSpPr>
              <a:spLocks noChangeShapeType="1"/>
            </p:cNvSpPr>
            <p:nvPr/>
          </p:nvSpPr>
          <p:spPr bwMode="auto">
            <a:xfrm flipH="1">
              <a:off x="157" y="37"/>
              <a:ext cx="17"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301" name="Line 35">
              <a:extLst>
                <a:ext uri="{FF2B5EF4-FFF2-40B4-BE49-F238E27FC236}">
                  <a16:creationId xmlns:a16="http://schemas.microsoft.com/office/drawing/2014/main" id="{7E48A908-D719-4989-9027-5F0541DA78D7}"/>
                </a:ext>
              </a:extLst>
            </p:cNvPr>
            <p:cNvSpPr>
              <a:spLocks noChangeShapeType="1"/>
            </p:cNvSpPr>
            <p:nvPr/>
          </p:nvSpPr>
          <p:spPr bwMode="auto">
            <a:xfrm flipH="1">
              <a:off x="54" y="37"/>
              <a:ext cx="69"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302" name="Rectangle 36">
              <a:extLst>
                <a:ext uri="{FF2B5EF4-FFF2-40B4-BE49-F238E27FC236}">
                  <a16:creationId xmlns:a16="http://schemas.microsoft.com/office/drawing/2014/main" id="{6EF7BCF7-B969-428C-8778-57F6875E2208}"/>
                </a:ext>
              </a:extLst>
            </p:cNvPr>
            <p:cNvSpPr>
              <a:spLocks noChangeArrowheads="1"/>
            </p:cNvSpPr>
            <p:nvPr/>
          </p:nvSpPr>
          <p:spPr bwMode="auto">
            <a:xfrm>
              <a:off x="12" y="93"/>
              <a:ext cx="221" cy="59"/>
            </a:xfrm>
            <a:prstGeom prst="rect">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303" name="Line 37">
              <a:extLst>
                <a:ext uri="{FF2B5EF4-FFF2-40B4-BE49-F238E27FC236}">
                  <a16:creationId xmlns:a16="http://schemas.microsoft.com/office/drawing/2014/main" id="{23DBC233-C2EA-4EAF-9B21-5F726DEC0B89}"/>
                </a:ext>
              </a:extLst>
            </p:cNvPr>
            <p:cNvSpPr>
              <a:spLocks noChangeShapeType="1"/>
            </p:cNvSpPr>
            <p:nvPr/>
          </p:nvSpPr>
          <p:spPr bwMode="auto">
            <a:xfrm flipH="1">
              <a:off x="191" y="123"/>
              <a:ext cx="17"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304" name="Line 38">
              <a:extLst>
                <a:ext uri="{FF2B5EF4-FFF2-40B4-BE49-F238E27FC236}">
                  <a16:creationId xmlns:a16="http://schemas.microsoft.com/office/drawing/2014/main" id="{F01390C0-D048-4617-952B-3D5C6E5C2638}"/>
                </a:ext>
              </a:extLst>
            </p:cNvPr>
            <p:cNvSpPr>
              <a:spLocks noChangeShapeType="1"/>
            </p:cNvSpPr>
            <p:nvPr/>
          </p:nvSpPr>
          <p:spPr bwMode="auto">
            <a:xfrm flipH="1">
              <a:off x="157" y="123"/>
              <a:ext cx="17"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305" name="Line 39">
              <a:extLst>
                <a:ext uri="{FF2B5EF4-FFF2-40B4-BE49-F238E27FC236}">
                  <a16:creationId xmlns:a16="http://schemas.microsoft.com/office/drawing/2014/main" id="{974E3B63-3200-4ED8-89B7-250D1672A8D1}"/>
                </a:ext>
              </a:extLst>
            </p:cNvPr>
            <p:cNvSpPr>
              <a:spLocks noChangeShapeType="1"/>
            </p:cNvSpPr>
            <p:nvPr/>
          </p:nvSpPr>
          <p:spPr bwMode="auto">
            <a:xfrm flipH="1">
              <a:off x="54" y="123"/>
              <a:ext cx="69"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306" name="Rectangle 40">
              <a:extLst>
                <a:ext uri="{FF2B5EF4-FFF2-40B4-BE49-F238E27FC236}">
                  <a16:creationId xmlns:a16="http://schemas.microsoft.com/office/drawing/2014/main" id="{A4BA6C17-AD58-4873-8150-F946D9DC714F}"/>
                </a:ext>
              </a:extLst>
            </p:cNvPr>
            <p:cNvSpPr>
              <a:spLocks noChangeArrowheads="1"/>
            </p:cNvSpPr>
            <p:nvPr/>
          </p:nvSpPr>
          <p:spPr bwMode="auto">
            <a:xfrm>
              <a:off x="12" y="178"/>
              <a:ext cx="221" cy="60"/>
            </a:xfrm>
            <a:prstGeom prst="rect">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307" name="Line 41">
              <a:extLst>
                <a:ext uri="{FF2B5EF4-FFF2-40B4-BE49-F238E27FC236}">
                  <a16:creationId xmlns:a16="http://schemas.microsoft.com/office/drawing/2014/main" id="{A605DF8B-F8FD-4431-802F-157C753C839D}"/>
                </a:ext>
              </a:extLst>
            </p:cNvPr>
            <p:cNvSpPr>
              <a:spLocks noChangeShapeType="1"/>
            </p:cNvSpPr>
            <p:nvPr/>
          </p:nvSpPr>
          <p:spPr bwMode="auto">
            <a:xfrm flipH="1">
              <a:off x="191" y="208"/>
              <a:ext cx="17"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308" name="Line 42">
              <a:extLst>
                <a:ext uri="{FF2B5EF4-FFF2-40B4-BE49-F238E27FC236}">
                  <a16:creationId xmlns:a16="http://schemas.microsoft.com/office/drawing/2014/main" id="{2E873F88-481D-4A91-BC9F-D352D4143331}"/>
                </a:ext>
              </a:extLst>
            </p:cNvPr>
            <p:cNvSpPr>
              <a:spLocks noChangeShapeType="1"/>
            </p:cNvSpPr>
            <p:nvPr/>
          </p:nvSpPr>
          <p:spPr bwMode="auto">
            <a:xfrm flipH="1">
              <a:off x="157" y="208"/>
              <a:ext cx="17"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309" name="Line 43">
              <a:extLst>
                <a:ext uri="{FF2B5EF4-FFF2-40B4-BE49-F238E27FC236}">
                  <a16:creationId xmlns:a16="http://schemas.microsoft.com/office/drawing/2014/main" id="{AE742615-3ECD-4C7B-982C-E2B295E98705}"/>
                </a:ext>
              </a:extLst>
            </p:cNvPr>
            <p:cNvSpPr>
              <a:spLocks noChangeShapeType="1"/>
            </p:cNvSpPr>
            <p:nvPr/>
          </p:nvSpPr>
          <p:spPr bwMode="auto">
            <a:xfrm flipH="1">
              <a:off x="54" y="208"/>
              <a:ext cx="69"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310" name="Line 44">
              <a:extLst>
                <a:ext uri="{FF2B5EF4-FFF2-40B4-BE49-F238E27FC236}">
                  <a16:creationId xmlns:a16="http://schemas.microsoft.com/office/drawing/2014/main" id="{209497F5-B76C-4B4D-94BA-CFF3C0499FA8}"/>
                </a:ext>
              </a:extLst>
            </p:cNvPr>
            <p:cNvSpPr>
              <a:spLocks noChangeShapeType="1"/>
            </p:cNvSpPr>
            <p:nvPr/>
          </p:nvSpPr>
          <p:spPr bwMode="auto">
            <a:xfrm flipV="1">
              <a:off x="165" y="127"/>
              <a:ext cx="0" cy="25"/>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311" name="Line 45">
              <a:extLst>
                <a:ext uri="{FF2B5EF4-FFF2-40B4-BE49-F238E27FC236}">
                  <a16:creationId xmlns:a16="http://schemas.microsoft.com/office/drawing/2014/main" id="{AF0528F9-823A-45E9-85FC-B29C03249EB6}"/>
                </a:ext>
              </a:extLst>
            </p:cNvPr>
            <p:cNvSpPr>
              <a:spLocks noChangeShapeType="1"/>
            </p:cNvSpPr>
            <p:nvPr/>
          </p:nvSpPr>
          <p:spPr bwMode="auto">
            <a:xfrm flipV="1">
              <a:off x="165" y="42"/>
              <a:ext cx="0" cy="25"/>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312" name="Line 46">
              <a:extLst>
                <a:ext uri="{FF2B5EF4-FFF2-40B4-BE49-F238E27FC236}">
                  <a16:creationId xmlns:a16="http://schemas.microsoft.com/office/drawing/2014/main" id="{19F11E8E-D3BA-42DB-B917-E895CD75D74C}"/>
                </a:ext>
              </a:extLst>
            </p:cNvPr>
            <p:cNvSpPr>
              <a:spLocks noChangeShapeType="1"/>
            </p:cNvSpPr>
            <p:nvPr/>
          </p:nvSpPr>
          <p:spPr bwMode="auto">
            <a:xfrm flipV="1">
              <a:off x="165" y="212"/>
              <a:ext cx="0" cy="26"/>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grpSp>
      <p:sp>
        <p:nvSpPr>
          <p:cNvPr id="313" name="Right Brace 312">
            <a:extLst>
              <a:ext uri="{FF2B5EF4-FFF2-40B4-BE49-F238E27FC236}">
                <a16:creationId xmlns:a16="http://schemas.microsoft.com/office/drawing/2014/main" id="{C5F8D876-2AFF-40C2-B546-D72C365B7E14}"/>
              </a:ext>
            </a:extLst>
          </p:cNvPr>
          <p:cNvSpPr/>
          <p:nvPr/>
        </p:nvSpPr>
        <p:spPr>
          <a:xfrm rot="16200000">
            <a:off x="6263030" y="1356307"/>
            <a:ext cx="419403" cy="6920621"/>
          </a:xfrm>
          <a:prstGeom prst="rightBrace">
            <a:avLst>
              <a:gd name="adj1" fmla="val 146892"/>
              <a:gd name="adj2" fmla="val 47006"/>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314" name="Rectangle 313">
            <a:extLst>
              <a:ext uri="{FF2B5EF4-FFF2-40B4-BE49-F238E27FC236}">
                <a16:creationId xmlns:a16="http://schemas.microsoft.com/office/drawing/2014/main" id="{8115A0EC-0EF6-412F-9A40-94868B1A6764}"/>
              </a:ext>
            </a:extLst>
          </p:cNvPr>
          <p:cNvSpPr/>
          <p:nvPr/>
        </p:nvSpPr>
        <p:spPr bwMode="auto">
          <a:xfrm>
            <a:off x="2511251" y="1965436"/>
            <a:ext cx="2074960" cy="1853997"/>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5" name="Rectangle 314">
            <a:extLst>
              <a:ext uri="{FF2B5EF4-FFF2-40B4-BE49-F238E27FC236}">
                <a16:creationId xmlns:a16="http://schemas.microsoft.com/office/drawing/2014/main" id="{86CDAC45-E2E0-4109-B244-CC4032609C5F}"/>
              </a:ext>
            </a:extLst>
          </p:cNvPr>
          <p:cNvSpPr/>
          <p:nvPr/>
        </p:nvSpPr>
        <p:spPr bwMode="auto">
          <a:xfrm>
            <a:off x="10343155" y="1934663"/>
            <a:ext cx="1495183" cy="1918334"/>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1" name="Rectangle 430">
            <a:extLst>
              <a:ext uri="{FF2B5EF4-FFF2-40B4-BE49-F238E27FC236}">
                <a16:creationId xmlns:a16="http://schemas.microsoft.com/office/drawing/2014/main" id="{6D8B3330-AEF6-4BD6-B74D-9CC58695E71B}"/>
              </a:ext>
            </a:extLst>
          </p:cNvPr>
          <p:cNvSpPr/>
          <p:nvPr/>
        </p:nvSpPr>
        <p:spPr bwMode="auto">
          <a:xfrm>
            <a:off x="4667380" y="1934663"/>
            <a:ext cx="4982873" cy="1929967"/>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2" name="TextBox 431">
            <a:extLst>
              <a:ext uri="{FF2B5EF4-FFF2-40B4-BE49-F238E27FC236}">
                <a16:creationId xmlns:a16="http://schemas.microsoft.com/office/drawing/2014/main" id="{2AC4CA71-B193-4521-8A08-FC01E81C1AD8}"/>
              </a:ext>
            </a:extLst>
          </p:cNvPr>
          <p:cNvSpPr txBox="1"/>
          <p:nvPr/>
        </p:nvSpPr>
        <p:spPr>
          <a:xfrm>
            <a:off x="3049509" y="2487454"/>
            <a:ext cx="1072553" cy="511256"/>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600" dirty="0">
                <a:gradFill>
                  <a:gsLst>
                    <a:gs pos="2917">
                      <a:srgbClr val="353535"/>
                    </a:gs>
                    <a:gs pos="30000">
                      <a:srgbClr val="353535"/>
                    </a:gs>
                  </a:gsLst>
                  <a:lin ang="5400000" scaled="0"/>
                </a:gradFill>
                <a:latin typeface="Segoe UI Semilight"/>
              </a:rPr>
              <a:t>Rehost</a:t>
            </a:r>
          </a:p>
        </p:txBody>
      </p:sp>
      <p:sp>
        <p:nvSpPr>
          <p:cNvPr id="433" name="TextBox 432">
            <a:extLst>
              <a:ext uri="{FF2B5EF4-FFF2-40B4-BE49-F238E27FC236}">
                <a16:creationId xmlns:a16="http://schemas.microsoft.com/office/drawing/2014/main" id="{B6E5BC48-D951-4CEA-94E9-9D6D63F848F2}"/>
              </a:ext>
            </a:extLst>
          </p:cNvPr>
          <p:cNvSpPr txBox="1"/>
          <p:nvPr/>
        </p:nvSpPr>
        <p:spPr>
          <a:xfrm>
            <a:off x="5237826" y="2487454"/>
            <a:ext cx="1232913" cy="511256"/>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600" dirty="0">
                <a:gradFill>
                  <a:gsLst>
                    <a:gs pos="2917">
                      <a:srgbClr val="353535"/>
                    </a:gs>
                    <a:gs pos="30000">
                      <a:srgbClr val="353535"/>
                    </a:gs>
                  </a:gsLst>
                  <a:lin ang="5400000" scaled="0"/>
                </a:gradFill>
                <a:latin typeface="Segoe UI Semilight"/>
              </a:rPr>
              <a:t>Refactor</a:t>
            </a:r>
          </a:p>
        </p:txBody>
      </p:sp>
      <p:sp>
        <p:nvSpPr>
          <p:cNvPr id="434" name="TextBox 433">
            <a:extLst>
              <a:ext uri="{FF2B5EF4-FFF2-40B4-BE49-F238E27FC236}">
                <a16:creationId xmlns:a16="http://schemas.microsoft.com/office/drawing/2014/main" id="{5333E7C1-4D5B-4259-87EA-76AA6AD5EC85}"/>
              </a:ext>
            </a:extLst>
          </p:cNvPr>
          <p:cNvSpPr txBox="1"/>
          <p:nvPr/>
        </p:nvSpPr>
        <p:spPr>
          <a:xfrm>
            <a:off x="6754535" y="2487454"/>
            <a:ext cx="1383037" cy="511256"/>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600" dirty="0">
                <a:gradFill>
                  <a:gsLst>
                    <a:gs pos="2917">
                      <a:srgbClr val="353535"/>
                    </a:gs>
                    <a:gs pos="30000">
                      <a:srgbClr val="353535"/>
                    </a:gs>
                  </a:gsLst>
                  <a:lin ang="5400000" scaled="0"/>
                </a:gradFill>
                <a:latin typeface="Segoe UI Semilight"/>
              </a:rPr>
              <a:t>Rearchitect</a:t>
            </a:r>
          </a:p>
        </p:txBody>
      </p:sp>
      <p:sp>
        <p:nvSpPr>
          <p:cNvPr id="435" name="TextBox 434">
            <a:extLst>
              <a:ext uri="{FF2B5EF4-FFF2-40B4-BE49-F238E27FC236}">
                <a16:creationId xmlns:a16="http://schemas.microsoft.com/office/drawing/2014/main" id="{2F26698A-8AE5-4340-BA7D-2882B4D9C6F7}"/>
              </a:ext>
            </a:extLst>
          </p:cNvPr>
          <p:cNvSpPr txBox="1"/>
          <p:nvPr/>
        </p:nvSpPr>
        <p:spPr>
          <a:xfrm>
            <a:off x="8285976" y="2487454"/>
            <a:ext cx="1155127" cy="511256"/>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600" dirty="0">
                <a:gradFill>
                  <a:gsLst>
                    <a:gs pos="2917">
                      <a:srgbClr val="353535"/>
                    </a:gs>
                    <a:gs pos="30000">
                      <a:srgbClr val="353535"/>
                    </a:gs>
                  </a:gsLst>
                  <a:lin ang="5400000" scaled="0"/>
                </a:gradFill>
                <a:latin typeface="Segoe UI Semilight"/>
              </a:rPr>
              <a:t>Rebuild</a:t>
            </a:r>
          </a:p>
        </p:txBody>
      </p:sp>
      <p:sp>
        <p:nvSpPr>
          <p:cNvPr id="436" name="TextBox 435">
            <a:extLst>
              <a:ext uri="{FF2B5EF4-FFF2-40B4-BE49-F238E27FC236}">
                <a16:creationId xmlns:a16="http://schemas.microsoft.com/office/drawing/2014/main" id="{9D6260D0-6ADF-4EFB-91D3-294445B8780D}"/>
              </a:ext>
            </a:extLst>
          </p:cNvPr>
          <p:cNvSpPr txBox="1"/>
          <p:nvPr/>
        </p:nvSpPr>
        <p:spPr>
          <a:xfrm>
            <a:off x="10333936" y="2487454"/>
            <a:ext cx="1534901" cy="511256"/>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600" dirty="0">
                <a:gradFill>
                  <a:gsLst>
                    <a:gs pos="2917">
                      <a:srgbClr val="353535"/>
                    </a:gs>
                    <a:gs pos="30000">
                      <a:srgbClr val="353535"/>
                    </a:gs>
                  </a:gsLst>
                  <a:lin ang="5400000" scaled="0"/>
                </a:gradFill>
                <a:latin typeface="Segoe UI Semilight"/>
              </a:rPr>
              <a:t>Replace</a:t>
            </a:r>
          </a:p>
        </p:txBody>
      </p:sp>
      <p:sp>
        <p:nvSpPr>
          <p:cNvPr id="437" name="Hexagon 436">
            <a:extLst>
              <a:ext uri="{FF2B5EF4-FFF2-40B4-BE49-F238E27FC236}">
                <a16:creationId xmlns:a16="http://schemas.microsoft.com/office/drawing/2014/main" id="{A2937CCB-CA6D-4982-9881-BF081AB8A949}"/>
              </a:ext>
            </a:extLst>
          </p:cNvPr>
          <p:cNvSpPr>
            <a:spLocks noChangeAspect="1"/>
          </p:cNvSpPr>
          <p:nvPr/>
        </p:nvSpPr>
        <p:spPr bwMode="auto">
          <a:xfrm>
            <a:off x="8543551" y="3085721"/>
            <a:ext cx="639976" cy="553580"/>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a:gradFill>
                <a:gsLst>
                  <a:gs pos="0">
                    <a:srgbClr val="FFFFFF"/>
                  </a:gs>
                  <a:gs pos="100000">
                    <a:srgbClr val="FFFFFF"/>
                  </a:gs>
                </a:gsLst>
                <a:lin ang="5400000" scaled="0"/>
              </a:gradFill>
              <a:ea typeface="Segoe UI" pitchFamily="34" charset="0"/>
              <a:cs typeface="Segoe UI" pitchFamily="34" charset="0"/>
            </a:endParaRPr>
          </a:p>
        </p:txBody>
      </p:sp>
      <p:sp>
        <p:nvSpPr>
          <p:cNvPr id="438" name="Hexagon 437">
            <a:extLst>
              <a:ext uri="{FF2B5EF4-FFF2-40B4-BE49-F238E27FC236}">
                <a16:creationId xmlns:a16="http://schemas.microsoft.com/office/drawing/2014/main" id="{65FE21EB-3A8A-43B3-AA64-65CC9F76198A}"/>
              </a:ext>
            </a:extLst>
          </p:cNvPr>
          <p:cNvSpPr>
            <a:spLocks noChangeAspect="1"/>
          </p:cNvSpPr>
          <p:nvPr/>
        </p:nvSpPr>
        <p:spPr bwMode="auto">
          <a:xfrm>
            <a:off x="10781398" y="3083705"/>
            <a:ext cx="639976" cy="553580"/>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a:gradFill>
                <a:gsLst>
                  <a:gs pos="0">
                    <a:srgbClr val="FFFFFF"/>
                  </a:gs>
                  <a:gs pos="100000">
                    <a:srgbClr val="FFFFFF"/>
                  </a:gs>
                </a:gsLst>
                <a:lin ang="5400000" scaled="0"/>
              </a:gradFill>
              <a:ea typeface="Segoe UI" pitchFamily="34" charset="0"/>
              <a:cs typeface="Segoe UI" pitchFamily="34" charset="0"/>
            </a:endParaRPr>
          </a:p>
        </p:txBody>
      </p:sp>
      <p:sp>
        <p:nvSpPr>
          <p:cNvPr id="439" name="Hexagon 438">
            <a:extLst>
              <a:ext uri="{FF2B5EF4-FFF2-40B4-BE49-F238E27FC236}">
                <a16:creationId xmlns:a16="http://schemas.microsoft.com/office/drawing/2014/main" id="{D5730F88-E23F-4099-A959-9D4F3EB9DC6E}"/>
              </a:ext>
            </a:extLst>
          </p:cNvPr>
          <p:cNvSpPr>
            <a:spLocks noChangeAspect="1"/>
          </p:cNvSpPr>
          <p:nvPr/>
        </p:nvSpPr>
        <p:spPr bwMode="auto">
          <a:xfrm>
            <a:off x="3276374" y="3103673"/>
            <a:ext cx="639976" cy="553580"/>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a:gradFill>
                <a:gsLst>
                  <a:gs pos="0">
                    <a:srgbClr val="FFFFFF"/>
                  </a:gs>
                  <a:gs pos="100000">
                    <a:srgbClr val="FFFFFF"/>
                  </a:gs>
                </a:gsLst>
                <a:lin ang="5400000" scaled="0"/>
              </a:gradFill>
              <a:ea typeface="Segoe UI" pitchFamily="34" charset="0"/>
              <a:cs typeface="Segoe UI" pitchFamily="34" charset="0"/>
            </a:endParaRPr>
          </a:p>
        </p:txBody>
      </p:sp>
      <p:sp>
        <p:nvSpPr>
          <p:cNvPr id="440" name="Hexagon 439">
            <a:extLst>
              <a:ext uri="{FF2B5EF4-FFF2-40B4-BE49-F238E27FC236}">
                <a16:creationId xmlns:a16="http://schemas.microsoft.com/office/drawing/2014/main" id="{C14D88FE-C62B-4645-9256-33465CD6E4F5}"/>
              </a:ext>
            </a:extLst>
          </p:cNvPr>
          <p:cNvSpPr>
            <a:spLocks noChangeAspect="1"/>
          </p:cNvSpPr>
          <p:nvPr/>
        </p:nvSpPr>
        <p:spPr bwMode="auto">
          <a:xfrm>
            <a:off x="7105282" y="3069892"/>
            <a:ext cx="639976" cy="553580"/>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a:gradFill>
                <a:gsLst>
                  <a:gs pos="0">
                    <a:srgbClr val="FFFFFF"/>
                  </a:gs>
                  <a:gs pos="100000">
                    <a:srgbClr val="FFFFFF"/>
                  </a:gs>
                </a:gsLst>
                <a:lin ang="5400000" scaled="0"/>
              </a:gradFill>
              <a:ea typeface="Segoe UI" pitchFamily="34" charset="0"/>
              <a:cs typeface="Segoe UI" pitchFamily="34" charset="0"/>
            </a:endParaRPr>
          </a:p>
        </p:txBody>
      </p:sp>
      <p:sp>
        <p:nvSpPr>
          <p:cNvPr id="441" name="Hexagon 440">
            <a:extLst>
              <a:ext uri="{FF2B5EF4-FFF2-40B4-BE49-F238E27FC236}">
                <a16:creationId xmlns:a16="http://schemas.microsoft.com/office/drawing/2014/main" id="{4FEC7CF7-DB22-439C-BAAD-5D924E4144CB}"/>
              </a:ext>
            </a:extLst>
          </p:cNvPr>
          <p:cNvSpPr>
            <a:spLocks noChangeAspect="1"/>
          </p:cNvSpPr>
          <p:nvPr/>
        </p:nvSpPr>
        <p:spPr bwMode="auto">
          <a:xfrm>
            <a:off x="5522316" y="3091276"/>
            <a:ext cx="639976" cy="5535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a:gradFill>
                <a:gsLst>
                  <a:gs pos="0">
                    <a:srgbClr val="FFFFFF"/>
                  </a:gs>
                  <a:gs pos="100000">
                    <a:srgbClr val="FFFFFF"/>
                  </a:gs>
                </a:gsLst>
                <a:lin ang="5400000" scaled="0"/>
              </a:gradFill>
              <a:ea typeface="Segoe UI" pitchFamily="34" charset="0"/>
              <a:cs typeface="Segoe UI" pitchFamily="34" charset="0"/>
            </a:endParaRPr>
          </a:p>
        </p:txBody>
      </p:sp>
      <p:sp>
        <p:nvSpPr>
          <p:cNvPr id="442" name="TextBox 441">
            <a:extLst>
              <a:ext uri="{FF2B5EF4-FFF2-40B4-BE49-F238E27FC236}">
                <a16:creationId xmlns:a16="http://schemas.microsoft.com/office/drawing/2014/main" id="{3DEE2939-09FE-4F45-9C0A-8D4E3B8BCB83}"/>
              </a:ext>
            </a:extLst>
          </p:cNvPr>
          <p:cNvSpPr txBox="1"/>
          <p:nvPr/>
        </p:nvSpPr>
        <p:spPr>
          <a:xfrm>
            <a:off x="2413971" y="2026595"/>
            <a:ext cx="2294039" cy="615516"/>
          </a:xfrm>
          <a:prstGeom prst="rect">
            <a:avLst/>
          </a:prstGeom>
          <a:noFill/>
        </p:spPr>
        <p:txBody>
          <a:bodyPr wrap="square" lIns="179285" tIns="143428" rIns="179285" bIns="143428" rtlCol="0">
            <a:spAutoFit/>
          </a:bodyPr>
          <a:lstStyle/>
          <a:p>
            <a:pPr algn="ctr" defTabSz="914102">
              <a:lnSpc>
                <a:spcPct val="90000"/>
              </a:lnSpc>
              <a:defRPr/>
            </a:pPr>
            <a:r>
              <a:rPr lang="en-US" sz="2353" b="1" dirty="0">
                <a:gradFill>
                  <a:gsLst>
                    <a:gs pos="0">
                      <a:srgbClr val="00B294"/>
                    </a:gs>
                    <a:gs pos="100000">
                      <a:srgbClr val="00B294"/>
                    </a:gs>
                  </a:gsLst>
                  <a:lin ang="5400000" scaled="0"/>
                </a:gradFill>
                <a:ea typeface="Segoe UI" pitchFamily="34" charset="0"/>
                <a:cs typeface="Segoe UI" pitchFamily="34" charset="0"/>
              </a:rPr>
              <a:t>Migrate</a:t>
            </a:r>
          </a:p>
        </p:txBody>
      </p:sp>
      <p:sp>
        <p:nvSpPr>
          <p:cNvPr id="443" name="TextBox 442">
            <a:extLst>
              <a:ext uri="{FF2B5EF4-FFF2-40B4-BE49-F238E27FC236}">
                <a16:creationId xmlns:a16="http://schemas.microsoft.com/office/drawing/2014/main" id="{E6D3F772-3654-4687-B665-E3447E2E4E23}"/>
              </a:ext>
            </a:extLst>
          </p:cNvPr>
          <p:cNvSpPr txBox="1"/>
          <p:nvPr/>
        </p:nvSpPr>
        <p:spPr>
          <a:xfrm>
            <a:off x="10588529" y="1952121"/>
            <a:ext cx="1025715" cy="615516"/>
          </a:xfrm>
          <a:prstGeom prst="rect">
            <a:avLst/>
          </a:prstGeom>
          <a:noFill/>
        </p:spPr>
        <p:txBody>
          <a:bodyPr wrap="none" lIns="179285" tIns="143428" rIns="179285" bIns="143428" rtlCol="0">
            <a:spAutoFit/>
          </a:bodyPr>
          <a:lstStyle/>
          <a:p>
            <a:pPr algn="ctr" defTabSz="914102">
              <a:lnSpc>
                <a:spcPct val="90000"/>
              </a:lnSpc>
              <a:defRPr/>
            </a:pPr>
            <a:r>
              <a:rPr lang="en-US" sz="2353" b="1" dirty="0">
                <a:gradFill>
                  <a:gsLst>
                    <a:gs pos="0">
                      <a:srgbClr val="00B294"/>
                    </a:gs>
                    <a:gs pos="100000">
                      <a:srgbClr val="00B294"/>
                    </a:gs>
                  </a:gsLst>
                  <a:lin ang="5400000" scaled="0"/>
                </a:gradFill>
                <a:ea typeface="Segoe UI" pitchFamily="34" charset="0"/>
                <a:cs typeface="Segoe UI" pitchFamily="34" charset="0"/>
              </a:rPr>
              <a:t>SaaS</a:t>
            </a:r>
          </a:p>
        </p:txBody>
      </p:sp>
      <p:sp>
        <p:nvSpPr>
          <p:cNvPr id="444" name="TextBox 443">
            <a:extLst>
              <a:ext uri="{FF2B5EF4-FFF2-40B4-BE49-F238E27FC236}">
                <a16:creationId xmlns:a16="http://schemas.microsoft.com/office/drawing/2014/main" id="{3919ECC3-3DE8-4DEF-9B47-C8F6DD7D73C1}"/>
              </a:ext>
            </a:extLst>
          </p:cNvPr>
          <p:cNvSpPr txBox="1"/>
          <p:nvPr/>
        </p:nvSpPr>
        <p:spPr>
          <a:xfrm>
            <a:off x="4724862" y="1979869"/>
            <a:ext cx="5187772" cy="615516"/>
          </a:xfrm>
          <a:prstGeom prst="rect">
            <a:avLst/>
          </a:prstGeom>
          <a:noFill/>
        </p:spPr>
        <p:txBody>
          <a:bodyPr wrap="square" lIns="179285" tIns="143428" rIns="179285" bIns="143428" rtlCol="0">
            <a:spAutoFit/>
          </a:bodyPr>
          <a:lstStyle/>
          <a:p>
            <a:pPr algn="ctr" defTabSz="914102">
              <a:lnSpc>
                <a:spcPct val="90000"/>
              </a:lnSpc>
              <a:defRPr/>
            </a:pPr>
            <a:r>
              <a:rPr lang="en-US" sz="2353" b="1" dirty="0">
                <a:gradFill>
                  <a:gsLst>
                    <a:gs pos="0">
                      <a:srgbClr val="00B294"/>
                    </a:gs>
                    <a:gs pos="100000">
                      <a:srgbClr val="00B294"/>
                    </a:gs>
                  </a:gsLst>
                  <a:lin ang="5400000" scaled="0"/>
                </a:gradFill>
                <a:ea typeface="Segoe UI" pitchFamily="34" charset="0"/>
                <a:cs typeface="Segoe UI" pitchFamily="34" charset="0"/>
              </a:rPr>
              <a:t>Application Modernization</a:t>
            </a:r>
          </a:p>
        </p:txBody>
      </p:sp>
      <p:sp>
        <p:nvSpPr>
          <p:cNvPr id="445" name="Rectangle 444">
            <a:extLst>
              <a:ext uri="{FF2B5EF4-FFF2-40B4-BE49-F238E27FC236}">
                <a16:creationId xmlns:a16="http://schemas.microsoft.com/office/drawing/2014/main" id="{37ADFA08-C16F-4608-BBF3-B4AA6E738F25}"/>
              </a:ext>
            </a:extLst>
          </p:cNvPr>
          <p:cNvSpPr/>
          <p:nvPr/>
        </p:nvSpPr>
        <p:spPr bwMode="auto">
          <a:xfrm>
            <a:off x="2460651" y="1847209"/>
            <a:ext cx="7270769" cy="2097435"/>
          </a:xfrm>
          <a:prstGeom prst="rect">
            <a:avLst/>
          </a:prstGeom>
          <a:noFill/>
          <a:ln w="28575" cap="flat" cmpd="sng" algn="ctr">
            <a:solidFill>
              <a:srgbClr val="E6E6E6"/>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46" name="Straight Connector 445">
            <a:extLst>
              <a:ext uri="{FF2B5EF4-FFF2-40B4-BE49-F238E27FC236}">
                <a16:creationId xmlns:a16="http://schemas.microsoft.com/office/drawing/2014/main" id="{A1631376-0EF5-424A-A800-6EBE5ED8BF74}"/>
              </a:ext>
            </a:extLst>
          </p:cNvPr>
          <p:cNvCxnSpPr>
            <a:cxnSpLocks/>
          </p:cNvCxnSpPr>
          <p:nvPr/>
        </p:nvCxnSpPr>
        <p:spPr>
          <a:xfrm>
            <a:off x="10220965" y="1606313"/>
            <a:ext cx="0" cy="5093802"/>
          </a:xfrm>
          <a:prstGeom prst="line">
            <a:avLst/>
          </a:prstGeom>
          <a:noFill/>
          <a:ln w="9525" cap="flat" cmpd="sng" algn="ctr">
            <a:solidFill>
              <a:srgbClr val="353535"/>
            </a:solidFill>
            <a:prstDash val="solid"/>
            <a:headEnd type="none"/>
            <a:tailEnd type="none"/>
          </a:ln>
          <a:effectLst/>
        </p:spPr>
      </p:cxnSp>
      <p:sp>
        <p:nvSpPr>
          <p:cNvPr id="447" name="TextBox 446">
            <a:extLst>
              <a:ext uri="{FF2B5EF4-FFF2-40B4-BE49-F238E27FC236}">
                <a16:creationId xmlns:a16="http://schemas.microsoft.com/office/drawing/2014/main" id="{2AE50E32-A3D4-45BD-A058-FF5A3C697C07}"/>
              </a:ext>
            </a:extLst>
          </p:cNvPr>
          <p:cNvSpPr txBox="1"/>
          <p:nvPr/>
        </p:nvSpPr>
        <p:spPr>
          <a:xfrm>
            <a:off x="444495" y="5735453"/>
            <a:ext cx="1259713" cy="1259071"/>
          </a:xfrm>
          <a:prstGeom prst="rect">
            <a:avLst/>
          </a:prstGeom>
          <a:noFill/>
        </p:spPr>
        <p:txBody>
          <a:bodyPr wrap="square" lIns="179234" tIns="143387" rIns="179234" bIns="143387" rtlCol="0" anchor="t">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rgbClr val="353535"/>
                </a:solidFill>
                <a:effectLst/>
                <a:uLnTx/>
                <a:uFillTx/>
                <a:latin typeface="Segoe UI Semilight"/>
                <a:ea typeface="+mn-ea"/>
                <a:cs typeface="+mn-cs"/>
              </a:rPr>
              <a:t>On-Premises</a:t>
            </a:r>
          </a:p>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dirty="0">
                <a:ln>
                  <a:noFill/>
                </a:ln>
                <a:solidFill>
                  <a:srgbClr val="353535"/>
                </a:solidFill>
                <a:effectLst/>
                <a:uLnTx/>
                <a:uFillTx/>
                <a:latin typeface="Segoe UI Semilight"/>
                <a:ea typeface="+mn-ea"/>
                <a:cs typeface="+mn-cs"/>
              </a:rPr>
              <a:t>Infrastructure Platform</a:t>
            </a:r>
          </a:p>
        </p:txBody>
      </p:sp>
      <p:sp>
        <p:nvSpPr>
          <p:cNvPr id="448" name="TextBox 447">
            <a:extLst>
              <a:ext uri="{FF2B5EF4-FFF2-40B4-BE49-F238E27FC236}">
                <a16:creationId xmlns:a16="http://schemas.microsoft.com/office/drawing/2014/main" id="{0B35AD88-1ED8-4449-8EB0-226DB26F56BA}"/>
              </a:ext>
            </a:extLst>
          </p:cNvPr>
          <p:cNvSpPr txBox="1"/>
          <p:nvPr/>
        </p:nvSpPr>
        <p:spPr>
          <a:xfrm>
            <a:off x="3224948" y="5816793"/>
            <a:ext cx="1259713" cy="1151349"/>
          </a:xfrm>
          <a:prstGeom prst="rect">
            <a:avLst/>
          </a:prstGeom>
          <a:noFill/>
        </p:spPr>
        <p:txBody>
          <a:bodyPr wrap="square" lIns="179234" tIns="143387" rIns="179234" bIns="143387" rtlCol="0" anchor="t">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rgbClr val="353535"/>
                </a:solidFill>
                <a:effectLst/>
                <a:uLnTx/>
                <a:uFillTx/>
                <a:latin typeface="Segoe UI Semilight"/>
                <a:ea typeface="+mn-ea"/>
                <a:cs typeface="+mn-cs"/>
              </a:rPr>
              <a:t>IaaS</a:t>
            </a:r>
          </a:p>
          <a:p>
            <a:pPr marL="0" marR="0" lvl="0" indent="0" algn="ctr" defTabSz="896042" rtl="0" eaLnBrk="1" fontAlgn="auto" latinLnBrk="0" hangingPunct="1">
              <a:lnSpc>
                <a:spcPct val="100000"/>
              </a:lnSpc>
              <a:spcBef>
                <a:spcPts val="0"/>
              </a:spcBef>
              <a:spcAft>
                <a:spcPts val="0"/>
              </a:spcAft>
              <a:buClrTx/>
              <a:buSzTx/>
              <a:buFontTx/>
              <a:buNone/>
              <a:tabLst/>
              <a:defRPr/>
            </a:pPr>
            <a:r>
              <a:rPr kumimoji="0" lang="en-US" sz="1100" b="0" i="1" u="none" strike="noStrike" kern="0" cap="none" spc="0" normalizeH="0" baseline="0" noProof="0" dirty="0">
                <a:ln>
                  <a:noFill/>
                </a:ln>
                <a:solidFill>
                  <a:srgbClr val="353535"/>
                </a:solidFill>
                <a:effectLst/>
                <a:uLnTx/>
                <a:uFillTx/>
                <a:latin typeface="Segoe UI Semilight"/>
                <a:ea typeface="+mn-ea"/>
                <a:cs typeface="+mn-cs"/>
              </a:rPr>
              <a:t>Infrastructure Platform</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lift &amp; shift”</a:t>
            </a:r>
          </a:p>
        </p:txBody>
      </p:sp>
    </p:spTree>
    <p:extLst>
      <p:ext uri="{BB962C8B-B14F-4D97-AF65-F5344CB8AC3E}">
        <p14:creationId xmlns:p14="http://schemas.microsoft.com/office/powerpoint/2010/main" val="358906522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3" name="Freeform: Shape 72">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4096" y="470925"/>
            <a:ext cx="4381009" cy="5892104"/>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394" name="Title 1"/>
          <p:cNvSpPr>
            <a:spLocks noGrp="1"/>
          </p:cNvSpPr>
          <p:nvPr>
            <p:ph type="title"/>
          </p:nvPr>
        </p:nvSpPr>
        <p:spPr>
          <a:xfrm>
            <a:off x="863029" y="1012004"/>
            <a:ext cx="3416158" cy="4795408"/>
          </a:xfrm>
        </p:spPr>
        <p:txBody>
          <a:bodyPr vert="horz" lIns="91440" tIns="45720" rIns="91440" bIns="45720" rtlCol="0" anchor="ctr">
            <a:norm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14400"/>
            <a:r>
              <a:rPr lang="en-US" altLang="en-US" sz="4400">
                <a:solidFill>
                  <a:srgbClr val="FFFFFF"/>
                </a:solidFill>
                <a:latin typeface="+mj-lt"/>
                <a:ea typeface="+mj-ea"/>
                <a:cs typeface="+mj-cs"/>
              </a:rPr>
              <a:t>Redis features</a:t>
            </a:r>
          </a:p>
        </p:txBody>
      </p:sp>
      <p:graphicFrame>
        <p:nvGraphicFramePr>
          <p:cNvPr id="59396" name="Text Placeholder 2">
            <a:extLst>
              <a:ext uri="{FF2B5EF4-FFF2-40B4-BE49-F238E27FC236}">
                <a16:creationId xmlns:a16="http://schemas.microsoft.com/office/drawing/2014/main" id="{C7829465-CEA6-48E7-AE9F-94C73DD22076}"/>
              </a:ext>
            </a:extLst>
          </p:cNvPr>
          <p:cNvGraphicFramePr/>
          <p:nvPr>
            <p:extLst>
              <p:ext uri="{D42A27DB-BD31-4B8C-83A1-F6EECF244321}">
                <p14:modId xmlns:p14="http://schemas.microsoft.com/office/powerpoint/2010/main" val="969991232"/>
              </p:ext>
            </p:extLst>
          </p:nvPr>
        </p:nvGraphicFramePr>
        <p:xfrm>
          <a:off x="5194300" y="470924"/>
          <a:ext cx="6513604" cy="58854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31698440"/>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2285737-90EE-47DC-AC80-8AE156B1196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1" y="-1"/>
            <a:ext cx="4403709" cy="6858001"/>
          </a:xfrm>
          <a:custGeom>
            <a:avLst/>
            <a:gdLst>
              <a:gd name="connsiteX0" fmla="*/ 3223890 w 4403709"/>
              <a:gd name="connsiteY0" fmla="*/ 6858001 h 6858001"/>
              <a:gd name="connsiteX1" fmla="*/ 4101908 w 4403709"/>
              <a:gd name="connsiteY1" fmla="*/ 6858001 h 6858001"/>
              <a:gd name="connsiteX2" fmla="*/ 3254950 w 4403709"/>
              <a:gd name="connsiteY2" fmla="*/ 1599356 h 6858001"/>
              <a:gd name="connsiteX3" fmla="*/ 3254950 w 4403709"/>
              <a:gd name="connsiteY3" fmla="*/ 1594062 h 6858001"/>
              <a:gd name="connsiteX4" fmla="*/ 4403709 w 4403709"/>
              <a:gd name="connsiteY4" fmla="*/ 0 h 6858001"/>
              <a:gd name="connsiteX5" fmla="*/ 3254950 w 4403709"/>
              <a:gd name="connsiteY5" fmla="*/ 0 h 6858001"/>
              <a:gd name="connsiteX6" fmla="*/ 2903520 w 4403709"/>
              <a:gd name="connsiteY6" fmla="*/ 0 h 6858001"/>
              <a:gd name="connsiteX7" fmla="*/ 0 w 4403709"/>
              <a:gd name="connsiteY7" fmla="*/ 0 h 6858001"/>
              <a:gd name="connsiteX8" fmla="*/ 0 w 4403709"/>
              <a:gd name="connsiteY8" fmla="*/ 6858000 h 6858001"/>
              <a:gd name="connsiteX9" fmla="*/ 3223890 w 4403709"/>
              <a:gd name="connsiteY9"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03709" h="6858001">
                <a:moveTo>
                  <a:pt x="3223890" y="6858001"/>
                </a:moveTo>
                <a:lnTo>
                  <a:pt x="4101908" y="6858001"/>
                </a:lnTo>
                <a:lnTo>
                  <a:pt x="3254950" y="1599356"/>
                </a:lnTo>
                <a:lnTo>
                  <a:pt x="3254950" y="1594062"/>
                </a:lnTo>
                <a:lnTo>
                  <a:pt x="4403709" y="0"/>
                </a:lnTo>
                <a:lnTo>
                  <a:pt x="3254950" y="0"/>
                </a:lnTo>
                <a:lnTo>
                  <a:pt x="2903520" y="0"/>
                </a:lnTo>
                <a:lnTo>
                  <a:pt x="0" y="0"/>
                </a:lnTo>
                <a:lnTo>
                  <a:pt x="0" y="6858000"/>
                </a:lnTo>
                <a:lnTo>
                  <a:pt x="3223890" y="6858000"/>
                </a:lnTo>
                <a:close/>
              </a:path>
            </a:pathLst>
          </a:custGeom>
          <a:ln>
            <a:noFill/>
          </a:ln>
        </p:spPr>
        <p:style>
          <a:lnRef idx="2">
            <a:schemeClr val="accent1">
              <a:shade val="50000"/>
            </a:schemeClr>
          </a:lnRef>
          <a:fillRef idx="1002">
            <a:schemeClr val="dk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2" name="Group 11">
            <a:extLst>
              <a:ext uri="{FF2B5EF4-FFF2-40B4-BE49-F238E27FC236}">
                <a16:creationId xmlns:a16="http://schemas.microsoft.com/office/drawing/2014/main" id="{B57BDC17-F1B3-455F-BBF1-680AA1F25C0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3315292" y="0"/>
            <a:ext cx="2436813" cy="6858001"/>
            <a:chOff x="1320800" y="0"/>
            <a:chExt cx="2436813" cy="6858001"/>
          </a:xfrm>
        </p:grpSpPr>
        <p:sp>
          <p:nvSpPr>
            <p:cNvPr id="13" name="Freeform 6">
              <a:extLst>
                <a:ext uri="{FF2B5EF4-FFF2-40B4-BE49-F238E27FC236}">
                  <a16:creationId xmlns:a16="http://schemas.microsoft.com/office/drawing/2014/main" id="{64E2FA9A-FEF7-4501-B0EB-5E45EDD2177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27188" y="0"/>
              <a:ext cx="1122363" cy="5329238"/>
            </a:xfrm>
            <a:custGeom>
              <a:avLst/>
              <a:gdLst/>
              <a:ahLst/>
              <a:cxnLst/>
              <a:rect l="0" t="0" r="r" b="b"/>
              <a:pathLst>
                <a:path w="707" h="3357">
                  <a:moveTo>
                    <a:pt x="0" y="3330"/>
                  </a:moveTo>
                  <a:lnTo>
                    <a:pt x="156" y="3357"/>
                  </a:lnTo>
                  <a:lnTo>
                    <a:pt x="707" y="0"/>
                  </a:lnTo>
                  <a:lnTo>
                    <a:pt x="547" y="0"/>
                  </a:lnTo>
                  <a:lnTo>
                    <a:pt x="0" y="3330"/>
                  </a:lnTo>
                  <a:close/>
                </a:path>
              </a:pathLst>
            </a:custGeom>
            <a:solidFill>
              <a:schemeClr val="accent1"/>
            </a:solidFill>
            <a:ln>
              <a:noFill/>
            </a:ln>
          </p:spPr>
        </p:sp>
        <p:sp>
          <p:nvSpPr>
            <p:cNvPr id="14" name="Freeform 7">
              <a:extLst>
                <a:ext uri="{FF2B5EF4-FFF2-40B4-BE49-F238E27FC236}">
                  <a16:creationId xmlns:a16="http://schemas.microsoft.com/office/drawing/2014/main" id="{BC38192B-B4CB-47D4-A3B1-10010247F1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20800" y="0"/>
              <a:ext cx="1117600" cy="5276850"/>
            </a:xfrm>
            <a:custGeom>
              <a:avLst/>
              <a:gdLst/>
              <a:ahLst/>
              <a:cxnLst/>
              <a:rect l="0" t="0" r="r" b="b"/>
              <a:pathLst>
                <a:path w="704" h="3324">
                  <a:moveTo>
                    <a:pt x="704" y="0"/>
                  </a:moveTo>
                  <a:lnTo>
                    <a:pt x="545" y="0"/>
                  </a:lnTo>
                  <a:lnTo>
                    <a:pt x="0" y="3300"/>
                  </a:lnTo>
                  <a:lnTo>
                    <a:pt x="157" y="3324"/>
                  </a:lnTo>
                  <a:lnTo>
                    <a:pt x="704" y="0"/>
                  </a:lnTo>
                  <a:close/>
                </a:path>
              </a:pathLst>
            </a:custGeom>
            <a:solidFill>
              <a:srgbClr val="595959"/>
            </a:solidFill>
            <a:ln>
              <a:noFill/>
            </a:ln>
          </p:spPr>
        </p:sp>
        <p:sp>
          <p:nvSpPr>
            <p:cNvPr id="15" name="Freeform 8">
              <a:extLst>
                <a:ext uri="{FF2B5EF4-FFF2-40B4-BE49-F238E27FC236}">
                  <a16:creationId xmlns:a16="http://schemas.microsoft.com/office/drawing/2014/main" id="{96330E33-E171-4B0F-82B5-AF7230399B5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20800" y="5238750"/>
              <a:ext cx="1228725" cy="1619250"/>
            </a:xfrm>
            <a:custGeom>
              <a:avLst/>
              <a:gdLst/>
              <a:ahLst/>
              <a:cxnLst/>
              <a:rect l="0" t="0" r="r" b="b"/>
              <a:pathLst>
                <a:path w="774" h="1020">
                  <a:moveTo>
                    <a:pt x="0" y="0"/>
                  </a:moveTo>
                  <a:lnTo>
                    <a:pt x="740" y="1020"/>
                  </a:lnTo>
                  <a:lnTo>
                    <a:pt x="774" y="1020"/>
                  </a:lnTo>
                  <a:lnTo>
                    <a:pt x="0" y="0"/>
                  </a:lnTo>
                  <a:close/>
                </a:path>
              </a:pathLst>
            </a:custGeom>
            <a:solidFill>
              <a:srgbClr val="262626"/>
            </a:solidFill>
            <a:ln>
              <a:noFill/>
            </a:ln>
          </p:spPr>
        </p:sp>
        <p:sp>
          <p:nvSpPr>
            <p:cNvPr id="16" name="Freeform 9">
              <a:extLst>
                <a:ext uri="{FF2B5EF4-FFF2-40B4-BE49-F238E27FC236}">
                  <a16:creationId xmlns:a16="http://schemas.microsoft.com/office/drawing/2014/main" id="{332B1723-69BF-42D7-B757-0FA059E1525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27188" y="5291138"/>
              <a:ext cx="1495425" cy="1566863"/>
            </a:xfrm>
            <a:custGeom>
              <a:avLst/>
              <a:gdLst/>
              <a:ahLst/>
              <a:cxnLst/>
              <a:rect l="0" t="0" r="r" b="b"/>
              <a:pathLst>
                <a:path w="942" h="987">
                  <a:moveTo>
                    <a:pt x="0" y="0"/>
                  </a:moveTo>
                  <a:lnTo>
                    <a:pt x="909" y="987"/>
                  </a:lnTo>
                  <a:lnTo>
                    <a:pt x="942" y="987"/>
                  </a:lnTo>
                  <a:lnTo>
                    <a:pt x="0" y="0"/>
                  </a:lnTo>
                  <a:close/>
                </a:path>
              </a:pathLst>
            </a:custGeom>
            <a:solidFill>
              <a:schemeClr val="accent1">
                <a:lumMod val="50000"/>
              </a:schemeClr>
            </a:solidFill>
            <a:ln>
              <a:noFill/>
            </a:ln>
          </p:spPr>
        </p:sp>
        <p:sp>
          <p:nvSpPr>
            <p:cNvPr id="17" name="Freeform 10">
              <a:extLst>
                <a:ext uri="{FF2B5EF4-FFF2-40B4-BE49-F238E27FC236}">
                  <a16:creationId xmlns:a16="http://schemas.microsoft.com/office/drawing/2014/main" id="{F115D62D-1E96-48D1-A78D-D370A0BFB9B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27188" y="5286375"/>
              <a:ext cx="2130425" cy="1571625"/>
            </a:xfrm>
            <a:custGeom>
              <a:avLst/>
              <a:gdLst/>
              <a:ahLst/>
              <a:cxnLst/>
              <a:rect l="0" t="0" r="r" b="b"/>
              <a:pathLst>
                <a:path w="1342" h="990">
                  <a:moveTo>
                    <a:pt x="0" y="3"/>
                  </a:moveTo>
                  <a:lnTo>
                    <a:pt x="942" y="990"/>
                  </a:lnTo>
                  <a:lnTo>
                    <a:pt x="1342" y="990"/>
                  </a:lnTo>
                  <a:lnTo>
                    <a:pt x="156" y="27"/>
                  </a:lnTo>
                  <a:lnTo>
                    <a:pt x="0" y="0"/>
                  </a:lnTo>
                  <a:lnTo>
                    <a:pt x="0" y="3"/>
                  </a:lnTo>
                  <a:close/>
                </a:path>
              </a:pathLst>
            </a:custGeom>
            <a:solidFill>
              <a:schemeClr val="accent1">
                <a:lumMod val="75000"/>
              </a:schemeClr>
            </a:solidFill>
            <a:ln>
              <a:noFill/>
            </a:ln>
          </p:spPr>
        </p:sp>
        <p:sp>
          <p:nvSpPr>
            <p:cNvPr id="18" name="Freeform 11">
              <a:extLst>
                <a:ext uri="{FF2B5EF4-FFF2-40B4-BE49-F238E27FC236}">
                  <a16:creationId xmlns:a16="http://schemas.microsoft.com/office/drawing/2014/main" id="{91C2876A-169D-4822-A766-C00578C88B4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20800" y="5238750"/>
              <a:ext cx="1695450" cy="1619250"/>
            </a:xfrm>
            <a:custGeom>
              <a:avLst/>
              <a:gdLst/>
              <a:ahLst/>
              <a:cxnLst/>
              <a:rect l="0" t="0" r="r" b="b"/>
              <a:pathLst>
                <a:path w="1068" h="1020">
                  <a:moveTo>
                    <a:pt x="1068" y="1020"/>
                  </a:moveTo>
                  <a:lnTo>
                    <a:pt x="184" y="60"/>
                  </a:lnTo>
                  <a:lnTo>
                    <a:pt x="154" y="27"/>
                  </a:lnTo>
                  <a:lnTo>
                    <a:pt x="157" y="27"/>
                  </a:lnTo>
                  <a:lnTo>
                    <a:pt x="157" y="24"/>
                  </a:lnTo>
                  <a:lnTo>
                    <a:pt x="154" y="24"/>
                  </a:lnTo>
                  <a:lnTo>
                    <a:pt x="0" y="0"/>
                  </a:lnTo>
                  <a:lnTo>
                    <a:pt x="0" y="0"/>
                  </a:lnTo>
                  <a:lnTo>
                    <a:pt x="774" y="1020"/>
                  </a:lnTo>
                  <a:lnTo>
                    <a:pt x="1068" y="1020"/>
                  </a:lnTo>
                  <a:close/>
                </a:path>
              </a:pathLst>
            </a:custGeom>
            <a:solidFill>
              <a:srgbClr val="404040"/>
            </a:solidFill>
            <a:ln>
              <a:noFill/>
            </a:ln>
          </p:spPr>
        </p:sp>
      </p:grpSp>
      <p:sp>
        <p:nvSpPr>
          <p:cNvPr id="3" name="Title 2">
            <a:extLst>
              <a:ext uri="{FF2B5EF4-FFF2-40B4-BE49-F238E27FC236}">
                <a16:creationId xmlns:a16="http://schemas.microsoft.com/office/drawing/2014/main" id="{8EA54DCA-A0A2-4648-91B4-861181E17357}"/>
              </a:ext>
            </a:extLst>
          </p:cNvPr>
          <p:cNvSpPr>
            <a:spLocks noGrp="1"/>
          </p:cNvSpPr>
          <p:nvPr>
            <p:ph type="title"/>
          </p:nvPr>
        </p:nvSpPr>
        <p:spPr>
          <a:xfrm>
            <a:off x="535020" y="685800"/>
            <a:ext cx="2780271" cy="5105400"/>
          </a:xfrm>
        </p:spPr>
        <p:txBody>
          <a:bodyPr vert="horz" lIns="91440" tIns="45720" rIns="91440" bIns="45720" rtlCol="0" anchor="ctr">
            <a:normAutofit/>
          </a:bodyPr>
          <a:lstStyle/>
          <a:p>
            <a:r>
              <a:rPr lang="en-US" sz="4000" spc="-100">
                <a:ln w="3175">
                  <a:noFill/>
                </a:ln>
                <a:solidFill>
                  <a:srgbClr val="FFFFFF"/>
                </a:solidFill>
              </a:rPr>
              <a:t>Why Redis ?</a:t>
            </a:r>
            <a:br>
              <a:rPr lang="en-US" sz="4000" spc="-100">
                <a:ln w="3175">
                  <a:noFill/>
                </a:ln>
                <a:solidFill>
                  <a:srgbClr val="FFFFFF"/>
                </a:solidFill>
              </a:rPr>
            </a:br>
            <a:endParaRPr lang="en-US" sz="4000">
              <a:solidFill>
                <a:srgbClr val="FFFFFF"/>
              </a:solidFill>
            </a:endParaRPr>
          </a:p>
        </p:txBody>
      </p:sp>
      <p:graphicFrame>
        <p:nvGraphicFramePr>
          <p:cNvPr id="5" name="Text Placeholder 1">
            <a:extLst>
              <a:ext uri="{FF2B5EF4-FFF2-40B4-BE49-F238E27FC236}">
                <a16:creationId xmlns:a16="http://schemas.microsoft.com/office/drawing/2014/main" id="{25738680-099B-41E1-AE30-FE30ED9C5733}"/>
              </a:ext>
            </a:extLst>
          </p:cNvPr>
          <p:cNvGraphicFramePr/>
          <p:nvPr>
            <p:extLst>
              <p:ext uri="{D42A27DB-BD31-4B8C-83A1-F6EECF244321}">
                <p14:modId xmlns:p14="http://schemas.microsoft.com/office/powerpoint/2010/main" val="2147385318"/>
              </p:ext>
            </p:extLst>
          </p:nvPr>
        </p:nvGraphicFramePr>
        <p:xfrm>
          <a:off x="5010150" y="685800"/>
          <a:ext cx="6492875" cy="5105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30422427"/>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3000"/>
                <a:satMod val="150000"/>
                <a:shade val="98000"/>
                <a:lumMod val="102000"/>
              </a:schemeClr>
            </a:gs>
            <a:gs pos="50000">
              <a:schemeClr val="bg2">
                <a:tint val="98000"/>
                <a:satMod val="130000"/>
                <a:shade val="90000"/>
                <a:lumMod val="103000"/>
              </a:schemeClr>
            </a:gs>
            <a:gs pos="100000">
              <a:schemeClr val="bg2">
                <a:shade val="63000"/>
                <a:satMod val="120000"/>
              </a:schemeClr>
            </a:gs>
          </a:gsLst>
          <a:lin ang="5400000" scaled="0"/>
        </a:gradFill>
        <a:effectLst/>
      </p:bgPr>
    </p:bg>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6AA24DE7-C336-4994-8C52-D9B3F3D0FA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53311" y="953311"/>
            <a:ext cx="10603149" cy="5263867"/>
          </a:xfrm>
          <a:prstGeom prst="roundRect">
            <a:avLst>
              <a:gd name="adj" fmla="val 1566"/>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40080" y="640080"/>
            <a:ext cx="2752354" cy="2709275"/>
          </a:xfrm>
          <a:prstGeom prst="rect">
            <a:avLst/>
          </a:prstGeom>
          <a:solidFill>
            <a:schemeClr val="accent1"/>
          </a:solidFill>
          <a:ln w="174625" cmpd="thinThick">
            <a:solidFill>
              <a:schemeClr val="accent1"/>
            </a:solidFill>
          </a:ln>
        </p:spPr>
        <p:txBody>
          <a:bodyPr anchor="ctr">
            <a:norm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a:r>
              <a:rPr lang="en-US" sz="2200">
                <a:solidFill>
                  <a:srgbClr val="FFFFFF"/>
                </a:solidFill>
              </a:rPr>
              <a:t>Redis Runs In-Memory</a:t>
            </a:r>
            <a:br>
              <a:rPr lang="en-US" sz="2200">
                <a:solidFill>
                  <a:srgbClr val="FFFFFF"/>
                </a:solidFill>
              </a:rPr>
            </a:br>
            <a:r>
              <a:rPr lang="en-US" sz="2200">
                <a:solidFill>
                  <a:srgbClr val="FFFFFF"/>
                </a:solidFill>
              </a:rPr>
              <a:t>Task: Read 10,000 database records concurrently from a web app</a:t>
            </a:r>
            <a:br>
              <a:rPr lang="en-US" sz="2200">
                <a:solidFill>
                  <a:srgbClr val="FFFFFF"/>
                </a:solidFill>
              </a:rPr>
            </a:br>
            <a:br>
              <a:rPr lang="en-US" sz="2200">
                <a:solidFill>
                  <a:srgbClr val="FFFFFF"/>
                </a:solidFill>
              </a:rPr>
            </a:br>
            <a:endParaRPr lang="en-US" sz="2200">
              <a:solidFill>
                <a:srgbClr val="FFFFFF"/>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3761399152"/>
              </p:ext>
            </p:extLst>
          </p:nvPr>
        </p:nvGraphicFramePr>
        <p:xfrm>
          <a:off x="4110665" y="1730590"/>
          <a:ext cx="6804078" cy="3870207"/>
        </p:xfrm>
        <a:graphic>
          <a:graphicData uri="http://schemas.openxmlformats.org/drawingml/2006/table">
            <a:tbl>
              <a:tblPr firstRow="1">
                <a:tableStyleId>{5C22544A-7EE6-4342-B048-85BDC9FD1C3A}</a:tableStyleId>
              </a:tblPr>
              <a:tblGrid>
                <a:gridCol w="3007689">
                  <a:extLst>
                    <a:ext uri="{9D8B030D-6E8A-4147-A177-3AD203B41FA5}">
                      <a16:colId xmlns:a16="http://schemas.microsoft.com/office/drawing/2014/main" val="20000"/>
                    </a:ext>
                  </a:extLst>
                </a:gridCol>
                <a:gridCol w="3796389">
                  <a:extLst>
                    <a:ext uri="{9D8B030D-6E8A-4147-A177-3AD203B41FA5}">
                      <a16:colId xmlns:a16="http://schemas.microsoft.com/office/drawing/2014/main" val="20001"/>
                    </a:ext>
                  </a:extLst>
                </a:gridCol>
              </a:tblGrid>
              <a:tr h="501259">
                <a:tc>
                  <a:txBody>
                    <a:bodyPr/>
                    <a:lstStyle/>
                    <a:p>
                      <a:pPr algn="l" defTabSz="932472" fontAlgn="base">
                        <a:lnSpc>
                          <a:spcPct val="90000"/>
                        </a:lnSpc>
                        <a:spcBef>
                          <a:spcPct val="0"/>
                        </a:spcBef>
                        <a:spcAft>
                          <a:spcPct val="0"/>
                        </a:spcAft>
                      </a:pPr>
                      <a:r>
                        <a:rPr lang="en-US" sz="2300" b="1" kern="1200">
                          <a:gradFill>
                            <a:gsLst>
                              <a:gs pos="0">
                                <a:srgbClr val="FFFFFF"/>
                              </a:gs>
                              <a:gs pos="100000">
                                <a:srgbClr val="FFFFFF"/>
                              </a:gs>
                            </a:gsLst>
                            <a:lin ang="5400000" scaled="0"/>
                          </a:gradFill>
                          <a:latin typeface="+mj-lt"/>
                          <a:ea typeface="Segoe UI" pitchFamily="34" charset="0"/>
                          <a:cs typeface="Segoe UI" pitchFamily="34" charset="0"/>
                        </a:rPr>
                        <a:t>Disk</a:t>
                      </a:r>
                    </a:p>
                  </a:txBody>
                  <a:tcPr marL="153308" marR="153308" marT="76654" marB="76654" anchor="ctr">
                    <a:lnL w="12700" cmpd="sng">
                      <a:noFill/>
                    </a:lnL>
                    <a:lnR w="9525" cap="flat" cmpd="sng" algn="ctr">
                      <a:solidFill>
                        <a:srgbClr val="FFFFFF"/>
                      </a:solidFill>
                      <a:prstDash val="solid"/>
                      <a:round/>
                      <a:headEnd type="none" w="med" len="med"/>
                      <a:tailEnd type="none" w="med" len="med"/>
                    </a:lnR>
                    <a:lnT w="12700" cmpd="sng">
                      <a:noFill/>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8272"/>
                    </a:solidFill>
                  </a:tcPr>
                </a:tc>
                <a:tc>
                  <a:txBody>
                    <a:bodyPr/>
                    <a:lstStyle/>
                    <a:p>
                      <a:pPr marL="0" algn="l" defTabSz="932472" rtl="0" eaLnBrk="1" fontAlgn="base" latinLnBrk="0" hangingPunct="1">
                        <a:lnSpc>
                          <a:spcPct val="90000"/>
                        </a:lnSpc>
                        <a:spcBef>
                          <a:spcPct val="0"/>
                        </a:spcBef>
                        <a:spcAft>
                          <a:spcPct val="0"/>
                        </a:spcAft>
                      </a:pPr>
                      <a:r>
                        <a:rPr lang="en-US" sz="2300" b="1" kern="1200">
                          <a:gradFill>
                            <a:gsLst>
                              <a:gs pos="0">
                                <a:srgbClr val="FFFFFF"/>
                              </a:gs>
                              <a:gs pos="100000">
                                <a:srgbClr val="FFFFFF"/>
                              </a:gs>
                            </a:gsLst>
                            <a:lin ang="5400000" scaled="0"/>
                          </a:gradFill>
                          <a:latin typeface="+mj-lt"/>
                          <a:ea typeface="Segoe UI" pitchFamily="34" charset="0"/>
                          <a:cs typeface="Segoe UI" pitchFamily="34" charset="0"/>
                        </a:rPr>
                        <a:t>RAM</a:t>
                      </a:r>
                    </a:p>
                  </a:txBody>
                  <a:tcPr marL="153308" marR="153308" marT="76654" marB="76654"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mpd="sng">
                      <a:noFill/>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0000"/>
                  </a:ext>
                </a:extLst>
              </a:tr>
              <a:tr h="3207978">
                <a:tc>
                  <a:txBody>
                    <a:bodyPr/>
                    <a:lstStyle/>
                    <a:p>
                      <a:pPr marL="285750" indent="-285750">
                        <a:spcBef>
                          <a:spcPts val="1200"/>
                        </a:spcBef>
                        <a:spcAft>
                          <a:spcPts val="1200"/>
                        </a:spcAft>
                        <a:buFont typeface="Arial" panose="020B0604020202020204" pitchFamily="34" charset="0"/>
                        <a:buChar char="•"/>
                      </a:pPr>
                      <a:r>
                        <a:rPr lang="en-US" sz="2100" kern="1200">
                          <a:solidFill>
                            <a:schemeClr val="dk1"/>
                          </a:solidFill>
                          <a:latin typeface="+mn-lt"/>
                          <a:ea typeface="+mn-ea"/>
                          <a:cs typeface="+mn-cs"/>
                        </a:rPr>
                        <a:t>300 random</a:t>
                      </a:r>
                      <a:r>
                        <a:rPr lang="en-US" sz="2100" kern="1200" baseline="0">
                          <a:solidFill>
                            <a:schemeClr val="dk1"/>
                          </a:solidFill>
                          <a:latin typeface="+mn-lt"/>
                          <a:ea typeface="+mn-ea"/>
                          <a:cs typeface="+mn-cs"/>
                        </a:rPr>
                        <a:t> reads per second</a:t>
                      </a:r>
                      <a:endParaRPr lang="en-US" sz="2100" kern="1200">
                        <a:solidFill>
                          <a:schemeClr val="dk1"/>
                        </a:solidFill>
                        <a:latin typeface="+mn-lt"/>
                        <a:ea typeface="+mn-ea"/>
                        <a:cs typeface="+mn-cs"/>
                      </a:endParaRPr>
                    </a:p>
                    <a:p>
                      <a:pPr marL="285750" indent="-285750">
                        <a:spcBef>
                          <a:spcPts val="1200"/>
                        </a:spcBef>
                        <a:spcAft>
                          <a:spcPts val="1200"/>
                        </a:spcAft>
                        <a:buFont typeface="Arial" panose="020B0604020202020204" pitchFamily="34" charset="0"/>
                        <a:buChar char="•"/>
                      </a:pPr>
                      <a:r>
                        <a:rPr lang="en-US" sz="2100" kern="1200" baseline="0">
                          <a:solidFill>
                            <a:schemeClr val="dk1"/>
                          </a:solidFill>
                          <a:latin typeface="+mn-lt"/>
                          <a:ea typeface="+mn-ea"/>
                          <a:cs typeface="+mn-cs"/>
                        </a:rPr>
                        <a:t>3 to 7 ms per read</a:t>
                      </a:r>
                    </a:p>
                    <a:p>
                      <a:pPr marL="285750" indent="-285750">
                        <a:spcBef>
                          <a:spcPts val="1200"/>
                        </a:spcBef>
                        <a:spcAft>
                          <a:spcPts val="1200"/>
                        </a:spcAft>
                        <a:buFont typeface="Arial" panose="020B0604020202020204" pitchFamily="34" charset="0"/>
                        <a:buChar char="•"/>
                      </a:pPr>
                      <a:r>
                        <a:rPr lang="en-US" sz="2100" kern="1200" baseline="0">
                          <a:solidFill>
                            <a:schemeClr val="dk1"/>
                          </a:solidFill>
                          <a:latin typeface="+mn-lt"/>
                          <a:ea typeface="+mn-ea"/>
                          <a:cs typeface="+mn-cs"/>
                        </a:rPr>
                        <a:t>30 sec to 70 sec total</a:t>
                      </a:r>
                      <a:endParaRPr lang="en-US" sz="2100" kern="1200">
                        <a:solidFill>
                          <a:schemeClr val="dk1"/>
                        </a:solidFill>
                        <a:latin typeface="+mn-lt"/>
                        <a:ea typeface="+mn-ea"/>
                        <a:cs typeface="+mn-cs"/>
                      </a:endParaRPr>
                    </a:p>
                  </a:txBody>
                  <a:tcPr marL="153308" marR="153308" marT="76654" marB="76654">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285750" marR="0" indent="-285750" algn="l" defTabSz="932742" rtl="0" eaLnBrk="1" fontAlgn="auto" latinLnBrk="0" hangingPunct="1">
                        <a:lnSpc>
                          <a:spcPct val="100000"/>
                        </a:lnSpc>
                        <a:spcBef>
                          <a:spcPts val="1200"/>
                        </a:spcBef>
                        <a:spcAft>
                          <a:spcPts val="1200"/>
                        </a:spcAft>
                        <a:buClrTx/>
                        <a:buSzTx/>
                        <a:buFont typeface="Arial" panose="020B0604020202020204" pitchFamily="34" charset="0"/>
                        <a:buChar char="•"/>
                        <a:tabLst/>
                        <a:defRPr/>
                      </a:pPr>
                      <a:r>
                        <a:rPr lang="en-US" sz="2100" kern="1200">
                          <a:solidFill>
                            <a:schemeClr val="dk1"/>
                          </a:solidFill>
                          <a:latin typeface="+mn-lt"/>
                          <a:ea typeface="+mn-ea"/>
                          <a:cs typeface="+mn-cs"/>
                        </a:rPr>
                        <a:t>36,000,000 random reads per second</a:t>
                      </a:r>
                    </a:p>
                    <a:p>
                      <a:pPr marL="285750" marR="0" indent="-285750" algn="l" defTabSz="932742" rtl="0" eaLnBrk="1" fontAlgn="auto" latinLnBrk="0" hangingPunct="1">
                        <a:lnSpc>
                          <a:spcPct val="100000"/>
                        </a:lnSpc>
                        <a:spcBef>
                          <a:spcPts val="1200"/>
                        </a:spcBef>
                        <a:spcAft>
                          <a:spcPts val="1200"/>
                        </a:spcAft>
                        <a:buClrTx/>
                        <a:buSzTx/>
                        <a:buFont typeface="Arial" panose="020B0604020202020204" pitchFamily="34" charset="0"/>
                        <a:buChar char="•"/>
                        <a:tabLst/>
                        <a:defRPr/>
                      </a:pPr>
                      <a:r>
                        <a:rPr lang="en-US" sz="2100" kern="1200">
                          <a:solidFill>
                            <a:schemeClr val="dk1"/>
                          </a:solidFill>
                          <a:latin typeface="+mn-lt"/>
                          <a:ea typeface="+mn-ea"/>
                          <a:cs typeface="+mn-cs"/>
                        </a:rPr>
                        <a:t>20 to 60 ns per read</a:t>
                      </a:r>
                    </a:p>
                    <a:p>
                      <a:pPr marL="285750" marR="0" indent="-285750" algn="l" defTabSz="932742" rtl="0" eaLnBrk="1" fontAlgn="auto" latinLnBrk="0" hangingPunct="1">
                        <a:lnSpc>
                          <a:spcPct val="100000"/>
                        </a:lnSpc>
                        <a:spcBef>
                          <a:spcPts val="1200"/>
                        </a:spcBef>
                        <a:spcAft>
                          <a:spcPts val="1200"/>
                        </a:spcAft>
                        <a:buClrTx/>
                        <a:buSzTx/>
                        <a:buFont typeface="Arial" panose="020B0604020202020204" pitchFamily="34" charset="0"/>
                        <a:buChar char="•"/>
                        <a:tabLst/>
                        <a:defRPr/>
                      </a:pPr>
                      <a:r>
                        <a:rPr lang="en-US" sz="2100" kern="1200">
                          <a:solidFill>
                            <a:schemeClr val="dk1"/>
                          </a:solidFill>
                          <a:latin typeface="+mn-lt"/>
                          <a:ea typeface="+mn-ea"/>
                          <a:cs typeface="+mn-cs"/>
                        </a:rPr>
                        <a:t>0.2</a:t>
                      </a:r>
                      <a:r>
                        <a:rPr lang="en-US" sz="2100" kern="1200" baseline="0">
                          <a:solidFill>
                            <a:schemeClr val="dk1"/>
                          </a:solidFill>
                          <a:latin typeface="+mn-lt"/>
                          <a:ea typeface="+mn-ea"/>
                          <a:cs typeface="+mn-cs"/>
                        </a:rPr>
                        <a:t> ms to 0.6 ms total</a:t>
                      </a:r>
                    </a:p>
                    <a:p>
                      <a:pPr marL="285750" marR="0" indent="-285750" algn="l" defTabSz="932742" rtl="0" eaLnBrk="1" fontAlgn="auto" latinLnBrk="0" hangingPunct="1">
                        <a:lnSpc>
                          <a:spcPct val="100000"/>
                        </a:lnSpc>
                        <a:spcBef>
                          <a:spcPts val="1200"/>
                        </a:spcBef>
                        <a:spcAft>
                          <a:spcPts val="1200"/>
                        </a:spcAft>
                        <a:buClrTx/>
                        <a:buSzTx/>
                        <a:buFont typeface="Arial" panose="020B0604020202020204" pitchFamily="34" charset="0"/>
                        <a:buChar char="•"/>
                        <a:tabLst/>
                        <a:defRPr/>
                      </a:pPr>
                      <a:r>
                        <a:rPr lang="en-US" sz="2100" kern="1200" baseline="0">
                          <a:solidFill>
                            <a:schemeClr val="dk1"/>
                          </a:solidFill>
                          <a:latin typeface="+mn-lt"/>
                          <a:ea typeface="+mn-ea"/>
                          <a:cs typeface="+mn-cs"/>
                        </a:rPr>
                        <a:t>150,000x faster than HD and 500x faster than SSD</a:t>
                      </a:r>
                      <a:endParaRPr lang="en-US" sz="2100" kern="1200">
                        <a:solidFill>
                          <a:schemeClr val="dk1"/>
                        </a:solidFill>
                        <a:latin typeface="+mn-lt"/>
                        <a:ea typeface="+mn-ea"/>
                        <a:cs typeface="+mn-cs"/>
                      </a:endParaRPr>
                    </a:p>
                    <a:p>
                      <a:pPr marL="0" marR="0" indent="0" algn="l" defTabSz="932742" rtl="0" eaLnBrk="1" fontAlgn="auto" latinLnBrk="0" hangingPunct="1">
                        <a:lnSpc>
                          <a:spcPct val="100000"/>
                        </a:lnSpc>
                        <a:spcBef>
                          <a:spcPts val="0"/>
                        </a:spcBef>
                        <a:spcAft>
                          <a:spcPts val="0"/>
                        </a:spcAft>
                        <a:buClrTx/>
                        <a:buSzTx/>
                        <a:buFontTx/>
                        <a:buNone/>
                        <a:tabLst/>
                        <a:defRPr/>
                      </a:pPr>
                      <a:endParaRPr lang="en-US" sz="1500" kern="1200">
                        <a:solidFill>
                          <a:schemeClr val="dk1"/>
                        </a:solidFill>
                        <a:latin typeface="+mn-lt"/>
                        <a:ea typeface="+mn-ea"/>
                        <a:cs typeface="+mn-cs"/>
                      </a:endParaRPr>
                    </a:p>
                  </a:txBody>
                  <a:tcPr marL="153308" marR="153308" marT="76654" marB="76654">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8657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4096" y="470925"/>
            <a:ext cx="4381009" cy="5892104"/>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Title 16"/>
          <p:cNvSpPr>
            <a:spLocks noGrp="1"/>
          </p:cNvSpPr>
          <p:nvPr>
            <p:ph type="title" idx="4294967295"/>
          </p:nvPr>
        </p:nvSpPr>
        <p:spPr>
          <a:xfrm>
            <a:off x="863029" y="1012004"/>
            <a:ext cx="3416158" cy="4795408"/>
          </a:xfrm>
        </p:spPr>
        <p:txBody>
          <a:bodyPr vert="horz" lIns="91440" tIns="45720" rIns="91440" bIns="45720" rtlCol="0" anchor="ctr">
            <a:norm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14400"/>
            <a:r>
              <a:rPr lang="en-US" sz="4400">
                <a:solidFill>
                  <a:srgbClr val="FFFFFF"/>
                </a:solidFill>
                <a:latin typeface="+mj-lt"/>
                <a:ea typeface="+mj-ea"/>
                <a:cs typeface="+mj-cs"/>
              </a:rPr>
              <a:t>How Does It Work</a:t>
            </a:r>
          </a:p>
        </p:txBody>
      </p:sp>
      <p:graphicFrame>
        <p:nvGraphicFramePr>
          <p:cNvPr id="19" name="Text Placeholder 5">
            <a:extLst>
              <a:ext uri="{FF2B5EF4-FFF2-40B4-BE49-F238E27FC236}">
                <a16:creationId xmlns:a16="http://schemas.microsoft.com/office/drawing/2014/main" id="{45F03E75-1051-45B3-A9C1-1E8F87D78101}"/>
              </a:ext>
            </a:extLst>
          </p:cNvPr>
          <p:cNvGraphicFramePr/>
          <p:nvPr>
            <p:extLst>
              <p:ext uri="{D42A27DB-BD31-4B8C-83A1-F6EECF244321}">
                <p14:modId xmlns:p14="http://schemas.microsoft.com/office/powerpoint/2010/main" val="1872481295"/>
              </p:ext>
            </p:extLst>
          </p:nvPr>
        </p:nvGraphicFramePr>
        <p:xfrm>
          <a:off x="5194300" y="470924"/>
          <a:ext cx="6513604" cy="58854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75115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0285" y="161925"/>
            <a:ext cx="10515600" cy="1325563"/>
          </a:xfrm>
        </p:spPr>
        <p:txBody>
          <a:bodyPr>
            <a:normAutofit/>
          </a:bodyPr>
          <a:lstStyle/>
          <a:p>
            <a:r>
              <a:rPr lang="en-US" dirty="0">
                <a:latin typeface="Segoe UI Light" panose="020B0502040204020203" pitchFamily="34" charset="0"/>
                <a:cs typeface="Segoe UI Light" panose="020B0502040204020203" pitchFamily="34" charset="0"/>
              </a:rPr>
              <a:t>Challenge </a:t>
            </a:r>
            <a:r>
              <a:rPr lang="en-US" sz="4400" dirty="0">
                <a:solidFill>
                  <a:schemeClr val="tx1"/>
                </a:solidFill>
                <a:latin typeface="Segoe UI Light" panose="020B0502040204020203" pitchFamily="34" charset="0"/>
                <a:cs typeface="Segoe UI Light" panose="020B0502040204020203" pitchFamily="34" charset="0"/>
              </a:rPr>
              <a:t>8: Increase Performance/Load with Redis Cache</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1203406"/>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Load has been reduced and site responses quicker.</a:t>
            </a:r>
          </a:p>
        </p:txBody>
      </p:sp>
      <p:sp>
        <p:nvSpPr>
          <p:cNvPr id="4" name="Rectangle 3">
            <a:extLst>
              <a:ext uri="{FF2B5EF4-FFF2-40B4-BE49-F238E27FC236}">
                <a16:creationId xmlns:a16="http://schemas.microsoft.com/office/drawing/2014/main" id="{610B2256-7632-AE48-AE49-D197222210CF}"/>
              </a:ext>
            </a:extLst>
          </p:cNvPr>
          <p:cNvSpPr/>
          <p:nvPr/>
        </p:nvSpPr>
        <p:spPr>
          <a:xfrm>
            <a:off x="7815042" y="4528412"/>
            <a:ext cx="4110038" cy="2200602"/>
          </a:xfrm>
          <a:prstGeom prst="rect">
            <a:avLst/>
          </a:prstGeom>
        </p:spPr>
        <p:txBody>
          <a:bodyPr wrap="square">
            <a:spAutoFit/>
          </a:bodyPr>
          <a:lstStyle/>
          <a:p>
            <a:pPr marR="288290">
              <a:spcBef>
                <a:spcPts val="600"/>
              </a:spcBef>
            </a:pPr>
            <a:r>
              <a:rPr lang="en-US" sz="2400" dirty="0">
                <a:ea typeface="Segoe UI"/>
                <a:cs typeface="Segoe UI"/>
              </a:rPr>
              <a:t>Default Accounts</a:t>
            </a:r>
          </a:p>
          <a:p>
            <a:pPr marR="288290">
              <a:spcBef>
                <a:spcPts val="600"/>
              </a:spcBef>
            </a:pPr>
            <a:r>
              <a:rPr lang="en-US" dirty="0">
                <a:ea typeface="Segoe UI"/>
                <a:cs typeface="Segoe UI"/>
              </a:rPr>
              <a:t>Admin User Name: sysadmin</a:t>
            </a:r>
            <a:br>
              <a:rPr lang="en-US" dirty="0">
                <a:ea typeface="Segoe UI"/>
                <a:cs typeface="Segoe UI"/>
              </a:rPr>
            </a:br>
            <a:r>
              <a:rPr lang="en-US" dirty="0">
                <a:ea typeface="Segoe UI"/>
                <a:cs typeface="Segoe UI"/>
              </a:rPr>
              <a:t>Admin User Password: Password$123</a:t>
            </a:r>
          </a:p>
          <a:p>
            <a:pPr marR="288290"/>
            <a:r>
              <a:rPr lang="en-US" dirty="0" err="1">
                <a:ea typeface="Segoe UI"/>
                <a:cs typeface="Segoe UI"/>
              </a:rPr>
              <a:t>db</a:t>
            </a:r>
            <a:r>
              <a:rPr lang="en-US" dirty="0">
                <a:ea typeface="Segoe UI"/>
                <a:cs typeface="Segoe UI"/>
              </a:rPr>
              <a:t> Login Name: </a:t>
            </a:r>
            <a:r>
              <a:rPr lang="en-US" dirty="0" err="1">
                <a:ea typeface="Segoe UI"/>
                <a:cs typeface="Segoe UI"/>
              </a:rPr>
              <a:t>workshopServiceAcc</a:t>
            </a:r>
            <a:br>
              <a:rPr lang="en-US" dirty="0">
                <a:ea typeface="Segoe UI"/>
                <a:cs typeface="Segoe UI"/>
              </a:rPr>
            </a:br>
            <a:r>
              <a:rPr lang="en-US" dirty="0" err="1">
                <a:ea typeface="Segoe UI"/>
                <a:cs typeface="Segoe UI"/>
              </a:rPr>
              <a:t>db</a:t>
            </a:r>
            <a:r>
              <a:rPr lang="en-US" dirty="0">
                <a:ea typeface="Segoe UI"/>
                <a:cs typeface="Segoe UI"/>
              </a:rPr>
              <a:t> User Name: </a:t>
            </a:r>
            <a:r>
              <a:rPr lang="en-US" dirty="0" err="1">
                <a:ea typeface="Segoe UI"/>
                <a:cs typeface="Segoe UI"/>
              </a:rPr>
              <a:t>workshopServiceAcc</a:t>
            </a:r>
            <a:br>
              <a:rPr lang="en-US" dirty="0">
                <a:ea typeface="Segoe UI"/>
                <a:cs typeface="Segoe UI"/>
              </a:rPr>
            </a:br>
            <a:r>
              <a:rPr lang="en-US" dirty="0" err="1">
                <a:ea typeface="Segoe UI"/>
                <a:cs typeface="Segoe UI"/>
              </a:rPr>
              <a:t>db</a:t>
            </a:r>
            <a:r>
              <a:rPr lang="en-US" dirty="0">
                <a:ea typeface="Segoe UI"/>
                <a:cs typeface="Segoe UI"/>
              </a:rPr>
              <a:t> User Password: P2ssw0rd</a:t>
            </a:r>
          </a:p>
          <a:p>
            <a:pPr marR="288290">
              <a:spcAft>
                <a:spcPts val="600"/>
              </a:spcAft>
            </a:pPr>
            <a:r>
              <a:rPr lang="en-US" dirty="0">
                <a:ea typeface="Segoe UI"/>
                <a:cs typeface="Segoe UI"/>
              </a:rPr>
              <a:t>Database Name: </a:t>
            </a:r>
            <a:r>
              <a:rPr lang="en-US" dirty="0" err="1">
                <a:ea typeface="Segoe UI"/>
                <a:cs typeface="Segoe UI"/>
              </a:rPr>
              <a:t>partsUnlimitedDB</a:t>
            </a:r>
            <a:endParaRPr lang="en-US" dirty="0">
              <a:ea typeface="Segoe UI"/>
              <a:cs typeface="Segoe UI"/>
            </a:endParaRPr>
          </a:p>
        </p:txBody>
      </p:sp>
      <p:sp>
        <p:nvSpPr>
          <p:cNvPr id="3" name="Rectangle 2">
            <a:extLst>
              <a:ext uri="{FF2B5EF4-FFF2-40B4-BE49-F238E27FC236}">
                <a16:creationId xmlns:a16="http://schemas.microsoft.com/office/drawing/2014/main" id="{D378FBC6-C1E8-274E-83FC-46279D2758D7}"/>
              </a:ext>
            </a:extLst>
          </p:cNvPr>
          <p:cNvSpPr/>
          <p:nvPr/>
        </p:nvSpPr>
        <p:spPr>
          <a:xfrm>
            <a:off x="340285" y="4528412"/>
            <a:ext cx="7247964" cy="1477328"/>
          </a:xfrm>
          <a:prstGeom prst="rect">
            <a:avLst/>
          </a:prstGeom>
        </p:spPr>
        <p:txBody>
          <a:bodyPr wrap="square">
            <a:spAutoFit/>
          </a:bodyPr>
          <a:lstStyle/>
          <a:p>
            <a:r>
              <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3"/>
              </a:rPr>
              <a:t>https://docs.microsoft.com/en-us/azure/redis-cache/cache-dotnet-how-to-use-azure-redis-cache</a:t>
            </a:r>
            <a:endPar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endParaRPr>
          </a:p>
          <a:p>
            <a:endPar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endParaRPr>
          </a:p>
          <a:p>
            <a:r>
              <a:rPr lang="en-US" u="sng" dirty="0">
                <a:hlinkClick r:id="rId4"/>
              </a:rPr>
              <a:t>https://</a:t>
            </a:r>
            <a:r>
              <a:rPr lang="en-US" u="sng" dirty="0" err="1">
                <a:hlinkClick r:id="rId4"/>
              </a:rPr>
              <a:t>docs.microsoft.com</a:t>
            </a:r>
            <a:r>
              <a:rPr lang="en-US" u="sng" dirty="0">
                <a:hlinkClick r:id="rId4"/>
              </a:rPr>
              <a:t>/</a:t>
            </a:r>
            <a:r>
              <a:rPr lang="en-US" u="sng" dirty="0" err="1">
                <a:hlinkClick r:id="rId4"/>
              </a:rPr>
              <a:t>en</a:t>
            </a:r>
            <a:r>
              <a:rPr lang="en-US" u="sng" dirty="0">
                <a:hlinkClick r:id="rId4"/>
              </a:rPr>
              <a:t>-us/azure/architecture/antipatterns/no-caching/</a:t>
            </a:r>
            <a:r>
              <a:rPr lang="en-US" dirty="0">
                <a:hlinkClick r:id="rId4"/>
              </a:rPr>
              <a:t> </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4276466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2C4BFA1-2075-4901-9E24-E41D1FDD51F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55481" y="498348"/>
            <a:ext cx="9902663" cy="5861304"/>
            <a:chOff x="1155481" y="498348"/>
            <a:chExt cx="9902663" cy="5861304"/>
          </a:xfrm>
        </p:grpSpPr>
        <p:sp>
          <p:nvSpPr>
            <p:cNvPr id="8" name="Oval 5">
              <a:extLst>
                <a:ext uri="{FF2B5EF4-FFF2-40B4-BE49-F238E27FC236}">
                  <a16:creationId xmlns:a16="http://schemas.microsoft.com/office/drawing/2014/main" id="{985A7375-E3AF-4F5C-85AE-17E8832952CA}"/>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1155481" y="498348"/>
              <a:ext cx="5861304" cy="5861304"/>
            </a:xfrm>
            <a:prstGeom prst="ellipse">
              <a:avLst/>
            </a:prstGeom>
            <a:solidFill>
              <a:schemeClr val="accent1">
                <a:alpha val="55000"/>
              </a:schemeClr>
            </a:solidFill>
            <a:ln>
              <a:noFill/>
            </a:ln>
          </p:spPr>
        </p:sp>
        <p:sp>
          <p:nvSpPr>
            <p:cNvPr id="9" name="Oval 8">
              <a:extLst>
                <a:ext uri="{FF2B5EF4-FFF2-40B4-BE49-F238E27FC236}">
                  <a16:creationId xmlns:a16="http://schemas.microsoft.com/office/drawing/2014/main" id="{F0307F65-8304-4FA8-A841-D4D7625411BE}"/>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5196840" y="498348"/>
              <a:ext cx="5861304" cy="5861304"/>
            </a:xfrm>
            <a:prstGeom prst="ellipse">
              <a:avLst/>
            </a:prstGeom>
            <a:solidFill>
              <a:schemeClr val="accent1">
                <a:alpha val="55000"/>
              </a:schemeClr>
            </a:solidFill>
            <a:ln>
              <a:noFill/>
            </a:ln>
          </p:spPr>
        </p:sp>
        <p:sp>
          <p:nvSpPr>
            <p:cNvPr id="10" name="Oval 5">
              <a:extLst>
                <a:ext uri="{FF2B5EF4-FFF2-40B4-BE49-F238E27FC236}">
                  <a16:creationId xmlns:a16="http://schemas.microsoft.com/office/drawing/2014/main" id="{C8B8394C-136F-4E05-A002-D93A5E79CD50}"/>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3165348" y="498348"/>
              <a:ext cx="5861304" cy="5861304"/>
            </a:xfrm>
            <a:prstGeom prst="ellipse">
              <a:avLst/>
            </a:prstGeom>
            <a:solidFill>
              <a:schemeClr val="accent1">
                <a:alpha val="70000"/>
              </a:schemeClr>
            </a:solidFill>
            <a:ln>
              <a:noFill/>
            </a:ln>
          </p:spPr>
        </p:sp>
      </p:grpSp>
      <p:sp>
        <p:nvSpPr>
          <p:cNvPr id="12" name="Rectangle 11">
            <a:extLst>
              <a:ext uri="{FF2B5EF4-FFF2-40B4-BE49-F238E27FC236}">
                <a16:creationId xmlns:a16="http://schemas.microsoft.com/office/drawing/2014/main" id="{053FB2EE-284F-4C87-AB3D-BBF87A9FAB9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514600"/>
            <a:ext cx="12192000" cy="182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D3B24B8B-A0B4-4D5D-96B2-6AE375721708}"/>
              </a:ext>
            </a:extLst>
          </p:cNvPr>
          <p:cNvSpPr>
            <a:spLocks noGrp="1"/>
          </p:cNvSpPr>
          <p:nvPr>
            <p:ph type="title"/>
          </p:nvPr>
        </p:nvSpPr>
        <p:spPr>
          <a:xfrm>
            <a:off x="1524000" y="2776538"/>
            <a:ext cx="9144000" cy="1381188"/>
          </a:xfrm>
        </p:spPr>
        <p:txBody>
          <a:bodyPr vert="horz" lIns="91440" tIns="45720" rIns="91440" bIns="45720" rtlCol="0" anchor="ctr">
            <a:normAutofit/>
          </a:bodyPr>
          <a:lstStyle/>
          <a:p>
            <a:pPr algn="ctr"/>
            <a:r>
              <a:rPr lang="en-US" sz="4000" kern="1200">
                <a:solidFill>
                  <a:schemeClr val="bg2"/>
                </a:solidFill>
                <a:latin typeface="+mj-lt"/>
                <a:ea typeface="+mj-ea"/>
                <a:cs typeface="+mj-cs"/>
              </a:rPr>
              <a:t>What is Azure Search?</a:t>
            </a:r>
          </a:p>
        </p:txBody>
      </p:sp>
    </p:spTree>
    <p:extLst>
      <p:ext uri="{BB962C8B-B14F-4D97-AF65-F5344CB8AC3E}">
        <p14:creationId xmlns:p14="http://schemas.microsoft.com/office/powerpoint/2010/main" val="1060822973"/>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CC287C-242A-8743-B214-FDDF246222E4}"/>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86093373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B854194-185D-494D-905C-7C7CB2E30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608211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B4F5FA0D-0104-4987-8241-EFF7C85B88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1998"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2897127E-6CEF-446C-BE87-93B7C46E49D1}"/>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87C7452-19B9-D14C-9513-3350E791DEAD}"/>
              </a:ext>
            </a:extLst>
          </p:cNvPr>
          <p:cNvSpPr>
            <a:spLocks noGrp="1"/>
          </p:cNvSpPr>
          <p:nvPr>
            <p:ph type="title"/>
          </p:nvPr>
        </p:nvSpPr>
        <p:spPr>
          <a:xfrm>
            <a:off x="640079" y="2053641"/>
            <a:ext cx="3669161" cy="2760098"/>
          </a:xfrm>
        </p:spPr>
        <p:txBody>
          <a:bodyPr>
            <a:normAutofit/>
          </a:bodyPr>
          <a:lstStyle/>
          <a:p>
            <a:r>
              <a:rPr lang="en-US">
                <a:solidFill>
                  <a:srgbClr val="FFFFFF"/>
                </a:solidFill>
              </a:rPr>
              <a:t>Azure Search</a:t>
            </a:r>
            <a:br>
              <a:rPr lang="en-US">
                <a:solidFill>
                  <a:srgbClr val="FFFFFF"/>
                </a:solidFill>
              </a:rPr>
            </a:br>
            <a:r>
              <a:rPr lang="en-US">
                <a:solidFill>
                  <a:srgbClr val="FFFFFF"/>
                </a:solidFill>
              </a:rPr>
              <a:t>Search-as-a-Service</a:t>
            </a:r>
          </a:p>
        </p:txBody>
      </p:sp>
      <p:sp>
        <p:nvSpPr>
          <p:cNvPr id="3" name="Content Placeholder 2">
            <a:extLst>
              <a:ext uri="{FF2B5EF4-FFF2-40B4-BE49-F238E27FC236}">
                <a16:creationId xmlns:a16="http://schemas.microsoft.com/office/drawing/2014/main" id="{3EAA92DA-645B-834F-B647-2B867CAEF0BA}"/>
              </a:ext>
            </a:extLst>
          </p:cNvPr>
          <p:cNvSpPr>
            <a:spLocks noGrp="1"/>
          </p:cNvSpPr>
          <p:nvPr>
            <p:ph idx="1"/>
          </p:nvPr>
        </p:nvSpPr>
        <p:spPr>
          <a:xfrm>
            <a:off x="6090574" y="801866"/>
            <a:ext cx="5306084" cy="5230634"/>
          </a:xfrm>
        </p:spPr>
        <p:txBody>
          <a:bodyPr anchor="ctr">
            <a:normAutofit/>
          </a:bodyPr>
          <a:lstStyle/>
          <a:p>
            <a:r>
              <a:rPr lang="en-US" sz="2400">
                <a:solidFill>
                  <a:srgbClr val="000000"/>
                </a:solidFill>
              </a:rPr>
              <a:t>Management Free</a:t>
            </a:r>
            <a:br>
              <a:rPr lang="en-US" sz="2400">
                <a:solidFill>
                  <a:srgbClr val="000000"/>
                </a:solidFill>
              </a:rPr>
            </a:br>
            <a:r>
              <a:rPr lang="en-US" sz="2400">
                <a:solidFill>
                  <a:srgbClr val="000000"/>
                </a:solidFill>
              </a:rPr>
              <a:t>Keyword search</a:t>
            </a:r>
            <a:br>
              <a:rPr lang="en-US" sz="2400">
                <a:solidFill>
                  <a:srgbClr val="000000"/>
                </a:solidFill>
              </a:rPr>
            </a:br>
            <a:r>
              <a:rPr lang="en-US" sz="2400">
                <a:solidFill>
                  <a:srgbClr val="000000"/>
                </a:solidFill>
              </a:rPr>
              <a:t>Faceting</a:t>
            </a:r>
            <a:br>
              <a:rPr lang="en-US" sz="2400">
                <a:solidFill>
                  <a:srgbClr val="000000"/>
                </a:solidFill>
              </a:rPr>
            </a:br>
            <a:r>
              <a:rPr lang="en-US" sz="2400">
                <a:solidFill>
                  <a:srgbClr val="000000"/>
                </a:solidFill>
              </a:rPr>
              <a:t>Geospatial support</a:t>
            </a:r>
            <a:br>
              <a:rPr lang="en-US" sz="2400">
                <a:solidFill>
                  <a:srgbClr val="000000"/>
                </a:solidFill>
              </a:rPr>
            </a:br>
            <a:r>
              <a:rPr lang="en-US" sz="2400">
                <a:solidFill>
                  <a:srgbClr val="000000"/>
                </a:solidFill>
              </a:rPr>
              <a:t>Multi-Language Support</a:t>
            </a:r>
            <a:br>
              <a:rPr lang="en-US" sz="2400">
                <a:solidFill>
                  <a:srgbClr val="000000"/>
                </a:solidFill>
              </a:rPr>
            </a:br>
            <a:r>
              <a:rPr lang="en-US" sz="2400">
                <a:solidFill>
                  <a:srgbClr val="000000"/>
                </a:solidFill>
              </a:rPr>
              <a:t>Suggestions/auto-complete</a:t>
            </a:r>
            <a:br>
              <a:rPr lang="en-US" sz="2400">
                <a:solidFill>
                  <a:srgbClr val="000000"/>
                </a:solidFill>
              </a:rPr>
            </a:br>
            <a:r>
              <a:rPr lang="en-US" sz="2400">
                <a:solidFill>
                  <a:srgbClr val="000000"/>
                </a:solidFill>
              </a:rPr>
              <a:t>Customizable scoring models</a:t>
            </a:r>
            <a:br>
              <a:rPr lang="en-US" sz="2400">
                <a:solidFill>
                  <a:srgbClr val="000000"/>
                </a:solidFill>
              </a:rPr>
            </a:br>
            <a:r>
              <a:rPr lang="en-US" sz="2400">
                <a:solidFill>
                  <a:srgbClr val="000000"/>
                </a:solidFill>
              </a:rPr>
              <a:t>Proximity Search</a:t>
            </a:r>
            <a:br>
              <a:rPr lang="en-US" sz="2400">
                <a:solidFill>
                  <a:srgbClr val="000000"/>
                </a:solidFill>
              </a:rPr>
            </a:br>
            <a:r>
              <a:rPr lang="en-US" sz="2400">
                <a:solidFill>
                  <a:srgbClr val="000000"/>
                </a:solidFill>
              </a:rPr>
              <a:t>Synonyms</a:t>
            </a:r>
            <a:br>
              <a:rPr lang="en-US" sz="2400">
                <a:solidFill>
                  <a:srgbClr val="000000"/>
                </a:solidFill>
              </a:rPr>
            </a:br>
            <a:r>
              <a:rPr lang="en-US" sz="2400">
                <a:solidFill>
                  <a:srgbClr val="000000"/>
                </a:solidFill>
              </a:rPr>
              <a:t>etc.</a:t>
            </a:r>
            <a:br>
              <a:rPr lang="en-US" sz="2400">
                <a:solidFill>
                  <a:srgbClr val="000000"/>
                </a:solidFill>
              </a:rPr>
            </a:br>
            <a:endParaRPr lang="en-US" sz="2400">
              <a:solidFill>
                <a:srgbClr val="000000"/>
              </a:solidFill>
            </a:endParaRPr>
          </a:p>
        </p:txBody>
      </p:sp>
    </p:spTree>
    <p:extLst>
      <p:ext uri="{BB962C8B-B14F-4D97-AF65-F5344CB8AC3E}">
        <p14:creationId xmlns:p14="http://schemas.microsoft.com/office/powerpoint/2010/main" val="5418588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879745" y="2134746"/>
            <a:ext cx="7431428" cy="787430"/>
          </a:xfrm>
          <a:prstGeom prst="rect">
            <a:avLst/>
          </a:prstGeom>
        </p:spPr>
        <p:txBody>
          <a:bodyPr lIns="146284" tIns="9143" rIns="146284" bIns="9143"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ts val="0"/>
              </a:spcBef>
              <a:spcAft>
                <a:spcPts val="0"/>
              </a:spcAft>
              <a:buClrTx/>
              <a:buSzTx/>
              <a:buFontTx/>
              <a:buNone/>
              <a:tabLst/>
              <a:defRPr/>
            </a:pPr>
            <a:r>
              <a:rPr kumimoji="0" lang="en-US" sz="4400" b="0" i="0" u="none" strike="noStrike" kern="1200" cap="none" spc="-10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rPr>
              <a:t>Azure Cognitive Services</a:t>
            </a:r>
          </a:p>
        </p:txBody>
      </p:sp>
      <p:sp>
        <p:nvSpPr>
          <p:cNvPr id="7" name="Rectangle 6"/>
          <p:cNvSpPr/>
          <p:nvPr/>
        </p:nvSpPr>
        <p:spPr>
          <a:xfrm>
            <a:off x="879745" y="3220365"/>
            <a:ext cx="6920978" cy="2092881"/>
          </a:xfrm>
          <a:prstGeom prst="rect">
            <a:avLst/>
          </a:prstGeom>
        </p:spPr>
        <p:txBody>
          <a:bodyPr wrap="square" lIns="146284">
            <a:spAutoFit/>
          </a:bodyPr>
          <a:lstStyle/>
          <a:p>
            <a:pPr marL="0" marR="0" lvl="0" indent="0" algn="l" defTabSz="932148" rtl="0" eaLnBrk="1" fontAlgn="auto" latinLnBrk="0" hangingPunct="1">
              <a:lnSpc>
                <a:spcPct val="100000"/>
              </a:lnSpc>
              <a:spcBef>
                <a:spcPct val="0"/>
              </a:spcBef>
              <a:spcAft>
                <a:spcPts val="1200"/>
              </a:spcAft>
              <a:buClrTx/>
              <a:buSzTx/>
              <a:buFontTx/>
              <a:buNone/>
              <a:tabLst/>
              <a:defRPr/>
            </a:pPr>
            <a:r>
              <a:rPr kumimoji="0" lang="en-US" sz="1800" b="0" i="0" u="none" strike="noStrike" kern="0" cap="none" spc="0" normalizeH="0" baseline="0" noProof="0">
                <a:ln w="3175">
                  <a:noFill/>
                </a:ln>
                <a:solidFill>
                  <a:srgbClr val="AFE6FF"/>
                </a:solidFill>
                <a:effectLst/>
                <a:uLnTx/>
                <a:uFillTx/>
                <a:latin typeface="Segoe UI" panose="020B0502040204020203" pitchFamily="34" charset="0"/>
                <a:ea typeface="+mn-ea"/>
                <a:cs typeface="Segoe UI" panose="020B0502040204020203" pitchFamily="34" charset="0"/>
              </a:rPr>
              <a:t>Powerful prebuilt AI models exposed as API services</a:t>
            </a:r>
          </a:p>
          <a:p>
            <a:pPr marL="0" marR="0" lvl="0" indent="0" algn="l" defTabSz="932148" rtl="0" eaLnBrk="1" fontAlgn="auto" latinLnBrk="0" hangingPunct="1">
              <a:lnSpc>
                <a:spcPct val="100000"/>
              </a:lnSpc>
              <a:spcBef>
                <a:spcPct val="0"/>
              </a:spcBef>
              <a:spcAft>
                <a:spcPts val="1200"/>
              </a:spcAft>
              <a:buClrTx/>
              <a:buSzTx/>
              <a:buFontTx/>
              <a:buNone/>
              <a:tabLst/>
              <a:defRPr/>
            </a:pPr>
            <a:r>
              <a:rPr kumimoji="0" lang="en-US" sz="1800" b="0" i="0" u="none" strike="noStrike" kern="0" cap="none" spc="0" normalizeH="0" baseline="0" noProof="0">
                <a:ln w="3175">
                  <a:noFill/>
                </a:ln>
                <a:solidFill>
                  <a:srgbClr val="AFE6FF"/>
                </a:solidFill>
                <a:effectLst/>
                <a:uLnTx/>
                <a:uFillTx/>
                <a:latin typeface="Segoe UI" panose="020B0502040204020203" pitchFamily="34" charset="0"/>
                <a:ea typeface="+mn-ea"/>
                <a:cs typeface="Segoe UI" panose="020B0502040204020203" pitchFamily="34" charset="0"/>
              </a:rPr>
              <a:t>Process images, video, speech, language and more</a:t>
            </a:r>
          </a:p>
          <a:p>
            <a:pPr marL="0" marR="0" lvl="0" indent="0" algn="l" defTabSz="932148" rtl="0" eaLnBrk="1" fontAlgn="auto" latinLnBrk="0" hangingPunct="1">
              <a:lnSpc>
                <a:spcPct val="100000"/>
              </a:lnSpc>
              <a:spcBef>
                <a:spcPct val="0"/>
              </a:spcBef>
              <a:spcAft>
                <a:spcPts val="1200"/>
              </a:spcAft>
              <a:buClrTx/>
              <a:buSzTx/>
              <a:buFontTx/>
              <a:buNone/>
              <a:tabLst/>
              <a:defRPr/>
            </a:pPr>
            <a:r>
              <a:rPr kumimoji="0" lang="en-US" sz="1800" b="0" i="0" u="none" strike="noStrike" kern="0" cap="none" spc="0" normalizeH="0" baseline="0" noProof="0">
                <a:ln w="3175">
                  <a:noFill/>
                </a:ln>
                <a:solidFill>
                  <a:srgbClr val="AFE6FF"/>
                </a:solidFill>
                <a:effectLst/>
                <a:uLnTx/>
                <a:uFillTx/>
                <a:latin typeface="Segoe UI" panose="020B0502040204020203" pitchFamily="34" charset="0"/>
                <a:ea typeface="+mn-ea"/>
                <a:cs typeface="Segoe UI" panose="020B0502040204020203" pitchFamily="34" charset="0"/>
              </a:rPr>
              <a:t>Simple REST APIs with .NET, Java, Python, Node SDKs</a:t>
            </a:r>
          </a:p>
          <a:p>
            <a:pPr marL="0" marR="0" lvl="0" indent="0" algn="l" defTabSz="932148" rtl="0" eaLnBrk="1" fontAlgn="auto" latinLnBrk="0" hangingPunct="1">
              <a:lnSpc>
                <a:spcPct val="100000"/>
              </a:lnSpc>
              <a:spcBef>
                <a:spcPct val="0"/>
              </a:spcBef>
              <a:spcAft>
                <a:spcPts val="1200"/>
              </a:spcAft>
              <a:buClrTx/>
              <a:buSzTx/>
              <a:buFontTx/>
              <a:buNone/>
              <a:tabLst/>
              <a:defRPr/>
            </a:pPr>
            <a:r>
              <a:rPr kumimoji="0" lang="en-US" sz="1800" b="0" i="0" u="none" strike="noStrike" kern="0" cap="none" spc="0" normalizeH="0" baseline="0" noProof="0">
                <a:ln w="3175">
                  <a:noFill/>
                </a:ln>
                <a:solidFill>
                  <a:srgbClr val="AFE6FF"/>
                </a:solidFill>
                <a:effectLst/>
                <a:uLnTx/>
                <a:uFillTx/>
                <a:latin typeface="Segoe UI" panose="020B0502040204020203" pitchFamily="34" charset="0"/>
                <a:ea typeface="+mn-ea"/>
                <a:cs typeface="Segoe UI" panose="020B0502040204020203" pitchFamily="34" charset="0"/>
              </a:rPr>
              <a:t>Easily customize your own state-of-the-art AI models</a:t>
            </a:r>
          </a:p>
          <a:p>
            <a:pPr marL="0" marR="0" lvl="0" indent="0" algn="l" defTabSz="932148" rtl="0" eaLnBrk="1" fontAlgn="auto" latinLnBrk="0" hangingPunct="1">
              <a:lnSpc>
                <a:spcPct val="100000"/>
              </a:lnSpc>
              <a:spcBef>
                <a:spcPct val="0"/>
              </a:spcBef>
              <a:spcAft>
                <a:spcPts val="1200"/>
              </a:spcAft>
              <a:buClrTx/>
              <a:buSzTx/>
              <a:buFontTx/>
              <a:buNone/>
              <a:tabLst/>
              <a:defRPr/>
            </a:pPr>
            <a:r>
              <a:rPr kumimoji="0" lang="en-US" sz="1800" b="0" i="0" u="none" strike="noStrike" kern="0" cap="none" spc="0" normalizeH="0" baseline="0" noProof="0">
                <a:ln w="3175">
                  <a:noFill/>
                </a:ln>
                <a:solidFill>
                  <a:srgbClr val="AFE6FF"/>
                </a:solidFill>
                <a:effectLst/>
                <a:uLnTx/>
                <a:uFillTx/>
                <a:latin typeface="Segoe UI" panose="020B0502040204020203" pitchFamily="34" charset="0"/>
                <a:ea typeface="+mn-ea"/>
                <a:cs typeface="Segoe UI" panose="020B0502040204020203" pitchFamily="34" charset="0"/>
              </a:rPr>
              <a:t>Train in the cloud and deploy anywhere</a:t>
            </a:r>
          </a:p>
        </p:txBody>
      </p:sp>
      <p:sp>
        <p:nvSpPr>
          <p:cNvPr id="74" name="Title 1">
            <a:extLst>
              <a:ext uri="{FF2B5EF4-FFF2-40B4-BE49-F238E27FC236}">
                <a16:creationId xmlns:a16="http://schemas.microsoft.com/office/drawing/2014/main" id="{895AFFAD-3A06-4A56-A1EA-65A2B184B0DF}"/>
              </a:ext>
            </a:extLst>
          </p:cNvPr>
          <p:cNvSpPr txBox="1">
            <a:spLocks/>
          </p:cNvSpPr>
          <p:nvPr/>
        </p:nvSpPr>
        <p:spPr>
          <a:xfrm>
            <a:off x="171420" y="-92695"/>
            <a:ext cx="11818491" cy="914231"/>
          </a:xfrm>
          <a:prstGeom prst="rect">
            <a:avLst/>
          </a:prstGeom>
          <a:noFill/>
        </p:spPr>
        <p:txBody>
          <a:bodyPr wrap="square" tIns="89642" bIns="89642"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5294" b="0" i="0" u="none" strike="noStrike" kern="1200" cap="none" spc="-98" normalizeH="0" baseline="0" noProof="0">
                <a:ln w="3175">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Pre-Built AI</a:t>
            </a:r>
          </a:p>
        </p:txBody>
      </p:sp>
      <p:sp>
        <p:nvSpPr>
          <p:cNvPr id="75" name="Title 1">
            <a:extLst>
              <a:ext uri="{FF2B5EF4-FFF2-40B4-BE49-F238E27FC236}">
                <a16:creationId xmlns:a16="http://schemas.microsoft.com/office/drawing/2014/main" id="{3BE8470F-69E7-4B53-8344-ADF16E293E3A}"/>
              </a:ext>
            </a:extLst>
          </p:cNvPr>
          <p:cNvSpPr txBox="1">
            <a:spLocks/>
          </p:cNvSpPr>
          <p:nvPr/>
        </p:nvSpPr>
        <p:spPr>
          <a:xfrm>
            <a:off x="1" y="549388"/>
            <a:ext cx="12192000" cy="561204"/>
          </a:xfrm>
          <a:prstGeom prst="rect">
            <a:avLst/>
          </a:prstGeom>
          <a:noFill/>
        </p:spPr>
        <p:txBody>
          <a:bodyPr wrap="square" tIns="89642" bIns="89642"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2745" b="0" i="1" u="none" strike="noStrike" kern="1200" cap="none" spc="0" normalizeH="0" baseline="0" noProof="0">
                <a:ln w="3175">
                  <a:noFill/>
                </a:ln>
                <a:solidFill>
                  <a:prstClr val="white"/>
                </a:solidFill>
                <a:effectLst/>
                <a:uLnTx/>
                <a:uFillTx/>
                <a:latin typeface="Segoe UI Semibold" panose="020B0702040204020203" pitchFamily="34" charset="0"/>
                <a:ea typeface="+mn-ea"/>
                <a:cs typeface="Segoe UI Semibold" panose="020B0702040204020203" pitchFamily="34" charset="0"/>
              </a:rPr>
              <a:t>To develop applications that understand us</a:t>
            </a:r>
          </a:p>
        </p:txBody>
      </p:sp>
      <p:grpSp>
        <p:nvGrpSpPr>
          <p:cNvPr id="77" name="Group 76">
            <a:extLst>
              <a:ext uri="{FF2B5EF4-FFF2-40B4-BE49-F238E27FC236}">
                <a16:creationId xmlns:a16="http://schemas.microsoft.com/office/drawing/2014/main" id="{54CB20C7-DA53-400E-B2CF-E5622D59808B}"/>
              </a:ext>
            </a:extLst>
          </p:cNvPr>
          <p:cNvGrpSpPr/>
          <p:nvPr/>
        </p:nvGrpSpPr>
        <p:grpSpPr>
          <a:xfrm>
            <a:off x="8542580" y="1169107"/>
            <a:ext cx="3576440" cy="5162527"/>
            <a:chOff x="8070028" y="718346"/>
            <a:chExt cx="3649420" cy="5162527"/>
          </a:xfrm>
        </p:grpSpPr>
        <p:sp>
          <p:nvSpPr>
            <p:cNvPr id="78" name="TextBox 77">
              <a:extLst>
                <a:ext uri="{FF2B5EF4-FFF2-40B4-BE49-F238E27FC236}">
                  <a16:creationId xmlns:a16="http://schemas.microsoft.com/office/drawing/2014/main" id="{A51C2ADE-B05D-40AC-9689-734E1F32862A}"/>
                </a:ext>
              </a:extLst>
            </p:cNvPr>
            <p:cNvSpPr txBox="1"/>
            <p:nvPr/>
          </p:nvSpPr>
          <p:spPr>
            <a:xfrm>
              <a:off x="8818872" y="718346"/>
              <a:ext cx="2900576" cy="5162527"/>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25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Vision</a:t>
              </a:r>
            </a:p>
            <a:p>
              <a:pPr marL="0" marR="0" lvl="0" indent="0" algn="l" defTabSz="914225" rtl="0" eaLnBrk="1" fontAlgn="auto" latinLnBrk="0" hangingPunct="1">
                <a:lnSpc>
                  <a:spcPct val="25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peech</a:t>
              </a:r>
            </a:p>
            <a:p>
              <a:pPr marL="0" marR="0" lvl="0" indent="0" algn="l" defTabSz="914225" rtl="0" eaLnBrk="1" fontAlgn="auto" latinLnBrk="0" hangingPunct="1">
                <a:lnSpc>
                  <a:spcPct val="25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Language</a:t>
              </a:r>
            </a:p>
            <a:p>
              <a:pPr marL="0" marR="0" lvl="0" indent="0" algn="l" defTabSz="914225" rtl="0" eaLnBrk="1" fontAlgn="auto" latinLnBrk="0" hangingPunct="1">
                <a:lnSpc>
                  <a:spcPct val="25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Conversation</a:t>
              </a:r>
            </a:p>
            <a:p>
              <a:pPr marL="0" marR="0" lvl="0" indent="0" algn="l" defTabSz="914225" rtl="0" eaLnBrk="1" fontAlgn="auto" latinLnBrk="0" hangingPunct="1">
                <a:lnSpc>
                  <a:spcPct val="25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ng Search</a:t>
              </a:r>
            </a:p>
            <a:p>
              <a:pPr marL="0" marR="0" lvl="0" indent="0" algn="l" defTabSz="914225" rtl="0" eaLnBrk="1" fontAlgn="auto" latinLnBrk="0" hangingPunct="1">
                <a:lnSpc>
                  <a:spcPct val="25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Knowledge</a:t>
              </a:r>
            </a:p>
          </p:txBody>
        </p:sp>
        <p:grpSp>
          <p:nvGrpSpPr>
            <p:cNvPr id="79" name="Group 78">
              <a:extLst>
                <a:ext uri="{FF2B5EF4-FFF2-40B4-BE49-F238E27FC236}">
                  <a16:creationId xmlns:a16="http://schemas.microsoft.com/office/drawing/2014/main" id="{BDAC4D0D-09A7-4E75-9167-9C67D9AB8F51}"/>
                </a:ext>
              </a:extLst>
            </p:cNvPr>
            <p:cNvGrpSpPr/>
            <p:nvPr/>
          </p:nvGrpSpPr>
          <p:grpSpPr>
            <a:xfrm>
              <a:off x="8070028" y="2698541"/>
              <a:ext cx="633857" cy="633857"/>
              <a:chOff x="2146048" y="1729008"/>
              <a:chExt cx="761852" cy="761852"/>
            </a:xfrm>
          </p:grpSpPr>
          <p:sp>
            <p:nvSpPr>
              <p:cNvPr id="104" name="Oval 103">
                <a:extLst>
                  <a:ext uri="{FF2B5EF4-FFF2-40B4-BE49-F238E27FC236}">
                    <a16:creationId xmlns:a16="http://schemas.microsoft.com/office/drawing/2014/main" id="{4F835B7E-8C00-4B75-856E-BF58A3D631AB}"/>
                  </a:ext>
                </a:extLst>
              </p:cNvPr>
              <p:cNvSpPr/>
              <p:nvPr/>
            </p:nvSpPr>
            <p:spPr bwMode="auto">
              <a:xfrm>
                <a:off x="2146048" y="1729008"/>
                <a:ext cx="761852" cy="761852"/>
              </a:xfrm>
              <a:prstGeom prst="ellipse">
                <a:avLst/>
              </a:prstGeom>
              <a:solidFill>
                <a:srgbClr val="E9E9E9"/>
              </a:solidFill>
              <a:ln w="15875" cap="flat" cmpd="sng" algn="ctr">
                <a:noFill/>
                <a:prstDash val="solid"/>
                <a:headEnd type="none" w="med" len="med"/>
                <a:tailEnd type="none" w="med" len="med"/>
              </a:ln>
              <a:effectLst/>
            </p:spPr>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105" name="Group 104">
                <a:extLst>
                  <a:ext uri="{FF2B5EF4-FFF2-40B4-BE49-F238E27FC236}">
                    <a16:creationId xmlns:a16="http://schemas.microsoft.com/office/drawing/2014/main" id="{876F35AC-CD9E-4719-9446-A01EFF88F3A8}"/>
                  </a:ext>
                </a:extLst>
              </p:cNvPr>
              <p:cNvGrpSpPr/>
              <p:nvPr/>
            </p:nvGrpSpPr>
            <p:grpSpPr>
              <a:xfrm>
                <a:off x="2374654" y="1987574"/>
                <a:ext cx="304639" cy="244720"/>
                <a:chOff x="3703676" y="2644877"/>
                <a:chExt cx="304683" cy="244755"/>
              </a:xfrm>
            </p:grpSpPr>
            <p:sp>
              <p:nvSpPr>
                <p:cNvPr id="106" name="Freeform 50">
                  <a:extLst>
                    <a:ext uri="{FF2B5EF4-FFF2-40B4-BE49-F238E27FC236}">
                      <a16:creationId xmlns:a16="http://schemas.microsoft.com/office/drawing/2014/main" id="{AFAF5554-C47F-47E6-B50E-C71223735249}"/>
                    </a:ext>
                  </a:extLst>
                </p:cNvPr>
                <p:cNvSpPr>
                  <a:spLocks/>
                </p:cNvSpPr>
                <p:nvPr/>
              </p:nvSpPr>
              <p:spPr bwMode="auto">
                <a:xfrm>
                  <a:off x="3703676" y="2644877"/>
                  <a:ext cx="125646" cy="147547"/>
                </a:xfrm>
                <a:custGeom>
                  <a:avLst/>
                  <a:gdLst>
                    <a:gd name="T0" fmla="*/ 0 w 433"/>
                    <a:gd name="T1" fmla="*/ 589 h 589"/>
                    <a:gd name="T2" fmla="*/ 227 w 433"/>
                    <a:gd name="T3" fmla="*/ 0 h 589"/>
                    <a:gd name="T4" fmla="*/ 433 w 433"/>
                    <a:gd name="T5" fmla="*/ 589 h 589"/>
                  </a:gdLst>
                  <a:ahLst/>
                  <a:cxnLst>
                    <a:cxn ang="0">
                      <a:pos x="T0" y="T1"/>
                    </a:cxn>
                    <a:cxn ang="0">
                      <a:pos x="T2" y="T3"/>
                    </a:cxn>
                    <a:cxn ang="0">
                      <a:pos x="T4" y="T5"/>
                    </a:cxn>
                  </a:cxnLst>
                  <a:rect l="0" t="0" r="r" b="b"/>
                  <a:pathLst>
                    <a:path w="433" h="589">
                      <a:moveTo>
                        <a:pt x="0" y="589"/>
                      </a:moveTo>
                      <a:lnTo>
                        <a:pt x="227" y="0"/>
                      </a:lnTo>
                      <a:lnTo>
                        <a:pt x="433" y="589"/>
                      </a:lnTo>
                    </a:path>
                  </a:pathLst>
                </a:custGeom>
                <a:noFill/>
                <a:ln w="1905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07" name="Line 51">
                  <a:extLst>
                    <a:ext uri="{FF2B5EF4-FFF2-40B4-BE49-F238E27FC236}">
                      <a16:creationId xmlns:a16="http://schemas.microsoft.com/office/drawing/2014/main" id="{9891BAC8-04B8-4DA0-AE19-7BF55DF5C5A7}"/>
                    </a:ext>
                  </a:extLst>
                </p:cNvPr>
                <p:cNvSpPr>
                  <a:spLocks noChangeShapeType="1"/>
                </p:cNvSpPr>
                <p:nvPr/>
              </p:nvSpPr>
              <p:spPr bwMode="auto">
                <a:xfrm>
                  <a:off x="3724859" y="2736130"/>
                  <a:ext cx="85311" cy="0"/>
                </a:xfrm>
                <a:prstGeom prst="line">
                  <a:avLst/>
                </a:prstGeom>
                <a:noFill/>
                <a:ln w="1905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08" name="Freeform 52">
                  <a:extLst>
                    <a:ext uri="{FF2B5EF4-FFF2-40B4-BE49-F238E27FC236}">
                      <a16:creationId xmlns:a16="http://schemas.microsoft.com/office/drawing/2014/main" id="{A1B9F13D-87AF-400E-AC99-060394F69DFD}"/>
                    </a:ext>
                  </a:extLst>
                </p:cNvPr>
                <p:cNvSpPr>
                  <a:spLocks/>
                </p:cNvSpPr>
                <p:nvPr/>
              </p:nvSpPr>
              <p:spPr bwMode="auto">
                <a:xfrm>
                  <a:off x="3848763" y="2778785"/>
                  <a:ext cx="159596" cy="110847"/>
                </a:xfrm>
                <a:custGeom>
                  <a:avLst/>
                  <a:gdLst>
                    <a:gd name="T0" fmla="*/ 122 w 165"/>
                    <a:gd name="T1" fmla="*/ 0 h 114"/>
                    <a:gd name="T2" fmla="*/ 54 w 165"/>
                    <a:gd name="T3" fmla="*/ 96 h 114"/>
                    <a:gd name="T4" fmla="*/ 44 w 165"/>
                    <a:gd name="T5" fmla="*/ 32 h 114"/>
                    <a:gd name="T6" fmla="*/ 161 w 165"/>
                    <a:gd name="T7" fmla="*/ 55 h 114"/>
                    <a:gd name="T8" fmla="*/ 96 w 165"/>
                    <a:gd name="T9" fmla="*/ 114 h 114"/>
                  </a:gdLst>
                  <a:ahLst/>
                  <a:cxnLst>
                    <a:cxn ang="0">
                      <a:pos x="T0" y="T1"/>
                    </a:cxn>
                    <a:cxn ang="0">
                      <a:pos x="T2" y="T3"/>
                    </a:cxn>
                    <a:cxn ang="0">
                      <a:pos x="T4" y="T5"/>
                    </a:cxn>
                    <a:cxn ang="0">
                      <a:pos x="T6" y="T7"/>
                    </a:cxn>
                    <a:cxn ang="0">
                      <a:pos x="T8" y="T9"/>
                    </a:cxn>
                  </a:cxnLst>
                  <a:rect l="0" t="0" r="r" b="b"/>
                  <a:pathLst>
                    <a:path w="165" h="114">
                      <a:moveTo>
                        <a:pt x="122" y="0"/>
                      </a:moveTo>
                      <a:cubicBezTo>
                        <a:pt x="122" y="0"/>
                        <a:pt x="121" y="82"/>
                        <a:pt x="54" y="96"/>
                      </a:cubicBezTo>
                      <a:cubicBezTo>
                        <a:pt x="0" y="108"/>
                        <a:pt x="3" y="51"/>
                        <a:pt x="44" y="32"/>
                      </a:cubicBezTo>
                      <a:cubicBezTo>
                        <a:pt x="87" y="12"/>
                        <a:pt x="158" y="21"/>
                        <a:pt x="161" y="55"/>
                      </a:cubicBezTo>
                      <a:cubicBezTo>
                        <a:pt x="165" y="96"/>
                        <a:pt x="125" y="113"/>
                        <a:pt x="96" y="114"/>
                      </a:cubicBezTo>
                    </a:path>
                  </a:pathLst>
                </a:custGeom>
                <a:noFill/>
                <a:ln w="1905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09" name="Freeform 53">
                  <a:extLst>
                    <a:ext uri="{FF2B5EF4-FFF2-40B4-BE49-F238E27FC236}">
                      <a16:creationId xmlns:a16="http://schemas.microsoft.com/office/drawing/2014/main" id="{6C210956-E5A0-4846-B5D9-36D371DE8869}"/>
                    </a:ext>
                  </a:extLst>
                </p:cNvPr>
                <p:cNvSpPr>
                  <a:spLocks/>
                </p:cNvSpPr>
                <p:nvPr/>
              </p:nvSpPr>
              <p:spPr bwMode="auto">
                <a:xfrm>
                  <a:off x="3903026" y="2707983"/>
                  <a:ext cx="20312" cy="155534"/>
                </a:xfrm>
                <a:custGeom>
                  <a:avLst/>
                  <a:gdLst>
                    <a:gd name="T0" fmla="*/ 12 w 21"/>
                    <a:gd name="T1" fmla="*/ 0 h 160"/>
                    <a:gd name="T2" fmla="*/ 21 w 21"/>
                    <a:gd name="T3" fmla="*/ 160 h 160"/>
                  </a:gdLst>
                  <a:ahLst/>
                  <a:cxnLst>
                    <a:cxn ang="0">
                      <a:pos x="T0" y="T1"/>
                    </a:cxn>
                    <a:cxn ang="0">
                      <a:pos x="T2" y="T3"/>
                    </a:cxn>
                  </a:cxnLst>
                  <a:rect l="0" t="0" r="r" b="b"/>
                  <a:pathLst>
                    <a:path w="21" h="160">
                      <a:moveTo>
                        <a:pt x="12" y="0"/>
                      </a:moveTo>
                      <a:cubicBezTo>
                        <a:pt x="12" y="0"/>
                        <a:pt x="0" y="126"/>
                        <a:pt x="21" y="160"/>
                      </a:cubicBezTo>
                    </a:path>
                  </a:pathLst>
                </a:custGeom>
                <a:noFill/>
                <a:ln w="1905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10" name="Freeform 54">
                  <a:extLst>
                    <a:ext uri="{FF2B5EF4-FFF2-40B4-BE49-F238E27FC236}">
                      <a16:creationId xmlns:a16="http://schemas.microsoft.com/office/drawing/2014/main" id="{6C03DADE-AE15-4380-A40F-E0B0AAADB89C}"/>
                    </a:ext>
                  </a:extLst>
                </p:cNvPr>
                <p:cNvSpPr>
                  <a:spLocks/>
                </p:cNvSpPr>
                <p:nvPr/>
              </p:nvSpPr>
              <p:spPr bwMode="auto">
                <a:xfrm>
                  <a:off x="3859500" y="2740192"/>
                  <a:ext cx="135221" cy="15379"/>
                </a:xfrm>
                <a:custGeom>
                  <a:avLst/>
                  <a:gdLst>
                    <a:gd name="T0" fmla="*/ 0 w 140"/>
                    <a:gd name="T1" fmla="*/ 7 h 16"/>
                    <a:gd name="T2" fmla="*/ 140 w 140"/>
                    <a:gd name="T3" fmla="*/ 0 h 16"/>
                  </a:gdLst>
                  <a:ahLst/>
                  <a:cxnLst>
                    <a:cxn ang="0">
                      <a:pos x="T0" y="T1"/>
                    </a:cxn>
                    <a:cxn ang="0">
                      <a:pos x="T2" y="T3"/>
                    </a:cxn>
                  </a:cxnLst>
                  <a:rect l="0" t="0" r="r" b="b"/>
                  <a:pathLst>
                    <a:path w="140" h="16">
                      <a:moveTo>
                        <a:pt x="0" y="7"/>
                      </a:moveTo>
                      <a:cubicBezTo>
                        <a:pt x="0" y="7"/>
                        <a:pt x="75" y="16"/>
                        <a:pt x="140" y="0"/>
                      </a:cubicBezTo>
                    </a:path>
                  </a:pathLst>
                </a:custGeom>
                <a:noFill/>
                <a:ln w="1905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grpSp>
        <p:sp>
          <p:nvSpPr>
            <p:cNvPr id="80" name="Oval 79">
              <a:extLst>
                <a:ext uri="{FF2B5EF4-FFF2-40B4-BE49-F238E27FC236}">
                  <a16:creationId xmlns:a16="http://schemas.microsoft.com/office/drawing/2014/main" id="{754072DB-68F6-4F98-9E11-EF7DA0B7E45D}"/>
                </a:ext>
              </a:extLst>
            </p:cNvPr>
            <p:cNvSpPr/>
            <p:nvPr/>
          </p:nvSpPr>
          <p:spPr bwMode="auto">
            <a:xfrm>
              <a:off x="8070028" y="1906228"/>
              <a:ext cx="633857" cy="633857"/>
            </a:xfrm>
            <a:prstGeom prst="ellipse">
              <a:avLst/>
            </a:prstGeom>
            <a:solidFill>
              <a:srgbClr val="E9E9E9"/>
            </a:solidFill>
            <a:ln w="15875" cap="flat" cmpd="sng" algn="ctr">
              <a:noFill/>
              <a:prstDash val="solid"/>
              <a:headEnd type="none" w="med" len="med"/>
              <a:tailEnd type="none" w="med" len="med"/>
            </a:ln>
            <a:effectLst/>
          </p:spPr>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86" name="Oval 85">
              <a:extLst>
                <a:ext uri="{FF2B5EF4-FFF2-40B4-BE49-F238E27FC236}">
                  <a16:creationId xmlns:a16="http://schemas.microsoft.com/office/drawing/2014/main" id="{ABA166FA-3A9C-4109-A951-289E65DA00BE}"/>
                </a:ext>
              </a:extLst>
            </p:cNvPr>
            <p:cNvSpPr/>
            <p:nvPr/>
          </p:nvSpPr>
          <p:spPr bwMode="auto">
            <a:xfrm>
              <a:off x="8070028" y="3576276"/>
              <a:ext cx="633857" cy="633857"/>
            </a:xfrm>
            <a:prstGeom prst="ellipse">
              <a:avLst/>
            </a:prstGeom>
            <a:solidFill>
              <a:srgbClr val="E9E9E9"/>
            </a:solidFill>
            <a:ln w="15875" cap="flat" cmpd="sng" algn="ctr">
              <a:noFill/>
              <a:prstDash val="solid"/>
              <a:headEnd type="none" w="med" len="med"/>
              <a:tailEnd type="none" w="med" len="med"/>
            </a:ln>
            <a:effectLst/>
          </p:spPr>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87" name="Group 86">
              <a:extLst>
                <a:ext uri="{FF2B5EF4-FFF2-40B4-BE49-F238E27FC236}">
                  <a16:creationId xmlns:a16="http://schemas.microsoft.com/office/drawing/2014/main" id="{A0BE3B46-6CC2-4913-908F-1DDB82CCFD92}"/>
                </a:ext>
              </a:extLst>
            </p:cNvPr>
            <p:cNvGrpSpPr/>
            <p:nvPr/>
          </p:nvGrpSpPr>
          <p:grpSpPr>
            <a:xfrm>
              <a:off x="8070028" y="1050937"/>
              <a:ext cx="633857" cy="633857"/>
              <a:chOff x="9249272" y="4646364"/>
              <a:chExt cx="761852" cy="761852"/>
            </a:xfrm>
          </p:grpSpPr>
          <p:sp>
            <p:nvSpPr>
              <p:cNvPr id="100" name="Oval 99">
                <a:extLst>
                  <a:ext uri="{FF2B5EF4-FFF2-40B4-BE49-F238E27FC236}">
                    <a16:creationId xmlns:a16="http://schemas.microsoft.com/office/drawing/2014/main" id="{5C248E81-1FB3-4CF6-812A-7D042513EDB6}"/>
                  </a:ext>
                </a:extLst>
              </p:cNvPr>
              <p:cNvSpPr/>
              <p:nvPr/>
            </p:nvSpPr>
            <p:spPr bwMode="auto">
              <a:xfrm>
                <a:off x="9249272" y="4646364"/>
                <a:ext cx="761852" cy="761852"/>
              </a:xfrm>
              <a:prstGeom prst="ellipse">
                <a:avLst/>
              </a:prstGeom>
              <a:solidFill>
                <a:srgbClr val="E9E9E9"/>
              </a:solidFill>
              <a:ln w="15875" cap="flat" cmpd="sng" algn="ctr">
                <a:noFill/>
                <a:prstDash val="solid"/>
                <a:headEnd type="none" w="med" len="med"/>
                <a:tailEnd type="none" w="med" len="med"/>
              </a:ln>
              <a:effectLst/>
            </p:spPr>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01" name="Freeform 24">
                <a:extLst>
                  <a:ext uri="{FF2B5EF4-FFF2-40B4-BE49-F238E27FC236}">
                    <a16:creationId xmlns:a16="http://schemas.microsoft.com/office/drawing/2014/main" id="{41A611D8-55CA-4572-9602-48D7D59C9BEC}"/>
                  </a:ext>
                </a:extLst>
              </p:cNvPr>
              <p:cNvSpPr>
                <a:spLocks/>
              </p:cNvSpPr>
              <p:nvPr/>
            </p:nvSpPr>
            <p:spPr bwMode="auto">
              <a:xfrm>
                <a:off x="9433376" y="4918051"/>
                <a:ext cx="393644" cy="218478"/>
              </a:xfrm>
              <a:custGeom>
                <a:avLst/>
                <a:gdLst>
                  <a:gd name="T0" fmla="*/ 346 w 346"/>
                  <a:gd name="T1" fmla="*/ 95 h 190"/>
                  <a:gd name="T2" fmla="*/ 173 w 346"/>
                  <a:gd name="T3" fmla="*/ 190 h 190"/>
                  <a:gd name="T4" fmla="*/ 3 w 346"/>
                  <a:gd name="T5" fmla="*/ 99 h 190"/>
                  <a:gd name="T6" fmla="*/ 0 w 346"/>
                  <a:gd name="T7" fmla="*/ 95 h 190"/>
                  <a:gd name="T8" fmla="*/ 5 w 346"/>
                  <a:gd name="T9" fmla="*/ 89 h 190"/>
                  <a:gd name="T10" fmla="*/ 173 w 346"/>
                  <a:gd name="T11" fmla="*/ 0 h 190"/>
                  <a:gd name="T12" fmla="*/ 346 w 346"/>
                  <a:gd name="T13" fmla="*/ 95 h 190"/>
                </a:gdLst>
                <a:ahLst/>
                <a:cxnLst>
                  <a:cxn ang="0">
                    <a:pos x="T0" y="T1"/>
                  </a:cxn>
                  <a:cxn ang="0">
                    <a:pos x="T2" y="T3"/>
                  </a:cxn>
                  <a:cxn ang="0">
                    <a:pos x="T4" y="T5"/>
                  </a:cxn>
                  <a:cxn ang="0">
                    <a:pos x="T6" y="T7"/>
                  </a:cxn>
                  <a:cxn ang="0">
                    <a:pos x="T8" y="T9"/>
                  </a:cxn>
                  <a:cxn ang="0">
                    <a:pos x="T10" y="T11"/>
                  </a:cxn>
                  <a:cxn ang="0">
                    <a:pos x="T12" y="T13"/>
                  </a:cxn>
                </a:cxnLst>
                <a:rect l="0" t="0" r="r" b="b"/>
                <a:pathLst>
                  <a:path w="346" h="190">
                    <a:moveTo>
                      <a:pt x="346" y="95"/>
                    </a:moveTo>
                    <a:cubicBezTo>
                      <a:pt x="346" y="95"/>
                      <a:pt x="283" y="190"/>
                      <a:pt x="173" y="190"/>
                    </a:cubicBezTo>
                    <a:cubicBezTo>
                      <a:pt x="77" y="190"/>
                      <a:pt x="17" y="117"/>
                      <a:pt x="3" y="99"/>
                    </a:cubicBezTo>
                    <a:cubicBezTo>
                      <a:pt x="1" y="96"/>
                      <a:pt x="0" y="95"/>
                      <a:pt x="0" y="95"/>
                    </a:cubicBezTo>
                    <a:cubicBezTo>
                      <a:pt x="0" y="95"/>
                      <a:pt x="2" y="93"/>
                      <a:pt x="5" y="89"/>
                    </a:cubicBezTo>
                    <a:cubicBezTo>
                      <a:pt x="21" y="67"/>
                      <a:pt x="80" y="0"/>
                      <a:pt x="173" y="0"/>
                    </a:cubicBezTo>
                    <a:cubicBezTo>
                      <a:pt x="283" y="0"/>
                      <a:pt x="346" y="95"/>
                      <a:pt x="346" y="95"/>
                    </a:cubicBezTo>
                    <a:close/>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2" name="Oval 25">
                <a:extLst>
                  <a:ext uri="{FF2B5EF4-FFF2-40B4-BE49-F238E27FC236}">
                    <a16:creationId xmlns:a16="http://schemas.microsoft.com/office/drawing/2014/main" id="{AF1ABCBB-AFE5-4547-B539-3A2B3B803C80}"/>
                  </a:ext>
                </a:extLst>
              </p:cNvPr>
              <p:cNvSpPr>
                <a:spLocks noChangeArrowheads="1"/>
              </p:cNvSpPr>
              <p:nvPr/>
            </p:nvSpPr>
            <p:spPr bwMode="auto">
              <a:xfrm>
                <a:off x="9532444" y="4933127"/>
                <a:ext cx="195506" cy="188326"/>
              </a:xfrm>
              <a:prstGeom prst="ellips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3" name="Oval 26">
                <a:extLst>
                  <a:ext uri="{FF2B5EF4-FFF2-40B4-BE49-F238E27FC236}">
                    <a16:creationId xmlns:a16="http://schemas.microsoft.com/office/drawing/2014/main" id="{D9E8C2CB-0471-4E63-AD55-4AC24E51A398}"/>
                  </a:ext>
                </a:extLst>
              </p:cNvPr>
              <p:cNvSpPr>
                <a:spLocks noChangeArrowheads="1"/>
              </p:cNvSpPr>
              <p:nvPr/>
            </p:nvSpPr>
            <p:spPr bwMode="auto">
              <a:xfrm>
                <a:off x="9608542" y="5006590"/>
                <a:ext cx="43313" cy="41398"/>
              </a:xfrm>
              <a:prstGeom prst="ellipse">
                <a:avLst/>
              </a:prstGeom>
              <a:solidFill>
                <a:srgbClr val="4DB0FF"/>
              </a:solidFill>
              <a:ln>
                <a:solidFill>
                  <a:srgbClr val="0078D7"/>
                </a:solid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88" name="Group 87">
              <a:extLst>
                <a:ext uri="{FF2B5EF4-FFF2-40B4-BE49-F238E27FC236}">
                  <a16:creationId xmlns:a16="http://schemas.microsoft.com/office/drawing/2014/main" id="{85D209A3-96A7-48BD-B290-894E1FEEBC56}"/>
                </a:ext>
              </a:extLst>
            </p:cNvPr>
            <p:cNvGrpSpPr/>
            <p:nvPr/>
          </p:nvGrpSpPr>
          <p:grpSpPr>
            <a:xfrm>
              <a:off x="8070028" y="5225032"/>
              <a:ext cx="633857" cy="633857"/>
              <a:chOff x="2040304" y="4646364"/>
              <a:chExt cx="761852" cy="761852"/>
            </a:xfrm>
          </p:grpSpPr>
          <p:sp>
            <p:nvSpPr>
              <p:cNvPr id="95" name="Oval 94">
                <a:extLst>
                  <a:ext uri="{FF2B5EF4-FFF2-40B4-BE49-F238E27FC236}">
                    <a16:creationId xmlns:a16="http://schemas.microsoft.com/office/drawing/2014/main" id="{7EDB911B-F326-4F2D-BA7A-7E0958653D5F}"/>
                  </a:ext>
                </a:extLst>
              </p:cNvPr>
              <p:cNvSpPr/>
              <p:nvPr/>
            </p:nvSpPr>
            <p:spPr bwMode="auto">
              <a:xfrm>
                <a:off x="2040304" y="4646364"/>
                <a:ext cx="761852" cy="761852"/>
              </a:xfrm>
              <a:prstGeom prst="ellipse">
                <a:avLst/>
              </a:prstGeom>
              <a:solidFill>
                <a:srgbClr val="E9E9E9"/>
              </a:solidFill>
              <a:ln w="15875" cap="flat" cmpd="sng" algn="ctr">
                <a:noFill/>
                <a:prstDash val="solid"/>
                <a:headEnd type="none" w="med" len="med"/>
                <a:tailEnd type="none" w="med" len="med"/>
              </a:ln>
              <a:effectLst/>
            </p:spPr>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96" name="Group 4">
                <a:extLst>
                  <a:ext uri="{FF2B5EF4-FFF2-40B4-BE49-F238E27FC236}">
                    <a16:creationId xmlns:a16="http://schemas.microsoft.com/office/drawing/2014/main" id="{11BBE377-E32E-41A6-A2EB-46F350556952}"/>
                  </a:ext>
                </a:extLst>
              </p:cNvPr>
              <p:cNvGrpSpPr>
                <a:grpSpLocks noChangeAspect="1"/>
              </p:cNvGrpSpPr>
              <p:nvPr/>
            </p:nvGrpSpPr>
            <p:grpSpPr bwMode="auto">
              <a:xfrm>
                <a:off x="2291073" y="4836817"/>
                <a:ext cx="260313" cy="380945"/>
                <a:chOff x="3526" y="3353"/>
                <a:chExt cx="164" cy="240"/>
              </a:xfrm>
            </p:grpSpPr>
            <p:sp>
              <p:nvSpPr>
                <p:cNvPr id="97" name="Freeform 5">
                  <a:extLst>
                    <a:ext uri="{FF2B5EF4-FFF2-40B4-BE49-F238E27FC236}">
                      <a16:creationId xmlns:a16="http://schemas.microsoft.com/office/drawing/2014/main" id="{1E8CC854-1A68-4500-A10F-C8EE3397379D}"/>
                    </a:ext>
                  </a:extLst>
                </p:cNvPr>
                <p:cNvSpPr>
                  <a:spLocks/>
                </p:cNvSpPr>
                <p:nvPr/>
              </p:nvSpPr>
              <p:spPr bwMode="auto">
                <a:xfrm>
                  <a:off x="3526" y="3353"/>
                  <a:ext cx="164" cy="215"/>
                </a:xfrm>
                <a:custGeom>
                  <a:avLst/>
                  <a:gdLst>
                    <a:gd name="T0" fmla="*/ 204 w 226"/>
                    <a:gd name="T1" fmla="*/ 289 h 296"/>
                    <a:gd name="T2" fmla="*/ 226 w 226"/>
                    <a:gd name="T3" fmla="*/ 296 h 296"/>
                    <a:gd name="T4" fmla="*/ 226 w 226"/>
                    <a:gd name="T5" fmla="*/ 55 h 296"/>
                    <a:gd name="T6" fmla="*/ 39 w 226"/>
                    <a:gd name="T7" fmla="*/ 0 h 296"/>
                    <a:gd name="T8" fmla="*/ 0 w 226"/>
                    <a:gd name="T9" fmla="*/ 34 h 296"/>
                  </a:gdLst>
                  <a:ahLst/>
                  <a:cxnLst>
                    <a:cxn ang="0">
                      <a:pos x="T0" y="T1"/>
                    </a:cxn>
                    <a:cxn ang="0">
                      <a:pos x="T2" y="T3"/>
                    </a:cxn>
                    <a:cxn ang="0">
                      <a:pos x="T4" y="T5"/>
                    </a:cxn>
                    <a:cxn ang="0">
                      <a:pos x="T6" y="T7"/>
                    </a:cxn>
                    <a:cxn ang="0">
                      <a:pos x="T8" y="T9"/>
                    </a:cxn>
                  </a:cxnLst>
                  <a:rect l="0" t="0" r="r" b="b"/>
                  <a:pathLst>
                    <a:path w="226" h="296">
                      <a:moveTo>
                        <a:pt x="204" y="289"/>
                      </a:moveTo>
                      <a:cubicBezTo>
                        <a:pt x="226" y="296"/>
                        <a:pt x="226" y="296"/>
                        <a:pt x="226" y="296"/>
                      </a:cubicBezTo>
                      <a:cubicBezTo>
                        <a:pt x="226" y="55"/>
                        <a:pt x="226" y="55"/>
                        <a:pt x="226" y="55"/>
                      </a:cubicBezTo>
                      <a:cubicBezTo>
                        <a:pt x="39" y="0"/>
                        <a:pt x="39" y="0"/>
                        <a:pt x="39" y="0"/>
                      </a:cubicBezTo>
                      <a:cubicBezTo>
                        <a:pt x="39" y="0"/>
                        <a:pt x="12" y="0"/>
                        <a:pt x="0" y="34"/>
                      </a:cubicBezTo>
                    </a:path>
                  </a:pathLst>
                </a:custGeom>
                <a:noFill/>
                <a:ln w="19050" cap="flat" cmpd="sng" algn="ctr">
                  <a:solidFill>
                    <a:srgbClr val="0078D7"/>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98" name="Freeform 6">
                  <a:extLst>
                    <a:ext uri="{FF2B5EF4-FFF2-40B4-BE49-F238E27FC236}">
                      <a16:creationId xmlns:a16="http://schemas.microsoft.com/office/drawing/2014/main" id="{9583A56A-6A54-44B1-9786-547486685179}"/>
                    </a:ext>
                  </a:extLst>
                </p:cNvPr>
                <p:cNvSpPr>
                  <a:spLocks/>
                </p:cNvSpPr>
                <p:nvPr/>
              </p:nvSpPr>
              <p:spPr bwMode="auto">
                <a:xfrm>
                  <a:off x="3554" y="3370"/>
                  <a:ext cx="120" cy="211"/>
                </a:xfrm>
                <a:custGeom>
                  <a:avLst/>
                  <a:gdLst>
                    <a:gd name="T0" fmla="*/ 0 w 120"/>
                    <a:gd name="T1" fmla="*/ 0 h 211"/>
                    <a:gd name="T2" fmla="*/ 120 w 120"/>
                    <a:gd name="T3" fmla="*/ 37 h 211"/>
                    <a:gd name="T4" fmla="*/ 120 w 120"/>
                    <a:gd name="T5" fmla="*/ 211 h 211"/>
                    <a:gd name="T6" fmla="*/ 104 w 120"/>
                    <a:gd name="T7" fmla="*/ 206 h 211"/>
                  </a:gdLst>
                  <a:ahLst/>
                  <a:cxnLst>
                    <a:cxn ang="0">
                      <a:pos x="T0" y="T1"/>
                    </a:cxn>
                    <a:cxn ang="0">
                      <a:pos x="T2" y="T3"/>
                    </a:cxn>
                    <a:cxn ang="0">
                      <a:pos x="T4" y="T5"/>
                    </a:cxn>
                    <a:cxn ang="0">
                      <a:pos x="T6" y="T7"/>
                    </a:cxn>
                  </a:cxnLst>
                  <a:rect l="0" t="0" r="r" b="b"/>
                  <a:pathLst>
                    <a:path w="120" h="211">
                      <a:moveTo>
                        <a:pt x="0" y="0"/>
                      </a:moveTo>
                      <a:lnTo>
                        <a:pt x="120" y="37"/>
                      </a:lnTo>
                      <a:lnTo>
                        <a:pt x="120" y="211"/>
                      </a:lnTo>
                      <a:lnTo>
                        <a:pt x="104" y="206"/>
                      </a:lnTo>
                    </a:path>
                  </a:pathLst>
                </a:custGeom>
                <a:noFill/>
                <a:ln w="19050" cap="flat" cmpd="sng" algn="ctr">
                  <a:solidFill>
                    <a:srgbClr val="0078D7"/>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99" name="Freeform 7">
                  <a:extLst>
                    <a:ext uri="{FF2B5EF4-FFF2-40B4-BE49-F238E27FC236}">
                      <a16:creationId xmlns:a16="http://schemas.microsoft.com/office/drawing/2014/main" id="{4E925278-B59B-4D96-8567-14F08C68BA98}"/>
                    </a:ext>
                  </a:extLst>
                </p:cNvPr>
                <p:cNvSpPr>
                  <a:spLocks/>
                </p:cNvSpPr>
                <p:nvPr/>
              </p:nvSpPr>
              <p:spPr bwMode="auto">
                <a:xfrm>
                  <a:off x="3527" y="3382"/>
                  <a:ext cx="131" cy="211"/>
                </a:xfrm>
                <a:custGeom>
                  <a:avLst/>
                  <a:gdLst>
                    <a:gd name="T0" fmla="*/ 131 w 131"/>
                    <a:gd name="T1" fmla="*/ 38 h 211"/>
                    <a:gd name="T2" fmla="*/ 131 w 131"/>
                    <a:gd name="T3" fmla="*/ 211 h 211"/>
                    <a:gd name="T4" fmla="*/ 0 w 131"/>
                    <a:gd name="T5" fmla="*/ 173 h 211"/>
                    <a:gd name="T6" fmla="*/ 0 w 131"/>
                    <a:gd name="T7" fmla="*/ 0 h 211"/>
                    <a:gd name="T8" fmla="*/ 131 w 131"/>
                    <a:gd name="T9" fmla="*/ 38 h 211"/>
                  </a:gdLst>
                  <a:ahLst/>
                  <a:cxnLst>
                    <a:cxn ang="0">
                      <a:pos x="T0" y="T1"/>
                    </a:cxn>
                    <a:cxn ang="0">
                      <a:pos x="T2" y="T3"/>
                    </a:cxn>
                    <a:cxn ang="0">
                      <a:pos x="T4" y="T5"/>
                    </a:cxn>
                    <a:cxn ang="0">
                      <a:pos x="T6" y="T7"/>
                    </a:cxn>
                    <a:cxn ang="0">
                      <a:pos x="T8" y="T9"/>
                    </a:cxn>
                  </a:cxnLst>
                  <a:rect l="0" t="0" r="r" b="b"/>
                  <a:pathLst>
                    <a:path w="131" h="211">
                      <a:moveTo>
                        <a:pt x="131" y="38"/>
                      </a:moveTo>
                      <a:lnTo>
                        <a:pt x="131" y="211"/>
                      </a:lnTo>
                      <a:lnTo>
                        <a:pt x="0" y="173"/>
                      </a:lnTo>
                      <a:lnTo>
                        <a:pt x="0" y="0"/>
                      </a:lnTo>
                      <a:lnTo>
                        <a:pt x="131" y="38"/>
                      </a:lnTo>
                      <a:close/>
                    </a:path>
                  </a:pathLst>
                </a:custGeom>
                <a:noFill/>
                <a:ln w="19050" cap="flat" cmpd="sng" algn="ctr">
                  <a:solidFill>
                    <a:srgbClr val="0078D7"/>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grpSp>
        <p:grpSp>
          <p:nvGrpSpPr>
            <p:cNvPr id="89" name="Group 88">
              <a:extLst>
                <a:ext uri="{FF2B5EF4-FFF2-40B4-BE49-F238E27FC236}">
                  <a16:creationId xmlns:a16="http://schemas.microsoft.com/office/drawing/2014/main" id="{CFA8036E-B335-4B96-AB38-DDA35FB85365}"/>
                </a:ext>
              </a:extLst>
            </p:cNvPr>
            <p:cNvGrpSpPr/>
            <p:nvPr/>
          </p:nvGrpSpPr>
          <p:grpSpPr>
            <a:xfrm>
              <a:off x="8070028" y="4390008"/>
              <a:ext cx="633857" cy="633857"/>
              <a:chOff x="5837312" y="5653933"/>
              <a:chExt cx="761852" cy="761852"/>
            </a:xfrm>
          </p:grpSpPr>
          <p:sp>
            <p:nvSpPr>
              <p:cNvPr id="92" name="Oval 91">
                <a:extLst>
                  <a:ext uri="{FF2B5EF4-FFF2-40B4-BE49-F238E27FC236}">
                    <a16:creationId xmlns:a16="http://schemas.microsoft.com/office/drawing/2014/main" id="{31FA9DD2-1B6C-40FA-B66C-DBDDC569C2BB}"/>
                  </a:ext>
                </a:extLst>
              </p:cNvPr>
              <p:cNvSpPr/>
              <p:nvPr/>
            </p:nvSpPr>
            <p:spPr bwMode="auto">
              <a:xfrm>
                <a:off x="5837312" y="5653933"/>
                <a:ext cx="761852" cy="761852"/>
              </a:xfrm>
              <a:prstGeom prst="ellipse">
                <a:avLst/>
              </a:prstGeom>
              <a:solidFill>
                <a:srgbClr val="E9E9E9"/>
              </a:solidFill>
              <a:ln w="15875" cap="flat" cmpd="sng" algn="ctr">
                <a:noFill/>
                <a:prstDash val="solid"/>
                <a:headEnd type="none" w="med" len="med"/>
                <a:tailEnd type="none" w="med" len="med"/>
              </a:ln>
              <a:effectLst/>
            </p:spPr>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93" name="Oval 92">
                <a:extLst>
                  <a:ext uri="{FF2B5EF4-FFF2-40B4-BE49-F238E27FC236}">
                    <a16:creationId xmlns:a16="http://schemas.microsoft.com/office/drawing/2014/main" id="{70417068-92CB-444C-ABCF-24349E13C6BD}"/>
                  </a:ext>
                </a:extLst>
              </p:cNvPr>
              <p:cNvSpPr/>
              <p:nvPr/>
            </p:nvSpPr>
            <p:spPr bwMode="auto">
              <a:xfrm>
                <a:off x="6072456" y="5889277"/>
                <a:ext cx="185879" cy="185879"/>
              </a:xfrm>
              <a:prstGeom prst="ellipse">
                <a:avLst/>
              </a:prstGeom>
              <a:noFill/>
              <a:ln w="19050" cap="flat" cmpd="sng" algn="ctr">
                <a:solidFill>
                  <a:srgbClr val="0078D7"/>
                </a:solid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cxnSp>
            <p:nvCxnSpPr>
              <p:cNvPr id="94" name="Straight Connector 93">
                <a:extLst>
                  <a:ext uri="{FF2B5EF4-FFF2-40B4-BE49-F238E27FC236}">
                    <a16:creationId xmlns:a16="http://schemas.microsoft.com/office/drawing/2014/main" id="{9308E743-2FCD-4034-A4A7-E72466DC48AD}"/>
                  </a:ext>
                </a:extLst>
              </p:cNvPr>
              <p:cNvCxnSpPr/>
              <p:nvPr/>
            </p:nvCxnSpPr>
            <p:spPr>
              <a:xfrm>
                <a:off x="6230397" y="6046818"/>
                <a:ext cx="133623" cy="133623"/>
              </a:xfrm>
              <a:prstGeom prst="line">
                <a:avLst/>
              </a:prstGeom>
              <a:solidFill>
                <a:srgbClr val="F8F8F8"/>
              </a:solidFill>
              <a:ln w="19050" cap="flat" cmpd="sng" algn="ctr">
                <a:solidFill>
                  <a:srgbClr val="0078D7"/>
                </a:solidFill>
                <a:prstDash val="solid"/>
                <a:headEnd type="none" w="med" len="med"/>
                <a:tailEnd type="none" w="med" len="med"/>
              </a:ln>
              <a:effectLst/>
            </p:spPr>
          </p:cxnSp>
        </p:grpSp>
        <p:sp>
          <p:nvSpPr>
            <p:cNvPr id="90" name="speech_5" title="Icon of two overlapping chat bubbles">
              <a:extLst>
                <a:ext uri="{FF2B5EF4-FFF2-40B4-BE49-F238E27FC236}">
                  <a16:creationId xmlns:a16="http://schemas.microsoft.com/office/drawing/2014/main" id="{BA86DB76-4D6D-447B-94AC-F620296D7760}"/>
                </a:ext>
              </a:extLst>
            </p:cNvPr>
            <p:cNvSpPr>
              <a:spLocks noChangeAspect="1" noEditPoints="1"/>
            </p:cNvSpPr>
            <p:nvPr/>
          </p:nvSpPr>
          <p:spPr bwMode="auto">
            <a:xfrm>
              <a:off x="8178822" y="3749212"/>
              <a:ext cx="404198" cy="316039"/>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58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 name="people_23" title="Icon of a person with a chat bubble above them">
              <a:extLst>
                <a:ext uri="{FF2B5EF4-FFF2-40B4-BE49-F238E27FC236}">
                  <a16:creationId xmlns:a16="http://schemas.microsoft.com/office/drawing/2014/main" id="{A7889840-F4BE-49FB-94F2-6E001968C213}"/>
                </a:ext>
              </a:extLst>
            </p:cNvPr>
            <p:cNvSpPr>
              <a:spLocks noChangeAspect="1" noEditPoints="1"/>
            </p:cNvSpPr>
            <p:nvPr/>
          </p:nvSpPr>
          <p:spPr bwMode="auto">
            <a:xfrm>
              <a:off x="8208650" y="2045512"/>
              <a:ext cx="362405" cy="358570"/>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158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12640298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FC0DB0-97B7-4C83-926F-16909150C47D}"/>
              </a:ext>
            </a:extLst>
          </p:cNvPr>
          <p:cNvSpPr>
            <a:spLocks noGrp="1"/>
          </p:cNvSpPr>
          <p:nvPr>
            <p:ph type="title"/>
          </p:nvPr>
        </p:nvSpPr>
        <p:spPr/>
        <p:txBody>
          <a:bodyPr/>
          <a:lstStyle/>
          <a:p>
            <a:r>
              <a:rPr lang="en-US" dirty="0"/>
              <a:t>Cognitive Search Architecture</a:t>
            </a:r>
          </a:p>
        </p:txBody>
      </p:sp>
      <p:sp>
        <p:nvSpPr>
          <p:cNvPr id="135" name="Arrow: Pentagon 134">
            <a:extLst>
              <a:ext uri="{FF2B5EF4-FFF2-40B4-BE49-F238E27FC236}">
                <a16:creationId xmlns:a16="http://schemas.microsoft.com/office/drawing/2014/main" id="{440A2E41-E241-486B-9619-BD7CADEE51D9}"/>
              </a:ext>
            </a:extLst>
          </p:cNvPr>
          <p:cNvSpPr/>
          <p:nvPr/>
        </p:nvSpPr>
        <p:spPr bwMode="auto">
          <a:xfrm>
            <a:off x="3549317" y="2566161"/>
            <a:ext cx="3824620" cy="1120531"/>
          </a:xfrm>
          <a:prstGeom prst="homePlat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Skillset: </a:t>
            </a:r>
          </a:p>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Extensible enrichment</a:t>
            </a:r>
          </a:p>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pipeline</a:t>
            </a:r>
          </a:p>
        </p:txBody>
      </p:sp>
      <p:sp>
        <p:nvSpPr>
          <p:cNvPr id="136" name="Cylinder 135">
            <a:extLst>
              <a:ext uri="{FF2B5EF4-FFF2-40B4-BE49-F238E27FC236}">
                <a16:creationId xmlns:a16="http://schemas.microsoft.com/office/drawing/2014/main" id="{0C1162C9-C690-4B74-B53A-C1460424BD88}"/>
              </a:ext>
            </a:extLst>
          </p:cNvPr>
          <p:cNvSpPr/>
          <p:nvPr/>
        </p:nvSpPr>
        <p:spPr bwMode="auto">
          <a:xfrm>
            <a:off x="514042" y="3308931"/>
            <a:ext cx="896425" cy="373510"/>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7" name="Picture 136">
            <a:extLst>
              <a:ext uri="{FF2B5EF4-FFF2-40B4-BE49-F238E27FC236}">
                <a16:creationId xmlns:a16="http://schemas.microsoft.com/office/drawing/2014/main" id="{E6B22997-DB65-46FB-AFA5-F7B29092C51C}"/>
              </a:ext>
            </a:extLst>
          </p:cNvPr>
          <p:cNvPicPr>
            <a:picLocks noChangeAspect="1"/>
          </p:cNvPicPr>
          <p:nvPr/>
        </p:nvPicPr>
        <p:blipFill>
          <a:blip r:embed="rId3"/>
          <a:stretch>
            <a:fillRect/>
          </a:stretch>
        </p:blipFill>
        <p:spPr>
          <a:xfrm>
            <a:off x="7963553" y="2566161"/>
            <a:ext cx="1051046" cy="939462"/>
          </a:xfrm>
          <a:prstGeom prst="rect">
            <a:avLst/>
          </a:prstGeom>
        </p:spPr>
      </p:pic>
      <p:sp>
        <p:nvSpPr>
          <p:cNvPr id="138" name="Arrow: Pentagon 137">
            <a:extLst>
              <a:ext uri="{FF2B5EF4-FFF2-40B4-BE49-F238E27FC236}">
                <a16:creationId xmlns:a16="http://schemas.microsoft.com/office/drawing/2014/main" id="{0E48AB0F-621F-4E44-B9FD-0DF28B32889F}"/>
              </a:ext>
            </a:extLst>
          </p:cNvPr>
          <p:cNvSpPr/>
          <p:nvPr/>
        </p:nvSpPr>
        <p:spPr bwMode="auto">
          <a:xfrm>
            <a:off x="9134205" y="2566161"/>
            <a:ext cx="1570114" cy="1120531"/>
          </a:xfrm>
          <a:prstGeom prst="homePlate">
            <a:avLst/>
          </a:prstGeom>
          <a:solidFill>
            <a:srgbClr val="004B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dexing for Search</a:t>
            </a:r>
          </a:p>
        </p:txBody>
      </p:sp>
      <p:sp>
        <p:nvSpPr>
          <p:cNvPr id="139" name="Cylinder 138">
            <a:extLst>
              <a:ext uri="{FF2B5EF4-FFF2-40B4-BE49-F238E27FC236}">
                <a16:creationId xmlns:a16="http://schemas.microsoft.com/office/drawing/2014/main" id="{C225E152-7F9A-4F15-B567-42E01FD10467}"/>
              </a:ext>
            </a:extLst>
          </p:cNvPr>
          <p:cNvSpPr/>
          <p:nvPr/>
        </p:nvSpPr>
        <p:spPr bwMode="auto">
          <a:xfrm>
            <a:off x="514042" y="3004719"/>
            <a:ext cx="896425" cy="373510"/>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Arrow: Pentagon 139">
            <a:extLst>
              <a:ext uri="{FF2B5EF4-FFF2-40B4-BE49-F238E27FC236}">
                <a16:creationId xmlns:a16="http://schemas.microsoft.com/office/drawing/2014/main" id="{BBE8B544-5DD7-4051-8FE2-89A2A2DC923A}"/>
              </a:ext>
            </a:extLst>
          </p:cNvPr>
          <p:cNvSpPr/>
          <p:nvPr/>
        </p:nvSpPr>
        <p:spPr bwMode="auto">
          <a:xfrm>
            <a:off x="1688579" y="2566161"/>
            <a:ext cx="2539870" cy="1120531"/>
          </a:xfrm>
          <a:prstGeom prst="homePlate">
            <a:avLst/>
          </a:prstGeom>
          <a:solidFill>
            <a:srgbClr val="004B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ocument Cracking</a:t>
            </a:r>
          </a:p>
        </p:txBody>
      </p:sp>
      <p:sp>
        <p:nvSpPr>
          <p:cNvPr id="141" name="Text Placeholder 1">
            <a:extLst>
              <a:ext uri="{FF2B5EF4-FFF2-40B4-BE49-F238E27FC236}">
                <a16:creationId xmlns:a16="http://schemas.microsoft.com/office/drawing/2014/main" id="{E2F214B0-6513-4852-8F62-EA22A2D977D3}"/>
              </a:ext>
            </a:extLst>
          </p:cNvPr>
          <p:cNvSpPr txBox="1">
            <a:spLocks/>
          </p:cNvSpPr>
          <p:nvPr/>
        </p:nvSpPr>
        <p:spPr>
          <a:xfrm>
            <a:off x="7007423" y="3731885"/>
            <a:ext cx="2205721" cy="755166"/>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765" b="0" i="0" u="none" strike="noStrike" kern="1200" cap="none" spc="0" normalizeH="0" baseline="0" noProof="0" dirty="0">
                <a:ln>
                  <a:noFill/>
                </a:ln>
                <a:solidFill>
                  <a:srgbClr val="000000"/>
                </a:solidFill>
                <a:effectLst/>
                <a:uLnTx/>
                <a:uFillTx/>
                <a:latin typeface="Segoe UI Semibold"/>
                <a:ea typeface="+mn-ea"/>
                <a:cs typeface="Segoe UI Semibold" panose="020B0702040204020203" pitchFamily="34" charset="0"/>
              </a:rPr>
              <a:t>Annotated</a:t>
            </a:r>
            <a:br>
              <a:rPr kumimoji="0" lang="en-US" sz="1765" b="0" i="0" u="none" strike="noStrike" kern="1200" cap="none" spc="0" normalizeH="0" baseline="0" noProof="0" dirty="0">
                <a:ln>
                  <a:noFill/>
                </a:ln>
                <a:solidFill>
                  <a:srgbClr val="000000"/>
                </a:solidFill>
                <a:effectLst/>
                <a:uLnTx/>
                <a:uFillTx/>
                <a:latin typeface="Segoe UI Semibold"/>
                <a:ea typeface="+mn-ea"/>
                <a:cs typeface="Segoe UI Semibold" panose="020B0702040204020203" pitchFamily="34" charset="0"/>
              </a:rPr>
            </a:br>
            <a:r>
              <a:rPr kumimoji="0" lang="en-US" sz="1765" b="0" i="0" u="none" strike="noStrike" kern="1200" cap="none" spc="0" normalizeH="0" baseline="0" noProof="0" dirty="0">
                <a:ln>
                  <a:noFill/>
                </a:ln>
                <a:solidFill>
                  <a:srgbClr val="000000"/>
                </a:solidFill>
                <a:effectLst/>
                <a:uLnTx/>
                <a:uFillTx/>
                <a:latin typeface="Segoe UI Semibold"/>
                <a:ea typeface="+mn-ea"/>
                <a:cs typeface="Segoe UI Semibold" panose="020B0702040204020203" pitchFamily="34" charset="0"/>
              </a:rPr>
              <a:t>Documents</a:t>
            </a:r>
          </a:p>
        </p:txBody>
      </p:sp>
      <p:pic>
        <p:nvPicPr>
          <p:cNvPr id="142" name="Picture 141">
            <a:extLst>
              <a:ext uri="{FF2B5EF4-FFF2-40B4-BE49-F238E27FC236}">
                <a16:creationId xmlns:a16="http://schemas.microsoft.com/office/drawing/2014/main" id="{F2786B36-7B83-4B3D-A9F9-F982A13E1A25}"/>
              </a:ext>
            </a:extLst>
          </p:cNvPr>
          <p:cNvPicPr>
            <a:picLocks noChangeAspect="1"/>
          </p:cNvPicPr>
          <p:nvPr/>
        </p:nvPicPr>
        <p:blipFill>
          <a:blip r:embed="rId3"/>
          <a:stretch>
            <a:fillRect/>
          </a:stretch>
        </p:blipFill>
        <p:spPr>
          <a:xfrm>
            <a:off x="7730701" y="2672528"/>
            <a:ext cx="1051046" cy="939462"/>
          </a:xfrm>
          <a:prstGeom prst="rect">
            <a:avLst/>
          </a:prstGeom>
        </p:spPr>
      </p:pic>
      <p:pic>
        <p:nvPicPr>
          <p:cNvPr id="143" name="Picture 142">
            <a:extLst>
              <a:ext uri="{FF2B5EF4-FFF2-40B4-BE49-F238E27FC236}">
                <a16:creationId xmlns:a16="http://schemas.microsoft.com/office/drawing/2014/main" id="{1BCA83A3-105E-4CBD-9AC0-E90F601DEC18}"/>
              </a:ext>
            </a:extLst>
          </p:cNvPr>
          <p:cNvPicPr>
            <a:picLocks noChangeAspect="1"/>
          </p:cNvPicPr>
          <p:nvPr/>
        </p:nvPicPr>
        <p:blipFill>
          <a:blip r:embed="rId3"/>
          <a:stretch>
            <a:fillRect/>
          </a:stretch>
        </p:blipFill>
        <p:spPr>
          <a:xfrm>
            <a:off x="7485796" y="2784299"/>
            <a:ext cx="1051046" cy="939462"/>
          </a:xfrm>
          <a:prstGeom prst="rect">
            <a:avLst/>
          </a:prstGeom>
        </p:spPr>
      </p:pic>
      <p:sp>
        <p:nvSpPr>
          <p:cNvPr id="144" name="Text Placeholder 1">
            <a:extLst>
              <a:ext uri="{FF2B5EF4-FFF2-40B4-BE49-F238E27FC236}">
                <a16:creationId xmlns:a16="http://schemas.microsoft.com/office/drawing/2014/main" id="{C0CF0C27-BD2E-497A-A2BA-2CCFF2239360}"/>
              </a:ext>
            </a:extLst>
          </p:cNvPr>
          <p:cNvSpPr txBox="1">
            <a:spLocks/>
          </p:cNvSpPr>
          <p:nvPr/>
        </p:nvSpPr>
        <p:spPr>
          <a:xfrm>
            <a:off x="194536" y="3761395"/>
            <a:ext cx="1419340" cy="755166"/>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765" b="0" i="0" u="none" strike="noStrike" kern="1200" cap="none" spc="0" normalizeH="0" baseline="0" noProof="0" dirty="0">
                <a:ln>
                  <a:noFill/>
                </a:ln>
                <a:solidFill>
                  <a:srgbClr val="000000"/>
                </a:solidFill>
                <a:effectLst/>
                <a:uLnTx/>
                <a:uFillTx/>
                <a:latin typeface="Segoe UI Semibold"/>
                <a:ea typeface="+mn-ea"/>
                <a:cs typeface="Segoe UI Semibold" panose="020B0702040204020203" pitchFamily="34" charset="0"/>
              </a:rPr>
              <a:t>Customer</a:t>
            </a:r>
            <a:br>
              <a:rPr kumimoji="0" lang="en-US" sz="1765" b="0" i="0" u="none" strike="noStrike" kern="1200" cap="none" spc="0" normalizeH="0" baseline="0" noProof="0" dirty="0">
                <a:ln>
                  <a:noFill/>
                </a:ln>
                <a:solidFill>
                  <a:srgbClr val="000000"/>
                </a:solidFill>
                <a:effectLst/>
                <a:uLnTx/>
                <a:uFillTx/>
                <a:latin typeface="Segoe UI Semibold"/>
                <a:ea typeface="+mn-ea"/>
                <a:cs typeface="Segoe UI Semibold" panose="020B0702040204020203" pitchFamily="34" charset="0"/>
              </a:rPr>
            </a:br>
            <a:r>
              <a:rPr kumimoji="0" lang="en-US" sz="1765" b="0" i="0" u="none" strike="noStrike" kern="1200" cap="none" spc="0" normalizeH="0" baseline="0" noProof="0" dirty="0">
                <a:ln>
                  <a:noFill/>
                </a:ln>
                <a:solidFill>
                  <a:srgbClr val="000000"/>
                </a:solidFill>
                <a:effectLst/>
                <a:uLnTx/>
                <a:uFillTx/>
                <a:latin typeface="Segoe UI Semibold"/>
                <a:ea typeface="+mn-ea"/>
                <a:cs typeface="Segoe UI Semibold" panose="020B0702040204020203" pitchFamily="34" charset="0"/>
              </a:rPr>
              <a:t>Data</a:t>
            </a:r>
          </a:p>
        </p:txBody>
      </p:sp>
      <p:sp>
        <p:nvSpPr>
          <p:cNvPr id="145" name="Cylinder 144">
            <a:extLst>
              <a:ext uri="{FF2B5EF4-FFF2-40B4-BE49-F238E27FC236}">
                <a16:creationId xmlns:a16="http://schemas.microsoft.com/office/drawing/2014/main" id="{B46C3594-C8CF-4311-B4A4-1A87E9F0A0D6}"/>
              </a:ext>
            </a:extLst>
          </p:cNvPr>
          <p:cNvSpPr/>
          <p:nvPr/>
        </p:nvSpPr>
        <p:spPr bwMode="auto">
          <a:xfrm>
            <a:off x="511453" y="2697735"/>
            <a:ext cx="896425" cy="373510"/>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Text Placeholder 1">
            <a:extLst>
              <a:ext uri="{FF2B5EF4-FFF2-40B4-BE49-F238E27FC236}">
                <a16:creationId xmlns:a16="http://schemas.microsoft.com/office/drawing/2014/main" id="{CFD334DF-3CCA-4636-AF26-A0C83F42434E}"/>
              </a:ext>
            </a:extLst>
          </p:cNvPr>
          <p:cNvSpPr txBox="1">
            <a:spLocks/>
          </p:cNvSpPr>
          <p:nvPr/>
        </p:nvSpPr>
        <p:spPr>
          <a:xfrm>
            <a:off x="2481377" y="4434538"/>
            <a:ext cx="2856173" cy="2172304"/>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765" b="0" i="0" u="none" strike="noStrike" kern="1200" cap="none" spc="0" normalizeH="0" baseline="0" noProof="0" dirty="0">
                <a:ln>
                  <a:noFill/>
                </a:ln>
                <a:solidFill>
                  <a:srgbClr val="000000"/>
                </a:solidFill>
                <a:effectLst/>
                <a:uLnTx/>
                <a:uFillTx/>
                <a:latin typeface="Segoe UI Semibold"/>
                <a:ea typeface="+mn-ea"/>
                <a:cs typeface="Segoe UI Semibold" panose="020B0702040204020203" pitchFamily="34" charset="0"/>
              </a:rPr>
              <a:t>Built-in Cognitive Skills</a:t>
            </a:r>
            <a:br>
              <a:rPr kumimoji="0" lang="en-US" sz="1765" b="0" i="0" u="none" strike="noStrike" kern="1200" cap="none" spc="0" normalizeH="0" baseline="0" noProof="0" dirty="0">
                <a:ln>
                  <a:noFill/>
                </a:ln>
                <a:solidFill>
                  <a:srgbClr val="000000"/>
                </a:solidFill>
                <a:effectLst/>
                <a:uLnTx/>
                <a:uFillTx/>
                <a:latin typeface="Segoe UI Semibold"/>
                <a:ea typeface="+mn-ea"/>
                <a:cs typeface="Segoe UI Semibold" panose="020B0702040204020203" pitchFamily="34" charset="0"/>
              </a:rPr>
            </a:br>
            <a:r>
              <a:rPr kumimoji="0" lang="en-US" sz="1372" b="0"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rPr>
              <a:t>OCR,</a:t>
            </a:r>
            <a:br>
              <a:rPr kumimoji="0" lang="en-US" sz="1372" b="0"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rPr>
            </a:br>
            <a:r>
              <a:rPr kumimoji="0" lang="en-US" sz="1372" b="0"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rPr>
              <a:t>Key Phrase Extraction,</a:t>
            </a:r>
            <a:br>
              <a:rPr kumimoji="0" lang="en-US" sz="1372" b="0"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rPr>
            </a:br>
            <a:r>
              <a:rPr kumimoji="0" lang="en-US" sz="1372" b="0"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rPr>
              <a:t>People Names,</a:t>
            </a:r>
            <a:br>
              <a:rPr kumimoji="0" lang="en-US" sz="1372" b="0"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rPr>
            </a:br>
            <a:r>
              <a:rPr kumimoji="0" lang="en-US" sz="1372" b="0"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rPr>
              <a:t>Company Names, </a:t>
            </a:r>
          </a:p>
          <a:p>
            <a:pPr marL="0" marR="0" lvl="0" indent="0" algn="l"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rPr>
              <a:t>Sentiment Analyzer, </a:t>
            </a:r>
            <a:br>
              <a:rPr kumimoji="0" lang="en-US" sz="1372" b="0"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rPr>
            </a:br>
            <a:r>
              <a:rPr kumimoji="0" lang="en-US" sz="1372" b="0"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rPr>
              <a:t>Computer Vision,</a:t>
            </a:r>
          </a:p>
          <a:p>
            <a:pPr marL="0" marR="0" lvl="0" indent="0" algn="l"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rPr>
              <a:t>etc.</a:t>
            </a:r>
          </a:p>
        </p:txBody>
      </p:sp>
      <p:grpSp>
        <p:nvGrpSpPr>
          <p:cNvPr id="147" name="Group 146">
            <a:extLst>
              <a:ext uri="{FF2B5EF4-FFF2-40B4-BE49-F238E27FC236}">
                <a16:creationId xmlns:a16="http://schemas.microsoft.com/office/drawing/2014/main" id="{6BFF6325-2A8C-4E18-BDBC-FA28D1F6ECF7}"/>
              </a:ext>
            </a:extLst>
          </p:cNvPr>
          <p:cNvGrpSpPr/>
          <p:nvPr/>
        </p:nvGrpSpPr>
        <p:grpSpPr>
          <a:xfrm>
            <a:off x="4695144" y="1323520"/>
            <a:ext cx="1911810" cy="1074408"/>
            <a:chOff x="4238413" y="1170179"/>
            <a:chExt cx="1950146" cy="1095952"/>
          </a:xfrm>
        </p:grpSpPr>
        <p:grpSp>
          <p:nvGrpSpPr>
            <p:cNvPr id="148" name="Group 147">
              <a:extLst>
                <a:ext uri="{FF2B5EF4-FFF2-40B4-BE49-F238E27FC236}">
                  <a16:creationId xmlns:a16="http://schemas.microsoft.com/office/drawing/2014/main" id="{BA7173E6-FFCF-4FE7-87B8-141F19DCFF2B}"/>
                </a:ext>
              </a:extLst>
            </p:cNvPr>
            <p:cNvGrpSpPr/>
            <p:nvPr/>
          </p:nvGrpSpPr>
          <p:grpSpPr>
            <a:xfrm>
              <a:off x="4512159" y="1170179"/>
              <a:ext cx="1676400" cy="890539"/>
              <a:chOff x="4160837" y="1350919"/>
              <a:chExt cx="1676400" cy="890539"/>
            </a:xfrm>
            <a:solidFill>
              <a:srgbClr val="004B50">
                <a:alpha val="62000"/>
              </a:srgbClr>
            </a:solidFill>
          </p:grpSpPr>
          <p:sp>
            <p:nvSpPr>
              <p:cNvPr id="157" name="Rectangle: Rounded Corners 156">
                <a:extLst>
                  <a:ext uri="{FF2B5EF4-FFF2-40B4-BE49-F238E27FC236}">
                    <a16:creationId xmlns:a16="http://schemas.microsoft.com/office/drawing/2014/main" id="{2E485719-A8FD-4CC2-AF67-CF95EE67C2F8}"/>
                  </a:ext>
                </a:extLst>
              </p:cNvPr>
              <p:cNvSpPr/>
              <p:nvPr/>
            </p:nvSpPr>
            <p:spPr bwMode="auto">
              <a:xfrm>
                <a:off x="4160837" y="1350919"/>
                <a:ext cx="1676400" cy="609601"/>
              </a:xfrm>
              <a:prstGeom prst="roundRect">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Enricher</a:t>
                </a:r>
                <a:endPar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8" name="Oval 157">
                <a:extLst>
                  <a:ext uri="{FF2B5EF4-FFF2-40B4-BE49-F238E27FC236}">
                    <a16:creationId xmlns:a16="http://schemas.microsoft.com/office/drawing/2014/main" id="{27537652-2C23-4794-93CB-063B21AC2F91}"/>
                  </a:ext>
                </a:extLst>
              </p:cNvPr>
              <p:cNvSpPr/>
              <p:nvPr/>
            </p:nvSpPr>
            <p:spPr bwMode="auto">
              <a:xfrm>
                <a:off x="4922837" y="2090463"/>
                <a:ext cx="152400" cy="150995"/>
              </a:xfrm>
              <a:prstGeom prst="ellipse">
                <a:avLst/>
              </a:prstGeom>
              <a:noFill/>
              <a:ln w="28575" cap="flat" cmpd="sng" algn="ctr">
                <a:solidFill>
                  <a:srgbClr val="004B5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9" name="Straight Connector 158">
                <a:extLst>
                  <a:ext uri="{FF2B5EF4-FFF2-40B4-BE49-F238E27FC236}">
                    <a16:creationId xmlns:a16="http://schemas.microsoft.com/office/drawing/2014/main" id="{F0609E7A-0EAF-4824-B1EF-D88A3BCF6BF0}"/>
                  </a:ext>
                </a:extLst>
              </p:cNvPr>
              <p:cNvCxnSpPr>
                <a:cxnSpLocks/>
                <a:stCxn id="158" idx="0"/>
                <a:endCxn id="157" idx="2"/>
              </p:cNvCxnSpPr>
              <p:nvPr/>
            </p:nvCxnSpPr>
            <p:spPr>
              <a:xfrm flipV="1">
                <a:off x="4999037" y="1960520"/>
                <a:ext cx="0" cy="129943"/>
              </a:xfrm>
              <a:prstGeom prst="line">
                <a:avLst/>
              </a:prstGeom>
              <a:grpFill/>
              <a:ln w="25400" cap="flat" cmpd="sng" algn="ctr">
                <a:solidFill>
                  <a:srgbClr val="0070C0"/>
                </a:solidFill>
                <a:prstDash val="solid"/>
                <a:headEnd type="none"/>
                <a:tailEnd type="none"/>
              </a:ln>
              <a:effectLst/>
            </p:spPr>
          </p:cxnSp>
        </p:grpSp>
        <p:grpSp>
          <p:nvGrpSpPr>
            <p:cNvPr id="149" name="Group 148">
              <a:extLst>
                <a:ext uri="{FF2B5EF4-FFF2-40B4-BE49-F238E27FC236}">
                  <a16:creationId xmlns:a16="http://schemas.microsoft.com/office/drawing/2014/main" id="{AD35B3B8-EF9C-4EB2-A89F-52E7DCA185CA}"/>
                </a:ext>
              </a:extLst>
            </p:cNvPr>
            <p:cNvGrpSpPr/>
            <p:nvPr/>
          </p:nvGrpSpPr>
          <p:grpSpPr>
            <a:xfrm>
              <a:off x="4375286" y="1266756"/>
              <a:ext cx="1676400" cy="890539"/>
              <a:chOff x="4160837" y="1350919"/>
              <a:chExt cx="1676400" cy="890539"/>
            </a:xfrm>
            <a:solidFill>
              <a:srgbClr val="0070C0">
                <a:alpha val="62000"/>
              </a:srgbClr>
            </a:solidFill>
          </p:grpSpPr>
          <p:sp>
            <p:nvSpPr>
              <p:cNvPr id="154" name="Rectangle: Rounded Corners 153">
                <a:extLst>
                  <a:ext uri="{FF2B5EF4-FFF2-40B4-BE49-F238E27FC236}">
                    <a16:creationId xmlns:a16="http://schemas.microsoft.com/office/drawing/2014/main" id="{BEE1972C-086C-472D-8B8E-ECEA4B5D1E40}"/>
                  </a:ext>
                </a:extLst>
              </p:cNvPr>
              <p:cNvSpPr/>
              <p:nvPr/>
            </p:nvSpPr>
            <p:spPr bwMode="auto">
              <a:xfrm>
                <a:off x="4160837" y="1350919"/>
                <a:ext cx="1676400" cy="609601"/>
              </a:xfrm>
              <a:prstGeom prst="roundRect">
                <a:avLst/>
              </a:prstGeom>
              <a:grpFill/>
              <a:ln w="9525" cap="flat" cmpd="sng" algn="ctr">
                <a:solidFill>
                  <a:srgbClr val="0070C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Enricher</a:t>
                </a:r>
                <a:endPar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5" name="Oval 154">
                <a:extLst>
                  <a:ext uri="{FF2B5EF4-FFF2-40B4-BE49-F238E27FC236}">
                    <a16:creationId xmlns:a16="http://schemas.microsoft.com/office/drawing/2014/main" id="{108E3A56-EEC9-4EAE-8C76-0081A9A6A454}"/>
                  </a:ext>
                </a:extLst>
              </p:cNvPr>
              <p:cNvSpPr/>
              <p:nvPr/>
            </p:nvSpPr>
            <p:spPr bwMode="auto">
              <a:xfrm>
                <a:off x="4922837" y="2090463"/>
                <a:ext cx="152400" cy="150995"/>
              </a:xfrm>
              <a:prstGeom prst="ellipse">
                <a:avLst/>
              </a:prstGeom>
              <a:noFill/>
              <a:ln w="28575" cap="flat" cmpd="sng" algn="ctr">
                <a:solidFill>
                  <a:srgbClr val="0070C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6" name="Straight Connector 155">
                <a:extLst>
                  <a:ext uri="{FF2B5EF4-FFF2-40B4-BE49-F238E27FC236}">
                    <a16:creationId xmlns:a16="http://schemas.microsoft.com/office/drawing/2014/main" id="{B054D3A4-B6BE-413D-840F-ECCC7DE33635}"/>
                  </a:ext>
                </a:extLst>
              </p:cNvPr>
              <p:cNvCxnSpPr>
                <a:cxnSpLocks/>
                <a:stCxn id="155" idx="0"/>
                <a:endCxn id="154" idx="2"/>
              </p:cNvCxnSpPr>
              <p:nvPr/>
            </p:nvCxnSpPr>
            <p:spPr>
              <a:xfrm flipV="1">
                <a:off x="4999037" y="1960520"/>
                <a:ext cx="0" cy="129943"/>
              </a:xfrm>
              <a:prstGeom prst="line">
                <a:avLst/>
              </a:prstGeom>
              <a:grpFill/>
              <a:ln w="25400" cap="flat" cmpd="sng" algn="ctr">
                <a:solidFill>
                  <a:srgbClr val="0070C0"/>
                </a:solidFill>
                <a:prstDash val="solid"/>
                <a:headEnd type="none"/>
                <a:tailEnd type="none"/>
              </a:ln>
              <a:effectLst/>
            </p:spPr>
          </p:cxnSp>
        </p:grpSp>
        <p:grpSp>
          <p:nvGrpSpPr>
            <p:cNvPr id="150" name="Group 149">
              <a:extLst>
                <a:ext uri="{FF2B5EF4-FFF2-40B4-BE49-F238E27FC236}">
                  <a16:creationId xmlns:a16="http://schemas.microsoft.com/office/drawing/2014/main" id="{4DA16C5A-27C6-47A9-80DE-A67C01789EAD}"/>
                </a:ext>
              </a:extLst>
            </p:cNvPr>
            <p:cNvGrpSpPr/>
            <p:nvPr/>
          </p:nvGrpSpPr>
          <p:grpSpPr>
            <a:xfrm>
              <a:off x="4238413" y="1375592"/>
              <a:ext cx="1676400" cy="890539"/>
              <a:chOff x="4160837" y="1350919"/>
              <a:chExt cx="1676400" cy="890539"/>
            </a:xfrm>
          </p:grpSpPr>
          <p:sp>
            <p:nvSpPr>
              <p:cNvPr id="151" name="Rectangle: Rounded Corners 150">
                <a:extLst>
                  <a:ext uri="{FF2B5EF4-FFF2-40B4-BE49-F238E27FC236}">
                    <a16:creationId xmlns:a16="http://schemas.microsoft.com/office/drawing/2014/main" id="{6715DD24-BBA9-4164-9FCF-ABEC688864B4}"/>
                  </a:ext>
                </a:extLst>
              </p:cNvPr>
              <p:cNvSpPr/>
              <p:nvPr/>
            </p:nvSpPr>
            <p:spPr bwMode="auto">
              <a:xfrm>
                <a:off x="4160837" y="1350919"/>
                <a:ext cx="1676400" cy="609601"/>
              </a:xfrm>
              <a:prstGeom prst="round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gnitive Skill</a:t>
                </a:r>
              </a:p>
            </p:txBody>
          </p:sp>
          <p:sp>
            <p:nvSpPr>
              <p:cNvPr id="152" name="Oval 151">
                <a:extLst>
                  <a:ext uri="{FF2B5EF4-FFF2-40B4-BE49-F238E27FC236}">
                    <a16:creationId xmlns:a16="http://schemas.microsoft.com/office/drawing/2014/main" id="{ADBDEF48-6B16-499B-A66E-D53877406D62}"/>
                  </a:ext>
                </a:extLst>
              </p:cNvPr>
              <p:cNvSpPr/>
              <p:nvPr/>
            </p:nvSpPr>
            <p:spPr bwMode="auto">
              <a:xfrm>
                <a:off x="4922837" y="2090463"/>
                <a:ext cx="152400" cy="150995"/>
              </a:xfrm>
              <a:prstGeom prst="ellipse">
                <a:avLst/>
              </a:prstGeom>
              <a:noFill/>
              <a:ln w="28575" cap="flat" cmpd="sng" algn="ctr">
                <a:solidFill>
                  <a:srgbClr val="00205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3" name="Straight Connector 152">
                <a:extLst>
                  <a:ext uri="{FF2B5EF4-FFF2-40B4-BE49-F238E27FC236}">
                    <a16:creationId xmlns:a16="http://schemas.microsoft.com/office/drawing/2014/main" id="{63ABBB12-3677-40C6-A76F-9B5FB0C450DD}"/>
                  </a:ext>
                </a:extLst>
              </p:cNvPr>
              <p:cNvCxnSpPr>
                <a:cxnSpLocks/>
                <a:stCxn id="152" idx="0"/>
                <a:endCxn id="151" idx="2"/>
              </p:cNvCxnSpPr>
              <p:nvPr/>
            </p:nvCxnSpPr>
            <p:spPr>
              <a:xfrm flipV="1">
                <a:off x="4999037" y="1960520"/>
                <a:ext cx="0" cy="129943"/>
              </a:xfrm>
              <a:prstGeom prst="line">
                <a:avLst/>
              </a:prstGeom>
              <a:noFill/>
              <a:ln w="25400" cap="flat" cmpd="sng" algn="ctr">
                <a:solidFill>
                  <a:srgbClr val="002050"/>
                </a:solidFill>
                <a:prstDash val="solid"/>
                <a:headEnd type="none"/>
                <a:tailEnd type="none"/>
              </a:ln>
              <a:effectLst/>
            </p:spPr>
          </p:cxnSp>
        </p:grpSp>
      </p:grpSp>
      <p:grpSp>
        <p:nvGrpSpPr>
          <p:cNvPr id="160" name="Group 159">
            <a:extLst>
              <a:ext uri="{FF2B5EF4-FFF2-40B4-BE49-F238E27FC236}">
                <a16:creationId xmlns:a16="http://schemas.microsoft.com/office/drawing/2014/main" id="{CF5C9FCF-D8DD-4ED7-B6E6-3704133F8EED}"/>
              </a:ext>
            </a:extLst>
          </p:cNvPr>
          <p:cNvGrpSpPr/>
          <p:nvPr/>
        </p:nvGrpSpPr>
        <p:grpSpPr>
          <a:xfrm>
            <a:off x="10226562" y="2566161"/>
            <a:ext cx="2320538" cy="1875698"/>
            <a:chOff x="2512468" y="3116262"/>
            <a:chExt cx="2367070" cy="1913309"/>
          </a:xfrm>
        </p:grpSpPr>
        <p:pic>
          <p:nvPicPr>
            <p:cNvPr id="161" name="Picture 160">
              <a:extLst>
                <a:ext uri="{FF2B5EF4-FFF2-40B4-BE49-F238E27FC236}">
                  <a16:creationId xmlns:a16="http://schemas.microsoft.com/office/drawing/2014/main" id="{FD2EA76F-D3FF-4865-9FF3-5F31198B107F}"/>
                </a:ext>
              </a:extLst>
            </p:cNvPr>
            <p:cNvPicPr>
              <a:picLocks noChangeAspect="1"/>
            </p:cNvPicPr>
            <p:nvPr/>
          </p:nvPicPr>
          <p:blipFill>
            <a:blip r:embed="rId4"/>
            <a:stretch>
              <a:fillRect/>
            </a:stretch>
          </p:blipFill>
          <p:spPr>
            <a:xfrm>
              <a:off x="3121809" y="3116262"/>
              <a:ext cx="1148072" cy="1140828"/>
            </a:xfrm>
            <a:prstGeom prst="rect">
              <a:avLst/>
            </a:prstGeom>
            <a:noFill/>
          </p:spPr>
        </p:pic>
        <p:sp>
          <p:nvSpPr>
            <p:cNvPr id="162" name="Text Placeholder 1">
              <a:extLst>
                <a:ext uri="{FF2B5EF4-FFF2-40B4-BE49-F238E27FC236}">
                  <a16:creationId xmlns:a16="http://schemas.microsoft.com/office/drawing/2014/main" id="{E1D9C2E4-2561-4325-B112-1713A17DDDED}"/>
                </a:ext>
              </a:extLst>
            </p:cNvPr>
            <p:cNvSpPr txBox="1">
              <a:spLocks/>
            </p:cNvSpPr>
            <p:nvPr/>
          </p:nvSpPr>
          <p:spPr>
            <a:xfrm>
              <a:off x="2512468" y="4259262"/>
              <a:ext cx="2367070" cy="770309"/>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765" b="0" i="0" u="none" strike="noStrike" kern="1200" cap="none" spc="0" normalizeH="0" baseline="0" noProof="0" dirty="0">
                  <a:ln>
                    <a:noFill/>
                  </a:ln>
                  <a:solidFill>
                    <a:srgbClr val="000000"/>
                  </a:solidFill>
                  <a:effectLst/>
                  <a:uLnTx/>
                  <a:uFillTx/>
                  <a:latin typeface="Segoe UI Semibold"/>
                  <a:ea typeface="+mn-ea"/>
                  <a:cs typeface="Segoe UI Semibold" panose="020B0702040204020203" pitchFamily="34" charset="0"/>
                </a:rPr>
                <a:t>Search</a:t>
              </a:r>
              <a:br>
                <a:rPr kumimoji="0" lang="en-US" sz="1765" b="0" i="0" u="none" strike="noStrike" kern="1200" cap="none" spc="0" normalizeH="0" baseline="0" noProof="0" dirty="0">
                  <a:ln>
                    <a:noFill/>
                  </a:ln>
                  <a:solidFill>
                    <a:srgbClr val="000000"/>
                  </a:solidFill>
                  <a:effectLst/>
                  <a:uLnTx/>
                  <a:uFillTx/>
                  <a:latin typeface="Segoe UI Semibold"/>
                  <a:ea typeface="+mn-ea"/>
                  <a:cs typeface="Segoe UI Semibold" panose="020B0702040204020203" pitchFamily="34" charset="0"/>
                </a:rPr>
              </a:br>
              <a:r>
                <a:rPr kumimoji="0" lang="en-US" sz="1765" b="0" i="0" u="none" strike="noStrike" kern="1200" cap="none" spc="0" normalizeH="0" baseline="0" noProof="0" dirty="0">
                  <a:ln>
                    <a:noFill/>
                  </a:ln>
                  <a:solidFill>
                    <a:srgbClr val="000000"/>
                  </a:solidFill>
                  <a:effectLst/>
                  <a:uLnTx/>
                  <a:uFillTx/>
                  <a:latin typeface="Segoe UI Semibold"/>
                  <a:ea typeface="+mn-ea"/>
                  <a:cs typeface="Segoe UI Semibold" panose="020B0702040204020203" pitchFamily="34" charset="0"/>
                </a:rPr>
                <a:t>Index</a:t>
              </a:r>
            </a:p>
          </p:txBody>
        </p:sp>
      </p:grpSp>
      <p:sp>
        <p:nvSpPr>
          <p:cNvPr id="163" name="Text Placeholder 1">
            <a:extLst>
              <a:ext uri="{FF2B5EF4-FFF2-40B4-BE49-F238E27FC236}">
                <a16:creationId xmlns:a16="http://schemas.microsoft.com/office/drawing/2014/main" id="{2C3F5996-47E6-4268-B219-5963044D0969}"/>
              </a:ext>
            </a:extLst>
          </p:cNvPr>
          <p:cNvSpPr txBox="1">
            <a:spLocks/>
          </p:cNvSpPr>
          <p:nvPr/>
        </p:nvSpPr>
        <p:spPr>
          <a:xfrm>
            <a:off x="194536" y="4435270"/>
            <a:ext cx="1494043" cy="1218849"/>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rPr>
              <a:t>.pdf</a:t>
            </a:r>
          </a:p>
          <a:p>
            <a:pPr marL="0" marR="0" lvl="0" indent="0" algn="l"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rPr>
              <a:t>.doc</a:t>
            </a:r>
          </a:p>
          <a:p>
            <a:pPr marL="0" marR="0" lvl="0" indent="0" algn="l"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rPr>
              <a:t>.jpeg</a:t>
            </a:r>
          </a:p>
          <a:p>
            <a:pPr marL="0" marR="0" lvl="0" indent="0" algn="l"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rPr>
              <a:t>…</a:t>
            </a:r>
          </a:p>
        </p:txBody>
      </p:sp>
      <p:sp>
        <p:nvSpPr>
          <p:cNvPr id="164" name="Text Placeholder 1">
            <a:extLst>
              <a:ext uri="{FF2B5EF4-FFF2-40B4-BE49-F238E27FC236}">
                <a16:creationId xmlns:a16="http://schemas.microsoft.com/office/drawing/2014/main" id="{C6FA1043-D3E2-4B68-B8CC-1EE1C35E416D}"/>
              </a:ext>
            </a:extLst>
          </p:cNvPr>
          <p:cNvSpPr txBox="1">
            <a:spLocks/>
          </p:cNvSpPr>
          <p:nvPr/>
        </p:nvSpPr>
        <p:spPr>
          <a:xfrm>
            <a:off x="5616348" y="4468081"/>
            <a:ext cx="2856173" cy="1218974"/>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765" b="0" i="0" u="none" strike="noStrike" kern="1200" cap="none" spc="0" normalizeH="0" baseline="0" noProof="0" dirty="0">
                <a:ln>
                  <a:noFill/>
                </a:ln>
                <a:solidFill>
                  <a:srgbClr val="000000"/>
                </a:solidFill>
                <a:effectLst/>
                <a:uLnTx/>
                <a:uFillTx/>
                <a:latin typeface="Segoe UI Semibold"/>
                <a:ea typeface="+mn-ea"/>
                <a:cs typeface="Segoe UI Semibold" panose="020B0702040204020203" pitchFamily="34" charset="0"/>
              </a:rPr>
              <a:t>Third Party Enrichers</a:t>
            </a:r>
            <a:br>
              <a:rPr kumimoji="0" lang="en-US" sz="1765" b="0" i="0" u="none" strike="noStrike" kern="1200" cap="none" spc="0" normalizeH="0" baseline="0" noProof="0" dirty="0">
                <a:ln>
                  <a:noFill/>
                </a:ln>
                <a:solidFill>
                  <a:srgbClr val="000000"/>
                </a:solidFill>
                <a:effectLst/>
                <a:uLnTx/>
                <a:uFillTx/>
                <a:latin typeface="Segoe UI Semibold"/>
                <a:ea typeface="+mn-ea"/>
                <a:cs typeface="Segoe UI Semibold" panose="020B0702040204020203" pitchFamily="34" charset="0"/>
              </a:rPr>
            </a:br>
            <a:r>
              <a:rPr kumimoji="0" lang="en-US" sz="1372" b="0"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rPr>
              <a:t>Custom classification models,</a:t>
            </a:r>
            <a:br>
              <a:rPr kumimoji="0" lang="en-US" sz="1372" b="0" i="0" u="none" strike="noStrike" kern="1200" cap="none" spc="0" normalizeH="0" baseline="0" noProof="0" dirty="0">
                <a:ln>
                  <a:noFill/>
                </a:ln>
                <a:solidFill>
                  <a:srgbClr val="000000"/>
                </a:solidFill>
                <a:effectLst/>
                <a:uLnTx/>
                <a:uFillTx/>
                <a:latin typeface="Segoe UI Semibold"/>
                <a:ea typeface="+mn-ea"/>
                <a:cs typeface="Segoe UI Semibold" panose="020B0702040204020203" pitchFamily="34" charset="0"/>
              </a:rPr>
            </a:br>
            <a:r>
              <a:rPr kumimoji="0" lang="en-US" sz="1372" b="0"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rPr>
              <a:t>Custom entity extraction,</a:t>
            </a:r>
          </a:p>
          <a:p>
            <a:pPr marL="0" marR="0" lvl="0" indent="0" algn="l"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rPr>
              <a:t>etc.</a:t>
            </a:r>
          </a:p>
        </p:txBody>
      </p:sp>
      <p:pic>
        <p:nvPicPr>
          <p:cNvPr id="165" name="Picture 164">
            <a:extLst>
              <a:ext uri="{FF2B5EF4-FFF2-40B4-BE49-F238E27FC236}">
                <a16:creationId xmlns:a16="http://schemas.microsoft.com/office/drawing/2014/main" id="{5CB6113D-AA33-49BE-A24E-1710033C2A19}"/>
              </a:ext>
            </a:extLst>
          </p:cNvPr>
          <p:cNvPicPr>
            <a:picLocks noChangeAspect="1"/>
          </p:cNvPicPr>
          <p:nvPr/>
        </p:nvPicPr>
        <p:blipFill>
          <a:blip r:embed="rId5"/>
          <a:stretch>
            <a:fillRect/>
          </a:stretch>
        </p:blipFill>
        <p:spPr>
          <a:xfrm>
            <a:off x="5785933" y="5804179"/>
            <a:ext cx="578941" cy="625630"/>
          </a:xfrm>
          <a:prstGeom prst="rect">
            <a:avLst/>
          </a:prstGeom>
        </p:spPr>
      </p:pic>
      <p:sp>
        <p:nvSpPr>
          <p:cNvPr id="166" name="Rectangle 165">
            <a:extLst>
              <a:ext uri="{FF2B5EF4-FFF2-40B4-BE49-F238E27FC236}">
                <a16:creationId xmlns:a16="http://schemas.microsoft.com/office/drawing/2014/main" id="{F32F0ED6-4EC8-44E0-A744-133D9D82BD57}"/>
              </a:ext>
            </a:extLst>
          </p:cNvPr>
          <p:cNvSpPr/>
          <p:nvPr/>
        </p:nvSpPr>
        <p:spPr>
          <a:xfrm>
            <a:off x="6116327" y="5887624"/>
            <a:ext cx="1050071" cy="425309"/>
          </a:xfrm>
          <a:prstGeom prst="rect">
            <a:avLst/>
          </a:prstGeom>
        </p:spPr>
        <p:txBody>
          <a:bodyPr wrap="none">
            <a:spAutoFit/>
          </a:bodyPr>
          <a:lstStyle/>
          <a:p>
            <a:pPr marL="0" marR="0" lvl="0" indent="0" algn="ctr" defTabSz="914367" rtl="0" eaLnBrk="1" fontAlgn="auto" latinLnBrk="0" hangingPunct="1">
              <a:lnSpc>
                <a:spcPct val="110000"/>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rPr>
              <a:t>Azure Machine</a:t>
            </a:r>
            <a:br>
              <a:rPr kumimoji="0" lang="en-US" sz="1029" b="0"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rPr>
            </a:br>
            <a:r>
              <a:rPr kumimoji="0" lang="en-US" sz="1029" b="0"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rPr>
              <a:t>Learning</a:t>
            </a:r>
          </a:p>
        </p:txBody>
      </p:sp>
    </p:spTree>
    <p:extLst>
      <p:ext uri="{BB962C8B-B14F-4D97-AF65-F5344CB8AC3E}">
        <p14:creationId xmlns:p14="http://schemas.microsoft.com/office/powerpoint/2010/main" val="7303922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3B854194-185D-494D-905C-7C7CB2E30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608211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B4F5FA0D-0104-4987-8241-EFF7C85B88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1998"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2897127E-6CEF-446C-BE87-93B7C46E49D1}"/>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9C6CDC5C-AD11-F749-BCB2-9134B8C78650}"/>
              </a:ext>
            </a:extLst>
          </p:cNvPr>
          <p:cNvSpPr>
            <a:spLocks noGrp="1"/>
          </p:cNvSpPr>
          <p:nvPr>
            <p:ph type="title"/>
          </p:nvPr>
        </p:nvSpPr>
        <p:spPr>
          <a:xfrm>
            <a:off x="640079" y="2053641"/>
            <a:ext cx="3669161" cy="2760098"/>
          </a:xfrm>
        </p:spPr>
        <p:txBody>
          <a:bodyPr>
            <a:normAutofit/>
          </a:bodyPr>
          <a:lstStyle/>
          <a:p>
            <a:r>
              <a:rPr lang="en-US">
                <a:solidFill>
                  <a:srgbClr val="FFFFFF"/>
                </a:solidFill>
              </a:rPr>
              <a:t>Challenge Scenario</a:t>
            </a:r>
          </a:p>
        </p:txBody>
      </p:sp>
      <p:sp>
        <p:nvSpPr>
          <p:cNvPr id="4" name="Content Placeholder 3">
            <a:extLst>
              <a:ext uri="{FF2B5EF4-FFF2-40B4-BE49-F238E27FC236}">
                <a16:creationId xmlns:a16="http://schemas.microsoft.com/office/drawing/2014/main" id="{04BFFC07-A6B0-CD4C-B9CD-149224C470F2}"/>
              </a:ext>
            </a:extLst>
          </p:cNvPr>
          <p:cNvSpPr>
            <a:spLocks noGrp="1"/>
          </p:cNvSpPr>
          <p:nvPr>
            <p:ph idx="1"/>
          </p:nvPr>
        </p:nvSpPr>
        <p:spPr>
          <a:xfrm>
            <a:off x="6090574" y="801866"/>
            <a:ext cx="5306084" cy="5230634"/>
          </a:xfrm>
        </p:spPr>
        <p:txBody>
          <a:bodyPr anchor="ctr">
            <a:normAutofit/>
          </a:bodyPr>
          <a:lstStyle/>
          <a:p>
            <a:r>
              <a:rPr lang="en-US" sz="2400">
                <a:solidFill>
                  <a:srgbClr val="000000"/>
                </a:solidFill>
              </a:rPr>
              <a:t>Parts Unlimited is in the auto part business</a:t>
            </a:r>
          </a:p>
          <a:p>
            <a:r>
              <a:rPr lang="en-US" sz="2400">
                <a:solidFill>
                  <a:srgbClr val="000000"/>
                </a:solidFill>
              </a:rPr>
              <a:t>The sell via a brick and mortar store but have invested in a small e-commerce presence to augment the stores</a:t>
            </a:r>
          </a:p>
          <a:p>
            <a:r>
              <a:rPr lang="en-US" sz="2400">
                <a:solidFill>
                  <a:srgbClr val="000000"/>
                </a:solidFill>
              </a:rPr>
              <a:t>They are trying to cope with being overloaded due to faster-than-expected growth</a:t>
            </a:r>
          </a:p>
          <a:p>
            <a:endParaRPr lang="en-US" sz="2400">
              <a:solidFill>
                <a:srgbClr val="000000"/>
              </a:solidFill>
            </a:endParaRPr>
          </a:p>
          <a:p>
            <a:pPr marL="0" indent="0">
              <a:buNone/>
            </a:pPr>
            <a:r>
              <a:rPr lang="en-US" sz="2400">
                <a:solidFill>
                  <a:srgbClr val="000000"/>
                </a:solidFill>
              </a:rPr>
              <a:t>They want to begin their journey to the cloud</a:t>
            </a:r>
          </a:p>
        </p:txBody>
      </p:sp>
    </p:spTree>
    <p:extLst>
      <p:ext uri="{BB962C8B-B14F-4D97-AF65-F5344CB8AC3E}">
        <p14:creationId xmlns:p14="http://schemas.microsoft.com/office/powerpoint/2010/main" val="319011511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CE5E855-5968-455A-AC53-28D2A276277D}"/>
              </a:ext>
            </a:extLst>
          </p:cNvPr>
          <p:cNvSpPr>
            <a:spLocks noGrp="1"/>
          </p:cNvSpPr>
          <p:nvPr>
            <p:ph type="title"/>
          </p:nvPr>
        </p:nvSpPr>
        <p:spPr>
          <a:xfrm>
            <a:off x="535915" y="2276479"/>
            <a:ext cx="4160520" cy="1938992"/>
          </a:xfrm>
        </p:spPr>
        <p:txBody>
          <a:bodyPr/>
          <a:lstStyle/>
          <a:p>
            <a:r>
              <a:rPr lang="en-US" sz="4000" dirty="0"/>
              <a:t>Built-in Skills</a:t>
            </a:r>
            <a:br>
              <a:rPr lang="en-US" sz="4000" dirty="0"/>
            </a:br>
            <a:r>
              <a:rPr lang="en-US" sz="4000" dirty="0"/>
              <a:t>in multiple languages</a:t>
            </a:r>
          </a:p>
        </p:txBody>
      </p:sp>
      <p:sp>
        <p:nvSpPr>
          <p:cNvPr id="5" name="Picture Placeholder 4">
            <a:extLst>
              <a:ext uri="{FF2B5EF4-FFF2-40B4-BE49-F238E27FC236}">
                <a16:creationId xmlns:a16="http://schemas.microsoft.com/office/drawing/2014/main" id="{3DF927C5-0C82-4EFF-84CD-B4524C666462}"/>
              </a:ext>
            </a:extLst>
          </p:cNvPr>
          <p:cNvSpPr>
            <a:spLocks noGrp="1"/>
          </p:cNvSpPr>
          <p:nvPr>
            <p:ph type="pic" sz="quarter" idx="11"/>
          </p:nvPr>
        </p:nvSpPr>
        <p:spPr>
          <a:xfrm>
            <a:off x="5334000" y="0"/>
            <a:ext cx="6858000" cy="6874476"/>
          </a:xfrm>
        </p:spPr>
      </p:sp>
      <p:pic>
        <p:nvPicPr>
          <p:cNvPr id="7" name="Picture 6">
            <a:extLst>
              <a:ext uri="{FF2B5EF4-FFF2-40B4-BE49-F238E27FC236}">
                <a16:creationId xmlns:a16="http://schemas.microsoft.com/office/drawing/2014/main" id="{FAA313E2-F473-4A05-A98E-0AD5C29BD7C7}"/>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35605" r="8146" b="14369"/>
          <a:stretch/>
        </p:blipFill>
        <p:spPr>
          <a:xfrm>
            <a:off x="5333999" y="0"/>
            <a:ext cx="6858001" cy="6858000"/>
          </a:xfrm>
          <a:prstGeom prst="rect">
            <a:avLst/>
          </a:prstGeom>
        </p:spPr>
      </p:pic>
      <p:sp>
        <p:nvSpPr>
          <p:cNvPr id="8" name="Rectangle 7">
            <a:extLst>
              <a:ext uri="{FF2B5EF4-FFF2-40B4-BE49-F238E27FC236}">
                <a16:creationId xmlns:a16="http://schemas.microsoft.com/office/drawing/2014/main" id="{AE4E7636-ACAA-4E0A-98ED-A2ADC7D613CF}"/>
              </a:ext>
            </a:extLst>
          </p:cNvPr>
          <p:cNvSpPr/>
          <p:nvPr/>
        </p:nvSpPr>
        <p:spPr bwMode="auto">
          <a:xfrm>
            <a:off x="5333998" y="-16477"/>
            <a:ext cx="6858002" cy="6874477"/>
          </a:xfrm>
          <a:prstGeom prst="rect">
            <a:avLst/>
          </a:prstGeom>
          <a:solidFill>
            <a:schemeClr val="tx1">
              <a:lumMod val="5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7AC0D4FC-830F-4989-BE12-CE22AD523248}"/>
              </a:ext>
            </a:extLst>
          </p:cNvPr>
          <p:cNvGrpSpPr/>
          <p:nvPr/>
        </p:nvGrpSpPr>
        <p:grpSpPr>
          <a:xfrm>
            <a:off x="6633607" y="103753"/>
            <a:ext cx="6254679" cy="2642054"/>
            <a:chOff x="5528826" y="2090633"/>
            <a:chExt cx="6254679" cy="2642054"/>
          </a:xfrm>
        </p:grpSpPr>
        <p:sp>
          <p:nvSpPr>
            <p:cNvPr id="25" name="TextBox 24">
              <a:extLst>
                <a:ext uri="{FF2B5EF4-FFF2-40B4-BE49-F238E27FC236}">
                  <a16:creationId xmlns:a16="http://schemas.microsoft.com/office/drawing/2014/main" id="{395EA3B9-23CE-427C-BAD1-BF6D4C5BBBD8}"/>
                </a:ext>
              </a:extLst>
            </p:cNvPr>
            <p:cNvSpPr txBox="1"/>
            <p:nvPr/>
          </p:nvSpPr>
          <p:spPr>
            <a:xfrm>
              <a:off x="6607343" y="2090633"/>
              <a:ext cx="5176162" cy="2642054"/>
            </a:xfrm>
            <a:prstGeom prst="rect">
              <a:avLst/>
            </a:prstGeom>
            <a:noFill/>
            <a:ln>
              <a:noFill/>
            </a:ln>
          </p:spPr>
          <p:txBody>
            <a:bodyPr wrap="square" lIns="179285" tIns="143407" rIns="224106" bIns="143407" rtlCol="0" anchor="ctr" anchorCtr="0">
              <a:spAutoFit/>
            </a:bodyPr>
            <a:lstStyle>
              <a:defPPr>
                <a:defRPr lang="en-US"/>
              </a:defPPr>
              <a:lvl1pPr marR="0" lvl="0" indent="0" defTabSz="914400" fontAlgn="auto">
                <a:lnSpc>
                  <a:spcPct val="90000"/>
                </a:lnSpc>
                <a:spcBef>
                  <a:spcPct val="0"/>
                </a:spcBef>
                <a:spcAft>
                  <a:spcPts val="600"/>
                </a:spcAft>
                <a:buClrTx/>
                <a:buSzTx/>
                <a:buFontTx/>
                <a:buNone/>
                <a:tabLst/>
                <a:defRPr kumimoji="0" sz="1600" b="1" i="0" u="none" strike="noStrike" kern="0" cap="none" spc="50" normalizeH="0" baseline="0">
                  <a:ln w="3175">
                    <a:noFill/>
                  </a:ln>
                  <a:gradFill>
                    <a:gsLst>
                      <a:gs pos="17424">
                        <a:schemeClr val="accent3"/>
                      </a:gs>
                      <a:gs pos="61000">
                        <a:schemeClr val="accent3"/>
                      </a:gs>
                    </a:gsLst>
                    <a:lin ang="5400000" scaled="1"/>
                  </a:gradFill>
                  <a:effectLst/>
                  <a:uLnTx/>
                  <a:uFillTx/>
                  <a:latin typeface="Segoe UI"/>
                  <a:cs typeface="Segoe UI Semibold" panose="020B0702040204020203" pitchFamily="34" charset="0"/>
                </a:defRPr>
              </a:lvl1pPr>
            </a:lstStyle>
            <a:p>
              <a:pPr marL="0" marR="0" lvl="0" indent="0" algn="l" defTabSz="914367" rtl="0" eaLnBrk="1" fontAlgn="auto" latinLnBrk="0" hangingPunct="1">
                <a:lnSpc>
                  <a:spcPct val="90000"/>
                </a:lnSpc>
                <a:spcBef>
                  <a:spcPts val="196"/>
                </a:spcBef>
                <a:spcAft>
                  <a:spcPts val="0"/>
                </a:spcAft>
                <a:buClrTx/>
                <a:buSzTx/>
                <a:buFontTx/>
                <a:buNone/>
                <a:tabLst/>
                <a:defRPr/>
              </a:pPr>
              <a:r>
                <a:rPr kumimoji="0" lang="en-US" sz="2800" b="0" i="0" u="none" strike="noStrike" kern="0" cap="none" spc="0" normalizeH="0" baseline="0" noProof="0" dirty="0">
                  <a:ln w="3175">
                    <a:noFill/>
                  </a:ln>
                  <a:gradFill>
                    <a:gsLst>
                      <a:gs pos="5195">
                        <a:prstClr val="white"/>
                      </a:gs>
                      <a:gs pos="18000">
                        <a:prstClr val="white"/>
                      </a:gs>
                    </a:gsLst>
                    <a:lin ang="5400000" scaled="1"/>
                  </a:gradFill>
                  <a:effectLst/>
                  <a:uLnTx/>
                  <a:uFillTx/>
                  <a:latin typeface="Segoe UI Semilight" charset="0"/>
                  <a:ea typeface="Segoe UI Semilight" charset="0"/>
                  <a:cs typeface="Segoe UI Semilight" charset="0"/>
                </a:rPr>
                <a:t>Natural Language </a:t>
              </a:r>
              <a:br>
                <a:rPr kumimoji="0" lang="en-US" sz="2800" b="0" i="0" u="none" strike="noStrike" kern="0" cap="none" spc="0" normalizeH="0" baseline="0" noProof="0" dirty="0">
                  <a:ln w="3175">
                    <a:noFill/>
                  </a:ln>
                  <a:gradFill>
                    <a:gsLst>
                      <a:gs pos="5195">
                        <a:prstClr val="white"/>
                      </a:gs>
                      <a:gs pos="18000">
                        <a:prstClr val="white"/>
                      </a:gs>
                    </a:gsLst>
                    <a:lin ang="5400000" scaled="1"/>
                  </a:gradFill>
                  <a:effectLst/>
                  <a:uLnTx/>
                  <a:uFillTx/>
                  <a:latin typeface="Segoe UI Semilight" charset="0"/>
                  <a:ea typeface="Segoe UI Semilight" charset="0"/>
                  <a:cs typeface="Segoe UI Semilight" charset="0"/>
                </a:rPr>
              </a:br>
              <a:r>
                <a:rPr kumimoji="0" lang="en-US" sz="2800" b="0" i="0" u="none" strike="noStrike" kern="0" cap="none" spc="0" normalizeH="0" baseline="0" noProof="0" dirty="0">
                  <a:ln w="3175">
                    <a:noFill/>
                  </a:ln>
                  <a:gradFill>
                    <a:gsLst>
                      <a:gs pos="5195">
                        <a:prstClr val="white"/>
                      </a:gs>
                      <a:gs pos="18000">
                        <a:prstClr val="white"/>
                      </a:gs>
                    </a:gsLst>
                    <a:lin ang="5400000" scaled="1"/>
                  </a:gradFill>
                  <a:effectLst/>
                  <a:uLnTx/>
                  <a:uFillTx/>
                  <a:latin typeface="Segoe UI Semilight" charset="0"/>
                  <a:ea typeface="Segoe UI Semilight" charset="0"/>
                  <a:cs typeface="Segoe UI Semilight" charset="0"/>
                </a:rPr>
                <a:t>Processing</a:t>
              </a:r>
            </a:p>
            <a:p>
              <a:pPr marL="0" marR="0" lvl="0" indent="0" algn="l" defTabSz="914367" rtl="0" eaLnBrk="1" fontAlgn="auto" latinLnBrk="0" hangingPunct="1">
                <a:lnSpc>
                  <a:spcPct val="90000"/>
                </a:lnSpc>
                <a:spcBef>
                  <a:spcPts val="196"/>
                </a:spcBef>
                <a:spcAft>
                  <a:spcPts val="0"/>
                </a:spcAft>
                <a:buClrTx/>
                <a:buSzTx/>
                <a:buFontTx/>
                <a:buNone/>
                <a:tabLst/>
                <a:defRPr/>
              </a:pPr>
              <a:r>
                <a:rPr kumimoji="0" lang="en-US" sz="1600" b="0" i="0" u="none" strike="noStrike" kern="0" cap="none" spc="0" normalizeH="0" baseline="0" noProof="0" dirty="0">
                  <a:ln w="3175">
                    <a:noFill/>
                  </a:ln>
                  <a:solidFill>
                    <a:srgbClr val="FFFFFF"/>
                  </a:solidFill>
                  <a:effectLst/>
                  <a:uLnTx/>
                  <a:uFillTx/>
                  <a:latin typeface="Segoe UI Semilight" charset="0"/>
                  <a:ea typeface="Segoe UI Semilight" charset="0"/>
                  <a:cs typeface="Segoe UI Semilight" charset="0"/>
                </a:rPr>
                <a:t>Key Phrase Extraction </a:t>
              </a:r>
              <a:br>
                <a:rPr kumimoji="0" lang="en-US" sz="1600" b="0" i="0" u="none" strike="noStrike" kern="0" cap="none" spc="0" normalizeH="0" baseline="0" noProof="0" dirty="0">
                  <a:ln w="3175">
                    <a:noFill/>
                  </a:ln>
                  <a:solidFill>
                    <a:srgbClr val="FFFFFF"/>
                  </a:solidFill>
                  <a:effectLst/>
                  <a:uLnTx/>
                  <a:uFillTx/>
                  <a:latin typeface="Segoe UI Semilight" charset="0"/>
                  <a:ea typeface="Segoe UI Semilight" charset="0"/>
                  <a:cs typeface="Segoe UI Semilight" charset="0"/>
                </a:rPr>
              </a:br>
              <a:r>
                <a:rPr kumimoji="0" lang="en-US" sz="1600" b="0" i="0" u="none" strike="noStrike" kern="0" cap="none" spc="0" normalizeH="0" baseline="0" noProof="0" dirty="0">
                  <a:ln w="3175">
                    <a:noFill/>
                  </a:ln>
                  <a:solidFill>
                    <a:srgbClr val="FFFFFF"/>
                  </a:solidFill>
                  <a:effectLst/>
                  <a:uLnTx/>
                  <a:uFillTx/>
                  <a:latin typeface="Segoe UI Semilight" charset="0"/>
                  <a:ea typeface="Segoe UI Semilight" charset="0"/>
                  <a:cs typeface="Segoe UI Semilight" charset="0"/>
                </a:rPr>
                <a:t>Sentiment Analysis</a:t>
              </a:r>
              <a:br>
                <a:rPr kumimoji="0" lang="en-US" sz="1600" b="0" i="0" u="none" strike="noStrike" kern="0" cap="none" spc="0" normalizeH="0" baseline="0" noProof="0" dirty="0">
                  <a:ln w="3175">
                    <a:noFill/>
                  </a:ln>
                  <a:solidFill>
                    <a:srgbClr val="FFFFFF"/>
                  </a:solidFill>
                  <a:effectLst/>
                  <a:uLnTx/>
                  <a:uFillTx/>
                  <a:latin typeface="Segoe UI Semilight" charset="0"/>
                  <a:ea typeface="Segoe UI Semilight" charset="0"/>
                  <a:cs typeface="Segoe UI Semilight" charset="0"/>
                </a:rPr>
              </a:br>
              <a:r>
                <a:rPr kumimoji="0" lang="en-US" sz="1600" b="0" i="0" u="none" strike="noStrike" kern="0" cap="none" spc="0" normalizeH="0" baseline="0" noProof="0" dirty="0">
                  <a:ln w="3175">
                    <a:noFill/>
                  </a:ln>
                  <a:solidFill>
                    <a:srgbClr val="FFFFFF"/>
                  </a:solidFill>
                  <a:effectLst/>
                  <a:uLnTx/>
                  <a:uFillTx/>
                  <a:latin typeface="Segoe UI Semilight" charset="0"/>
                  <a:ea typeface="Segoe UI Semilight" charset="0"/>
                  <a:cs typeface="Segoe UI Semilight" charset="0"/>
                </a:rPr>
                <a:t>Organization Entity Extraction</a:t>
              </a:r>
              <a:br>
                <a:rPr kumimoji="0" lang="en-US" sz="1600" b="0" i="0" u="none" strike="noStrike" kern="0" cap="none" spc="0" normalizeH="0" baseline="0" noProof="0" dirty="0">
                  <a:ln w="3175">
                    <a:noFill/>
                  </a:ln>
                  <a:solidFill>
                    <a:srgbClr val="FFFFFF"/>
                  </a:solidFill>
                  <a:effectLst/>
                  <a:uLnTx/>
                  <a:uFillTx/>
                  <a:latin typeface="Segoe UI Semilight" charset="0"/>
                  <a:ea typeface="Segoe UI Semilight" charset="0"/>
                  <a:cs typeface="Segoe UI Semilight" charset="0"/>
                </a:rPr>
              </a:br>
              <a:r>
                <a:rPr kumimoji="0" lang="en-US" sz="1600" b="0" i="0" u="none" strike="noStrike" kern="0" cap="none" spc="0" normalizeH="0" baseline="0" noProof="0" dirty="0">
                  <a:ln w="3175">
                    <a:noFill/>
                  </a:ln>
                  <a:solidFill>
                    <a:srgbClr val="FFFFFF"/>
                  </a:solidFill>
                  <a:effectLst/>
                  <a:uLnTx/>
                  <a:uFillTx/>
                  <a:latin typeface="Segoe UI Semilight" charset="0"/>
                  <a:ea typeface="Segoe UI Semilight" charset="0"/>
                  <a:cs typeface="Segoe UI Semilight" charset="0"/>
                </a:rPr>
                <a:t>Location Entity Extraction </a:t>
              </a:r>
              <a:br>
                <a:rPr kumimoji="0" lang="en-US" sz="1600" b="0" i="0" u="none" strike="noStrike" kern="0" cap="none" spc="0" normalizeH="0" baseline="0" noProof="0" dirty="0">
                  <a:ln w="3175">
                    <a:noFill/>
                  </a:ln>
                  <a:solidFill>
                    <a:srgbClr val="FFFFFF"/>
                  </a:solidFill>
                  <a:effectLst/>
                  <a:uLnTx/>
                  <a:uFillTx/>
                  <a:latin typeface="Segoe UI Semilight" charset="0"/>
                  <a:ea typeface="Segoe UI Semilight" charset="0"/>
                  <a:cs typeface="Segoe UI Semilight" charset="0"/>
                </a:rPr>
              </a:br>
              <a:r>
                <a:rPr kumimoji="0" lang="en-US" sz="1600" b="0" i="0" u="none" strike="noStrike" kern="0" cap="none" spc="0" normalizeH="0" baseline="0" noProof="0" dirty="0">
                  <a:ln w="3175">
                    <a:noFill/>
                  </a:ln>
                  <a:solidFill>
                    <a:srgbClr val="FFFFFF"/>
                  </a:solidFill>
                  <a:effectLst/>
                  <a:uLnTx/>
                  <a:uFillTx/>
                  <a:latin typeface="Segoe UI Semilight" charset="0"/>
                  <a:ea typeface="Segoe UI Semilight" charset="0"/>
                  <a:cs typeface="Segoe UI Semilight" charset="0"/>
                </a:rPr>
                <a:t>Persons Entity Extraction</a:t>
              </a:r>
              <a:br>
                <a:rPr kumimoji="0" lang="en-US" sz="1600" b="0" i="0" u="none" strike="noStrike" kern="0" cap="none" spc="0" normalizeH="0" baseline="0" noProof="0" dirty="0">
                  <a:ln w="3175">
                    <a:noFill/>
                  </a:ln>
                  <a:solidFill>
                    <a:srgbClr val="FFFFFF"/>
                  </a:solidFill>
                  <a:effectLst/>
                  <a:uLnTx/>
                  <a:uFillTx/>
                  <a:latin typeface="Segoe UI Semilight" charset="0"/>
                  <a:ea typeface="Segoe UI Semilight" charset="0"/>
                  <a:cs typeface="Segoe UI Semilight" charset="0"/>
                </a:rPr>
              </a:br>
              <a:r>
                <a:rPr kumimoji="0" lang="en-US" sz="1600" b="0" i="0" u="none" strike="noStrike" kern="0" cap="none" spc="0" normalizeH="0" baseline="0" noProof="0" dirty="0">
                  <a:ln w="3175">
                    <a:noFill/>
                  </a:ln>
                  <a:solidFill>
                    <a:srgbClr val="FFFFFF"/>
                  </a:solidFill>
                  <a:effectLst/>
                  <a:uLnTx/>
                  <a:uFillTx/>
                  <a:latin typeface="Segoe UI Semilight" charset="0"/>
                  <a:ea typeface="Segoe UI Semilight" charset="0"/>
                  <a:cs typeface="Segoe UI Semilight" charset="0"/>
                </a:rPr>
                <a:t>Language Detection</a:t>
              </a:r>
              <a:br>
                <a:rPr kumimoji="0" lang="en-US" sz="1600" b="0" i="0" u="none" strike="noStrike" kern="0" cap="none" spc="0" normalizeH="0" baseline="0" noProof="0" dirty="0">
                  <a:ln w="3175">
                    <a:noFill/>
                  </a:ln>
                  <a:solidFill>
                    <a:srgbClr val="FFFFFF"/>
                  </a:solidFill>
                  <a:effectLst/>
                  <a:uLnTx/>
                  <a:uFillTx/>
                  <a:latin typeface="Segoe UI Semilight" charset="0"/>
                  <a:ea typeface="Segoe UI Semilight" charset="0"/>
                  <a:cs typeface="Segoe UI Semilight" charset="0"/>
                </a:rPr>
              </a:br>
              <a:endParaRPr kumimoji="0" lang="en-US" sz="1600" b="0" i="0" u="none" strike="noStrike" kern="0" cap="none" spc="0" normalizeH="0" baseline="0" noProof="0" dirty="0">
                <a:ln w="3175">
                  <a:noFill/>
                </a:ln>
                <a:solidFill>
                  <a:srgbClr val="FFFFFF"/>
                </a:solidFill>
                <a:effectLst/>
                <a:uLnTx/>
                <a:uFillTx/>
                <a:latin typeface="Segoe UI Semilight" charset="0"/>
                <a:ea typeface="Segoe UI Semilight" charset="0"/>
                <a:cs typeface="Segoe UI Semilight" charset="0"/>
              </a:endParaRPr>
            </a:p>
          </p:txBody>
        </p:sp>
        <p:grpSp>
          <p:nvGrpSpPr>
            <p:cNvPr id="26" name="Group 25">
              <a:extLst>
                <a:ext uri="{FF2B5EF4-FFF2-40B4-BE49-F238E27FC236}">
                  <a16:creationId xmlns:a16="http://schemas.microsoft.com/office/drawing/2014/main" id="{5F0D44E4-9B90-4FD3-8BD4-F637DA0DEFB1}"/>
                </a:ext>
              </a:extLst>
            </p:cNvPr>
            <p:cNvGrpSpPr/>
            <p:nvPr/>
          </p:nvGrpSpPr>
          <p:grpSpPr>
            <a:xfrm>
              <a:off x="5528826" y="2917894"/>
              <a:ext cx="987530" cy="987528"/>
              <a:chOff x="5528826" y="2917894"/>
              <a:chExt cx="987530" cy="987528"/>
            </a:xfrm>
          </p:grpSpPr>
          <p:sp>
            <p:nvSpPr>
              <p:cNvPr id="27" name="Oval 26">
                <a:extLst>
                  <a:ext uri="{FF2B5EF4-FFF2-40B4-BE49-F238E27FC236}">
                    <a16:creationId xmlns:a16="http://schemas.microsoft.com/office/drawing/2014/main" id="{19C78DAE-C4E8-4151-B105-CAA0100BD1BF}"/>
                  </a:ext>
                </a:extLst>
              </p:cNvPr>
              <p:cNvSpPr/>
              <p:nvPr/>
            </p:nvSpPr>
            <p:spPr bwMode="auto">
              <a:xfrm>
                <a:off x="5528826" y="2917894"/>
                <a:ext cx="987530" cy="987528"/>
              </a:xfrm>
              <a:prstGeom prst="ellipse">
                <a:avLst/>
              </a:prstGeom>
              <a:solidFill>
                <a:srgbClr val="0078D7"/>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ctr"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people_23" title="Icon of a person with a chat bubble above them">
                <a:extLst>
                  <a:ext uri="{FF2B5EF4-FFF2-40B4-BE49-F238E27FC236}">
                    <a16:creationId xmlns:a16="http://schemas.microsoft.com/office/drawing/2014/main" id="{9809E4D9-BA24-4698-B716-28F5D9ACB4AA}"/>
                  </a:ext>
                </a:extLst>
              </p:cNvPr>
              <p:cNvSpPr>
                <a:spLocks noChangeAspect="1" noEditPoints="1"/>
              </p:cNvSpPr>
              <p:nvPr/>
            </p:nvSpPr>
            <p:spPr bwMode="auto">
              <a:xfrm>
                <a:off x="5748928" y="3140891"/>
                <a:ext cx="547326" cy="541534"/>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2222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grpSp>
      </p:grpSp>
      <p:sp>
        <p:nvSpPr>
          <p:cNvPr id="30" name="TextBox 4">
            <a:extLst>
              <a:ext uri="{FF2B5EF4-FFF2-40B4-BE49-F238E27FC236}">
                <a16:creationId xmlns:a16="http://schemas.microsoft.com/office/drawing/2014/main" id="{09C12A4D-2A4A-499F-BA58-FF09FE100D04}"/>
              </a:ext>
            </a:extLst>
          </p:cNvPr>
          <p:cNvSpPr txBox="1"/>
          <p:nvPr/>
        </p:nvSpPr>
        <p:spPr>
          <a:xfrm>
            <a:off x="7709752" y="2679619"/>
            <a:ext cx="5388183" cy="2254255"/>
          </a:xfrm>
          <a:prstGeom prst="rect">
            <a:avLst/>
          </a:prstGeom>
          <a:noFill/>
          <a:ln>
            <a:noFill/>
          </a:ln>
        </p:spPr>
        <p:txBody>
          <a:bodyPr wrap="square" lIns="179259" tIns="143407" rIns="179259" bIns="143407" rtlCol="0" anchor="ctr" anchorCtr="0">
            <a:spAutoFit/>
          </a:bodyPr>
          <a:lstStyle>
            <a:defPPr>
              <a:defRPr lang="en-US"/>
            </a:defPPr>
            <a:lvl1pPr marR="0" lvl="0" indent="0" defTabSz="914400" fontAlgn="auto">
              <a:lnSpc>
                <a:spcPct val="90000"/>
              </a:lnSpc>
              <a:spcBef>
                <a:spcPct val="0"/>
              </a:spcBef>
              <a:spcAft>
                <a:spcPts val="600"/>
              </a:spcAft>
              <a:buClrTx/>
              <a:buSzTx/>
              <a:buFontTx/>
              <a:buNone/>
              <a:tabLst/>
              <a:defRPr kumimoji="0" sz="1600" b="1" i="0" u="none" strike="noStrike" kern="0" cap="none" spc="50" normalizeH="0" baseline="0">
                <a:ln w="3175">
                  <a:noFill/>
                </a:ln>
                <a:gradFill>
                  <a:gsLst>
                    <a:gs pos="17424">
                      <a:schemeClr val="accent3"/>
                    </a:gs>
                    <a:gs pos="61000">
                      <a:schemeClr val="accent3"/>
                    </a:gs>
                  </a:gsLst>
                  <a:lin ang="5400000" scaled="1"/>
                </a:gradFill>
                <a:effectLst/>
                <a:uLnTx/>
                <a:uFillTx/>
                <a:latin typeface="Segoe UI"/>
                <a:cs typeface="Segoe UI Semibold" panose="020B0702040204020203" pitchFamily="34" charset="0"/>
              </a:defRPr>
            </a:lvl1pPr>
          </a:lstStyle>
          <a:p>
            <a:pPr marL="0" marR="0" lvl="0" indent="0" algn="l" defTabSz="914367" rtl="0" eaLnBrk="1" fontAlgn="auto" latinLnBrk="0" hangingPunct="1">
              <a:lnSpc>
                <a:spcPct val="90000"/>
              </a:lnSpc>
              <a:spcBef>
                <a:spcPts val="196"/>
              </a:spcBef>
              <a:spcAft>
                <a:spcPts val="0"/>
              </a:spcAft>
              <a:buClrTx/>
              <a:buSzTx/>
              <a:buFontTx/>
              <a:buNone/>
              <a:tabLst/>
              <a:defRPr/>
            </a:pPr>
            <a:r>
              <a:rPr kumimoji="0" lang="en-US" sz="2800" b="0" i="0" u="none" strike="noStrike" kern="0" cap="none" spc="0" normalizeH="0" baseline="0" noProof="0" dirty="0">
                <a:ln w="3175">
                  <a:noFill/>
                </a:ln>
                <a:gradFill>
                  <a:gsLst>
                    <a:gs pos="5195">
                      <a:prstClr val="white"/>
                    </a:gs>
                    <a:gs pos="18000">
                      <a:prstClr val="white"/>
                    </a:gs>
                  </a:gsLst>
                  <a:lin ang="5400000" scaled="1"/>
                </a:gradFill>
                <a:effectLst/>
                <a:uLnTx/>
                <a:uFillTx/>
                <a:latin typeface="Segoe UI Semilight" charset="0"/>
                <a:ea typeface="Segoe UI Semilight" charset="0"/>
                <a:cs typeface="Segoe UI Semilight" charset="0"/>
              </a:rPr>
              <a:t>Image Processing</a:t>
            </a:r>
          </a:p>
          <a:p>
            <a:pPr marL="0" marR="0" lvl="0" indent="0" algn="l" defTabSz="914367" rtl="0" eaLnBrk="1" fontAlgn="auto" latinLnBrk="0" hangingPunct="1">
              <a:lnSpc>
                <a:spcPct val="90000"/>
              </a:lnSpc>
              <a:spcBef>
                <a:spcPts val="196"/>
              </a:spcBef>
              <a:spcAft>
                <a:spcPts val="0"/>
              </a:spcAft>
              <a:buClrTx/>
              <a:buSzTx/>
              <a:buFontTx/>
              <a:buNone/>
              <a:tabLst/>
              <a:defRPr/>
            </a:pPr>
            <a:r>
              <a:rPr kumimoji="0" lang="en-US" sz="1600" b="0" i="0" u="none" strike="noStrike" kern="0" cap="none" spc="0" normalizeH="0" baseline="0" noProof="0" dirty="0">
                <a:ln w="3175">
                  <a:noFill/>
                </a:ln>
                <a:solidFill>
                  <a:srgbClr val="FFFFFF"/>
                </a:solidFill>
                <a:effectLst/>
                <a:uLnTx/>
                <a:uFillTx/>
                <a:latin typeface="Segoe UI Semilight" charset="0"/>
                <a:ea typeface="Segoe UI Semilight" charset="0"/>
                <a:cs typeface="Segoe UI Semilight" charset="0"/>
              </a:rPr>
              <a:t>Face Detection</a:t>
            </a:r>
            <a:br>
              <a:rPr kumimoji="0" lang="en-US" sz="1600" b="0" i="0" u="none" strike="noStrike" kern="0" cap="none" spc="0" normalizeH="0" baseline="0" noProof="0" dirty="0">
                <a:ln w="3175">
                  <a:noFill/>
                </a:ln>
                <a:solidFill>
                  <a:srgbClr val="FFFFFF"/>
                </a:solidFill>
                <a:effectLst/>
                <a:uLnTx/>
                <a:uFillTx/>
                <a:latin typeface="Segoe UI Semilight" charset="0"/>
                <a:ea typeface="Segoe UI Semilight" charset="0"/>
                <a:cs typeface="Segoe UI Semilight" charset="0"/>
              </a:rPr>
            </a:br>
            <a:r>
              <a:rPr kumimoji="0" lang="en-US" sz="1600" b="0" i="0" u="none" strike="noStrike" kern="0" cap="none" spc="0" normalizeH="0" baseline="0" noProof="0" dirty="0">
                <a:ln w="3175">
                  <a:noFill/>
                </a:ln>
                <a:solidFill>
                  <a:srgbClr val="FFFFFF"/>
                </a:solidFill>
                <a:effectLst/>
                <a:uLnTx/>
                <a:uFillTx/>
                <a:latin typeface="Segoe UI Semilight" charset="0"/>
                <a:ea typeface="Segoe UI Semilight" charset="0"/>
                <a:cs typeface="Segoe UI Semilight" charset="0"/>
              </a:rPr>
              <a:t>Tag Extraction</a:t>
            </a:r>
            <a:br>
              <a:rPr kumimoji="0" lang="en-US" sz="1600" b="0" i="0" u="none" strike="noStrike" kern="0" cap="none" spc="0" normalizeH="0" baseline="0" noProof="0" dirty="0">
                <a:ln w="3175">
                  <a:noFill/>
                </a:ln>
                <a:solidFill>
                  <a:srgbClr val="FFFFFF"/>
                </a:solidFill>
                <a:effectLst/>
                <a:uLnTx/>
                <a:uFillTx/>
                <a:latin typeface="Segoe UI Semilight" charset="0"/>
                <a:ea typeface="Segoe UI Semilight" charset="0"/>
                <a:cs typeface="Segoe UI Semilight" charset="0"/>
              </a:rPr>
            </a:br>
            <a:r>
              <a:rPr kumimoji="0" lang="en-US" sz="1600" b="0" i="0" u="none" strike="noStrike" kern="0" cap="none" spc="0" normalizeH="0" baseline="0" noProof="0" dirty="0">
                <a:ln w="3175">
                  <a:noFill/>
                </a:ln>
                <a:solidFill>
                  <a:srgbClr val="FFFFFF"/>
                </a:solidFill>
                <a:effectLst/>
                <a:uLnTx/>
                <a:uFillTx/>
                <a:latin typeface="Segoe UI Semilight" charset="0"/>
                <a:ea typeface="Segoe UI Semilight" charset="0"/>
                <a:cs typeface="Segoe UI Semilight" charset="0"/>
              </a:rPr>
              <a:t>Celebrity Recognition</a:t>
            </a:r>
            <a:br>
              <a:rPr kumimoji="0" lang="en-US" sz="1600" b="0" i="0" u="none" strike="noStrike" kern="0" cap="none" spc="0" normalizeH="0" baseline="0" noProof="0" dirty="0">
                <a:ln w="3175">
                  <a:noFill/>
                </a:ln>
                <a:solidFill>
                  <a:srgbClr val="FFFFFF"/>
                </a:solidFill>
                <a:effectLst/>
                <a:uLnTx/>
                <a:uFillTx/>
                <a:latin typeface="Segoe UI Semilight" charset="0"/>
                <a:ea typeface="Segoe UI Semilight" charset="0"/>
                <a:cs typeface="Segoe UI Semilight" charset="0"/>
              </a:rPr>
            </a:br>
            <a:r>
              <a:rPr kumimoji="0" lang="en-US" sz="1600" b="0" i="0" u="none" strike="noStrike" kern="0" cap="none" spc="0" normalizeH="0" baseline="0" noProof="0" dirty="0">
                <a:ln w="3175">
                  <a:noFill/>
                </a:ln>
                <a:solidFill>
                  <a:srgbClr val="FFFFFF"/>
                </a:solidFill>
                <a:effectLst/>
                <a:uLnTx/>
                <a:uFillTx/>
                <a:latin typeface="Segoe UI Semilight" charset="0"/>
                <a:ea typeface="Segoe UI Semilight" charset="0"/>
                <a:cs typeface="Segoe UI Semilight" charset="0"/>
              </a:rPr>
              <a:t>Landmark Detection</a:t>
            </a:r>
            <a:br>
              <a:rPr kumimoji="0" lang="en-US" sz="1600" b="0" i="0" u="none" strike="noStrike" kern="0" cap="none" spc="0" normalizeH="0" baseline="0" noProof="0" dirty="0">
                <a:ln w="3175">
                  <a:noFill/>
                </a:ln>
                <a:solidFill>
                  <a:srgbClr val="FFFFFF"/>
                </a:solidFill>
                <a:effectLst/>
                <a:uLnTx/>
                <a:uFillTx/>
                <a:latin typeface="Segoe UI Semilight" charset="0"/>
                <a:ea typeface="Segoe UI Semilight" charset="0"/>
                <a:cs typeface="Segoe UI Semilight" charset="0"/>
              </a:rPr>
            </a:br>
            <a:r>
              <a:rPr kumimoji="0" lang="en-US" sz="1600" b="0" i="0" u="none" strike="noStrike" kern="0" cap="none" spc="0" normalizeH="0" baseline="0" noProof="0" dirty="0">
                <a:ln w="3175">
                  <a:noFill/>
                </a:ln>
                <a:solidFill>
                  <a:srgbClr val="FFFFFF"/>
                </a:solidFill>
                <a:effectLst/>
                <a:uLnTx/>
                <a:uFillTx/>
                <a:latin typeface="Segoe UI Semilight" charset="0"/>
                <a:ea typeface="Segoe UI Semilight" charset="0"/>
                <a:cs typeface="Segoe UI Semilight" charset="0"/>
              </a:rPr>
              <a:t>Handwriting Recognition (Preview)</a:t>
            </a:r>
            <a:br>
              <a:rPr kumimoji="0" lang="en-US" sz="1600" b="0" i="0" u="none" strike="noStrike" kern="0" cap="none" spc="0" normalizeH="0" baseline="0" noProof="0" dirty="0">
                <a:ln w="3175">
                  <a:noFill/>
                </a:ln>
                <a:solidFill>
                  <a:srgbClr val="FFFFFF"/>
                </a:solidFill>
                <a:effectLst/>
                <a:uLnTx/>
                <a:uFillTx/>
                <a:latin typeface="Segoe UI Semilight" charset="0"/>
                <a:ea typeface="Segoe UI Semilight" charset="0"/>
                <a:cs typeface="Segoe UI Semilight" charset="0"/>
              </a:rPr>
            </a:br>
            <a:r>
              <a:rPr kumimoji="0" lang="en-US" sz="1600" b="0" i="0" u="none" strike="noStrike" kern="0" cap="none" spc="0" normalizeH="0" baseline="0" noProof="0" dirty="0">
                <a:ln w="3175">
                  <a:noFill/>
                </a:ln>
                <a:solidFill>
                  <a:srgbClr val="FFFFFF"/>
                </a:solidFill>
                <a:effectLst/>
                <a:uLnTx/>
                <a:uFillTx/>
                <a:latin typeface="Segoe UI Semilight" charset="0"/>
                <a:ea typeface="Segoe UI Semilight" charset="0"/>
                <a:cs typeface="Segoe UI Semilight" charset="0"/>
              </a:rPr>
              <a:t>Printed Text Recognition</a:t>
            </a:r>
            <a:br>
              <a:rPr kumimoji="0" lang="en-US" sz="1600" b="0" i="0" u="none" strike="noStrike" kern="0" cap="none" spc="0" normalizeH="0" baseline="0" noProof="0" dirty="0">
                <a:ln w="3175">
                  <a:noFill/>
                </a:ln>
                <a:solidFill>
                  <a:srgbClr val="FFFFFF"/>
                </a:solidFill>
                <a:effectLst/>
                <a:uLnTx/>
                <a:uFillTx/>
                <a:latin typeface="Segoe UI Semilight" charset="0"/>
                <a:ea typeface="Segoe UI Semilight" charset="0"/>
                <a:cs typeface="Segoe UI Semilight" charset="0"/>
              </a:rPr>
            </a:br>
            <a:endParaRPr kumimoji="0" lang="en-US" sz="1600" b="0" i="0" u="none" strike="noStrike" kern="0" cap="none" spc="0" normalizeH="0" baseline="0" noProof="0" dirty="0">
              <a:ln w="3175">
                <a:noFill/>
              </a:ln>
              <a:solidFill>
                <a:srgbClr val="FFFFFF"/>
              </a:solidFill>
              <a:effectLst/>
              <a:uLnTx/>
              <a:uFillTx/>
              <a:latin typeface="Segoe UI Semilight" charset="0"/>
              <a:ea typeface="Segoe UI Semilight" charset="0"/>
              <a:cs typeface="Segoe UI Semilight" charset="0"/>
            </a:endParaRPr>
          </a:p>
        </p:txBody>
      </p:sp>
      <p:sp>
        <p:nvSpPr>
          <p:cNvPr id="32" name="Oval 7">
            <a:extLst>
              <a:ext uri="{FF2B5EF4-FFF2-40B4-BE49-F238E27FC236}">
                <a16:creationId xmlns:a16="http://schemas.microsoft.com/office/drawing/2014/main" id="{6CB8CDF0-EAF9-4660-B664-65DCE7AD037C}"/>
              </a:ext>
            </a:extLst>
          </p:cNvPr>
          <p:cNvSpPr/>
          <p:nvPr/>
        </p:nvSpPr>
        <p:spPr bwMode="auto">
          <a:xfrm>
            <a:off x="6633607" y="3232685"/>
            <a:ext cx="982787" cy="982786"/>
          </a:xfrm>
          <a:prstGeom prst="ellipse">
            <a:avLst/>
          </a:prstGeom>
          <a:solidFill>
            <a:srgbClr val="0078D7"/>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ctr"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 name="Group 33">
            <a:extLst>
              <a:ext uri="{FF2B5EF4-FFF2-40B4-BE49-F238E27FC236}">
                <a16:creationId xmlns:a16="http://schemas.microsoft.com/office/drawing/2014/main" id="{EA38B884-B1CA-4FEC-B688-519796856771}"/>
              </a:ext>
            </a:extLst>
          </p:cNvPr>
          <p:cNvGrpSpPr/>
          <p:nvPr/>
        </p:nvGrpSpPr>
        <p:grpSpPr>
          <a:xfrm>
            <a:off x="6633607" y="4950351"/>
            <a:ext cx="5947660" cy="1589458"/>
            <a:chOff x="5531198" y="4744359"/>
            <a:chExt cx="5947660" cy="1589458"/>
          </a:xfrm>
        </p:grpSpPr>
        <p:sp>
          <p:nvSpPr>
            <p:cNvPr id="35" name="TextBox 34">
              <a:extLst>
                <a:ext uri="{FF2B5EF4-FFF2-40B4-BE49-F238E27FC236}">
                  <a16:creationId xmlns:a16="http://schemas.microsoft.com/office/drawing/2014/main" id="{AC9CD66B-4FCA-4E8A-9149-60FB48357413}"/>
                </a:ext>
              </a:extLst>
            </p:cNvPr>
            <p:cNvSpPr txBox="1"/>
            <p:nvPr/>
          </p:nvSpPr>
          <p:spPr>
            <a:xfrm>
              <a:off x="6607343" y="4744359"/>
              <a:ext cx="4871515" cy="1589458"/>
            </a:xfrm>
            <a:prstGeom prst="rect">
              <a:avLst/>
            </a:prstGeom>
            <a:noFill/>
            <a:ln>
              <a:noFill/>
            </a:ln>
          </p:spPr>
          <p:txBody>
            <a:bodyPr wrap="square" lIns="224106" tIns="143407" rIns="179285" bIns="143407" rtlCol="0" anchor="ctr" anchorCtr="0">
              <a:spAutoFit/>
            </a:bodyPr>
            <a:lstStyle>
              <a:defPPr>
                <a:defRPr lang="en-US"/>
              </a:defPPr>
              <a:lvl1pPr marR="0" lvl="0" indent="0" defTabSz="914400" fontAlgn="auto">
                <a:lnSpc>
                  <a:spcPct val="90000"/>
                </a:lnSpc>
                <a:spcBef>
                  <a:spcPct val="0"/>
                </a:spcBef>
                <a:spcAft>
                  <a:spcPts val="600"/>
                </a:spcAft>
                <a:buClrTx/>
                <a:buSzTx/>
                <a:buFontTx/>
                <a:buNone/>
                <a:tabLst/>
                <a:defRPr kumimoji="0" sz="1600" b="1" i="0" u="none" strike="noStrike" kern="0" cap="none" spc="50" normalizeH="0" baseline="0">
                  <a:ln w="3175">
                    <a:noFill/>
                  </a:ln>
                  <a:gradFill>
                    <a:gsLst>
                      <a:gs pos="17424">
                        <a:schemeClr val="accent3"/>
                      </a:gs>
                      <a:gs pos="61000">
                        <a:schemeClr val="accent3"/>
                      </a:gs>
                    </a:gsLst>
                    <a:lin ang="5400000" scaled="1"/>
                  </a:gradFill>
                  <a:effectLst/>
                  <a:uLnTx/>
                  <a:uFillTx/>
                  <a:latin typeface="Segoe UI"/>
                  <a:cs typeface="Segoe UI Semibold" panose="020B0702040204020203" pitchFamily="34" charset="0"/>
                </a:defRPr>
              </a:lvl1pPr>
            </a:lstStyle>
            <a:p>
              <a:pPr marL="0" marR="0" lvl="0" indent="0" algn="l" defTabSz="914367" rtl="0" eaLnBrk="1" fontAlgn="auto" latinLnBrk="0" hangingPunct="1">
                <a:lnSpc>
                  <a:spcPct val="90000"/>
                </a:lnSpc>
                <a:spcBef>
                  <a:spcPts val="196"/>
                </a:spcBef>
                <a:spcAft>
                  <a:spcPts val="0"/>
                </a:spcAft>
                <a:buClrTx/>
                <a:buSzTx/>
                <a:buFontTx/>
                <a:buNone/>
                <a:tabLst/>
                <a:defRPr/>
              </a:pPr>
              <a:r>
                <a:rPr kumimoji="0" lang="en-US" sz="2800" b="0" i="0" u="none" strike="noStrike" kern="0" cap="none" spc="0" normalizeH="0" baseline="0" noProof="0" dirty="0">
                  <a:ln w="3175">
                    <a:noFill/>
                  </a:ln>
                  <a:gradFill>
                    <a:gsLst>
                      <a:gs pos="5195">
                        <a:prstClr val="white"/>
                      </a:gs>
                      <a:gs pos="18000">
                        <a:prstClr val="white"/>
                      </a:gs>
                    </a:gsLst>
                    <a:lin ang="5400000" scaled="1"/>
                  </a:gradFill>
                  <a:effectLst/>
                  <a:uLnTx/>
                  <a:uFillTx/>
                  <a:latin typeface="Segoe UI Semilight" charset="0"/>
                  <a:ea typeface="Segoe UI Semilight" charset="0"/>
                  <a:cs typeface="Segoe UI Semilight" charset="0"/>
                </a:rPr>
                <a:t>Utilities</a:t>
              </a:r>
            </a:p>
            <a:p>
              <a:pPr marL="0" marR="0" lvl="0" indent="0" algn="l" defTabSz="914367" rtl="0" eaLnBrk="1" fontAlgn="auto" latinLnBrk="0" hangingPunct="1">
                <a:lnSpc>
                  <a:spcPct val="90000"/>
                </a:lnSpc>
                <a:spcBef>
                  <a:spcPts val="196"/>
                </a:spcBef>
                <a:spcAft>
                  <a:spcPts val="0"/>
                </a:spcAft>
                <a:buClrTx/>
                <a:buSzTx/>
                <a:buFontTx/>
                <a:buNone/>
                <a:tabLst/>
                <a:defRPr/>
              </a:pPr>
              <a:r>
                <a:rPr kumimoji="0" lang="en-US" sz="1600" b="0" i="0" u="none" strike="noStrike" kern="0" cap="none" spc="0" normalizeH="0" baseline="0" noProof="0" dirty="0">
                  <a:ln w="3175">
                    <a:noFill/>
                  </a:ln>
                  <a:gradFill>
                    <a:gsLst>
                      <a:gs pos="5195">
                        <a:prstClr val="white"/>
                      </a:gs>
                      <a:gs pos="18000">
                        <a:prstClr val="white"/>
                      </a:gs>
                    </a:gsLst>
                    <a:lin ang="5400000" scaled="1"/>
                  </a:gradFill>
                  <a:effectLst/>
                  <a:uLnTx/>
                  <a:uFillTx/>
                  <a:latin typeface="Segoe UI Semilight" charset="0"/>
                  <a:ea typeface="Segoe UI Semilight" charset="0"/>
                  <a:cs typeface="Segoe UI Semilight" charset="0"/>
                </a:rPr>
                <a:t>Complex Type Shaping</a:t>
              </a:r>
              <a:br>
                <a:rPr kumimoji="0" lang="en-US" sz="1600" b="0" i="0" u="none" strike="noStrike" kern="0" cap="none" spc="0" normalizeH="0" baseline="0" noProof="0" dirty="0">
                  <a:ln w="3175">
                    <a:noFill/>
                  </a:ln>
                  <a:gradFill>
                    <a:gsLst>
                      <a:gs pos="5195">
                        <a:prstClr val="white"/>
                      </a:gs>
                      <a:gs pos="18000">
                        <a:prstClr val="white"/>
                      </a:gs>
                    </a:gsLst>
                    <a:lin ang="5400000" scaled="1"/>
                  </a:gradFill>
                  <a:effectLst/>
                  <a:uLnTx/>
                  <a:uFillTx/>
                  <a:latin typeface="Segoe UI Semilight" charset="0"/>
                  <a:ea typeface="Segoe UI Semilight" charset="0"/>
                  <a:cs typeface="Segoe UI Semilight" charset="0"/>
                </a:rPr>
              </a:br>
              <a:r>
                <a:rPr kumimoji="0" lang="en-US" sz="1600" b="0" i="0" u="none" strike="noStrike" kern="0" cap="none" spc="0" normalizeH="0" baseline="0" noProof="0" dirty="0">
                  <a:ln w="3175">
                    <a:noFill/>
                  </a:ln>
                  <a:gradFill>
                    <a:gsLst>
                      <a:gs pos="5195">
                        <a:prstClr val="white"/>
                      </a:gs>
                      <a:gs pos="18000">
                        <a:prstClr val="white"/>
                      </a:gs>
                    </a:gsLst>
                    <a:lin ang="5400000" scaled="1"/>
                  </a:gradFill>
                  <a:effectLst/>
                  <a:uLnTx/>
                  <a:uFillTx/>
                  <a:latin typeface="Segoe UI Semilight" charset="0"/>
                  <a:ea typeface="Segoe UI Semilight" charset="0"/>
                  <a:cs typeface="Segoe UI Semilight" charset="0"/>
                </a:rPr>
                <a:t>Text Merging</a:t>
              </a:r>
              <a:br>
                <a:rPr kumimoji="0" lang="en-US" sz="1600" b="0" i="0" u="none" strike="noStrike" kern="0" cap="none" spc="0" normalizeH="0" baseline="0" noProof="0" dirty="0">
                  <a:ln w="3175">
                    <a:noFill/>
                  </a:ln>
                  <a:gradFill>
                    <a:gsLst>
                      <a:gs pos="5195">
                        <a:prstClr val="white"/>
                      </a:gs>
                      <a:gs pos="18000">
                        <a:prstClr val="white"/>
                      </a:gs>
                    </a:gsLst>
                    <a:lin ang="5400000" scaled="1"/>
                  </a:gradFill>
                  <a:effectLst/>
                  <a:uLnTx/>
                  <a:uFillTx/>
                  <a:latin typeface="Segoe UI Semilight" charset="0"/>
                  <a:ea typeface="Segoe UI Semilight" charset="0"/>
                  <a:cs typeface="Segoe UI Semilight" charset="0"/>
                </a:rPr>
              </a:br>
              <a:r>
                <a:rPr kumimoji="0" lang="en-US" sz="1600" b="0" i="0" u="none" strike="noStrike" kern="0" cap="none" spc="0" normalizeH="0" baseline="0" noProof="0" dirty="0">
                  <a:ln w="3175">
                    <a:noFill/>
                  </a:ln>
                  <a:gradFill>
                    <a:gsLst>
                      <a:gs pos="5195">
                        <a:prstClr val="white"/>
                      </a:gs>
                      <a:gs pos="18000">
                        <a:prstClr val="white"/>
                      </a:gs>
                    </a:gsLst>
                    <a:lin ang="5400000" scaled="1"/>
                  </a:gradFill>
                  <a:effectLst/>
                  <a:uLnTx/>
                  <a:uFillTx/>
                  <a:latin typeface="Segoe UI Semilight" charset="0"/>
                  <a:ea typeface="Segoe UI Semilight" charset="0"/>
                  <a:cs typeface="Segoe UI Semilight" charset="0"/>
                </a:rPr>
                <a:t>Text Splitting</a:t>
              </a:r>
              <a:br>
                <a:rPr kumimoji="0" lang="en-US" sz="1600" b="0" i="0" u="none" strike="noStrike" kern="0" cap="none" spc="0" normalizeH="0" baseline="0" noProof="0" dirty="0">
                  <a:ln w="3175">
                    <a:noFill/>
                  </a:ln>
                  <a:gradFill>
                    <a:gsLst>
                      <a:gs pos="5195">
                        <a:prstClr val="white"/>
                      </a:gs>
                      <a:gs pos="18000">
                        <a:prstClr val="white"/>
                      </a:gs>
                    </a:gsLst>
                    <a:lin ang="5400000" scaled="1"/>
                  </a:gradFill>
                  <a:effectLst/>
                  <a:uLnTx/>
                  <a:uFillTx/>
                  <a:latin typeface="Segoe UI Semilight" charset="0"/>
                  <a:ea typeface="Segoe UI Semilight" charset="0"/>
                  <a:cs typeface="Segoe UI Semilight" charset="0"/>
                </a:rPr>
              </a:br>
              <a:endParaRPr kumimoji="0" lang="en-US" sz="1600" b="0" i="0" u="none" strike="noStrike" kern="0" cap="none" spc="0" normalizeH="0" baseline="0" noProof="0" dirty="0">
                <a:ln w="3175">
                  <a:noFill/>
                </a:ln>
                <a:solidFill>
                  <a:srgbClr val="FFFFFF"/>
                </a:solidFill>
                <a:effectLst/>
                <a:uLnTx/>
                <a:uFillTx/>
                <a:latin typeface="Segoe UI Semilight" charset="0"/>
                <a:ea typeface="Segoe UI Semilight" charset="0"/>
                <a:cs typeface="Segoe UI Semilight" charset="0"/>
              </a:endParaRPr>
            </a:p>
          </p:txBody>
        </p:sp>
        <p:sp>
          <p:nvSpPr>
            <p:cNvPr id="37" name="Oval 36">
              <a:extLst>
                <a:ext uri="{FF2B5EF4-FFF2-40B4-BE49-F238E27FC236}">
                  <a16:creationId xmlns:a16="http://schemas.microsoft.com/office/drawing/2014/main" id="{15C475F5-7D1F-48F7-8B1A-3BE03161538B}"/>
                </a:ext>
              </a:extLst>
            </p:cNvPr>
            <p:cNvSpPr/>
            <p:nvPr/>
          </p:nvSpPr>
          <p:spPr bwMode="auto">
            <a:xfrm>
              <a:off x="5531198" y="4965029"/>
              <a:ext cx="982786" cy="982785"/>
            </a:xfrm>
            <a:prstGeom prst="ellipse">
              <a:avLst/>
            </a:prstGeom>
            <a:solidFill>
              <a:srgbClr val="0078D7"/>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ctr"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Eye" title="Icon of an eye">
            <a:extLst>
              <a:ext uri="{FF2B5EF4-FFF2-40B4-BE49-F238E27FC236}">
                <a16:creationId xmlns:a16="http://schemas.microsoft.com/office/drawing/2014/main" id="{C1B97AC6-5457-4730-8BC7-CF52A005DEED}"/>
              </a:ext>
            </a:extLst>
          </p:cNvPr>
          <p:cNvSpPr>
            <a:spLocks noChangeAspect="1" noEditPoints="1"/>
          </p:cNvSpPr>
          <p:nvPr/>
        </p:nvSpPr>
        <p:spPr bwMode="auto">
          <a:xfrm>
            <a:off x="6823374" y="3560949"/>
            <a:ext cx="590918" cy="326257"/>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28575" cap="sq">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 name="Freeform 96" title="Icon of a gear with a wrench">
            <a:extLst>
              <a:ext uri="{FF2B5EF4-FFF2-40B4-BE49-F238E27FC236}">
                <a16:creationId xmlns:a16="http://schemas.microsoft.com/office/drawing/2014/main" id="{3E5F02F5-00B5-49B5-9BA8-2A66125D84A5}"/>
              </a:ext>
            </a:extLst>
          </p:cNvPr>
          <p:cNvSpPr>
            <a:spLocks noChangeAspect="1" noEditPoints="1"/>
          </p:cNvSpPr>
          <p:nvPr/>
        </p:nvSpPr>
        <p:spPr bwMode="auto">
          <a:xfrm>
            <a:off x="6913858" y="5429605"/>
            <a:ext cx="487177" cy="44857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1731885062"/>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0285" y="174625"/>
            <a:ext cx="10515600" cy="1325563"/>
          </a:xfrm>
        </p:spPr>
        <p:txBody>
          <a:bodyPr>
            <a:normAutofit/>
          </a:bodyPr>
          <a:lstStyle/>
          <a:p>
            <a:r>
              <a:rPr lang="en-US" dirty="0">
                <a:latin typeface="Segoe UI Light" panose="020B0502040204020203" pitchFamily="34" charset="0"/>
                <a:cs typeface="Segoe UI Light" panose="020B0502040204020203" pitchFamily="34" charset="0"/>
              </a:rPr>
              <a:t>Challenge</a:t>
            </a:r>
            <a:r>
              <a:rPr lang="en-US" sz="4400" dirty="0">
                <a:solidFill>
                  <a:schemeClr val="tx1"/>
                </a:solidFill>
                <a:latin typeface="Segoe UI Light" panose="020B0502040204020203" pitchFamily="34" charset="0"/>
                <a:cs typeface="Segoe UI Light" panose="020B0502040204020203" pitchFamily="34" charset="0"/>
              </a:rPr>
              <a:t> 9: Improve Quality and Performance of Search</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1945148"/>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Search is improved and able to scale and pick up new words.</a:t>
            </a:r>
          </a:p>
          <a:p>
            <a:pPr>
              <a:lnSpc>
                <a:spcPct val="90000"/>
              </a:lnSpc>
              <a:spcAft>
                <a:spcPts val="600"/>
              </a:spcAft>
            </a:pPr>
            <a:endParaRPr lang="en-US" sz="2400" dirty="0"/>
          </a:p>
        </p:txBody>
      </p:sp>
      <p:sp>
        <p:nvSpPr>
          <p:cNvPr id="4" name="Rectangle 3">
            <a:extLst>
              <a:ext uri="{FF2B5EF4-FFF2-40B4-BE49-F238E27FC236}">
                <a16:creationId xmlns:a16="http://schemas.microsoft.com/office/drawing/2014/main" id="{67775FBC-7D49-A342-AA7B-186461EC2481}"/>
              </a:ext>
            </a:extLst>
          </p:cNvPr>
          <p:cNvSpPr/>
          <p:nvPr/>
        </p:nvSpPr>
        <p:spPr>
          <a:xfrm>
            <a:off x="7815042" y="4528412"/>
            <a:ext cx="4110038" cy="2200602"/>
          </a:xfrm>
          <a:prstGeom prst="rect">
            <a:avLst/>
          </a:prstGeom>
        </p:spPr>
        <p:txBody>
          <a:bodyPr wrap="square">
            <a:spAutoFit/>
          </a:bodyPr>
          <a:lstStyle/>
          <a:p>
            <a:pPr marR="288290">
              <a:spcBef>
                <a:spcPts val="600"/>
              </a:spcBef>
            </a:pPr>
            <a:r>
              <a:rPr lang="en-US" sz="2400" dirty="0">
                <a:ea typeface="Segoe UI"/>
                <a:cs typeface="Segoe UI"/>
              </a:rPr>
              <a:t>Default Accounts</a:t>
            </a:r>
          </a:p>
          <a:p>
            <a:pPr marR="288290">
              <a:spcBef>
                <a:spcPts val="600"/>
              </a:spcBef>
            </a:pPr>
            <a:r>
              <a:rPr lang="en-US" dirty="0">
                <a:ea typeface="Segoe UI"/>
                <a:cs typeface="Segoe UI"/>
              </a:rPr>
              <a:t>Admin User Name: sysadmin</a:t>
            </a:r>
            <a:br>
              <a:rPr lang="en-US" dirty="0">
                <a:ea typeface="Segoe UI"/>
                <a:cs typeface="Segoe UI"/>
              </a:rPr>
            </a:br>
            <a:r>
              <a:rPr lang="en-US" dirty="0">
                <a:ea typeface="Segoe UI"/>
                <a:cs typeface="Segoe UI"/>
              </a:rPr>
              <a:t>Admin User Password: Password$123</a:t>
            </a:r>
          </a:p>
          <a:p>
            <a:pPr marR="288290"/>
            <a:r>
              <a:rPr lang="en-US" dirty="0" err="1">
                <a:ea typeface="Segoe UI"/>
                <a:cs typeface="Segoe UI"/>
              </a:rPr>
              <a:t>db</a:t>
            </a:r>
            <a:r>
              <a:rPr lang="en-US" dirty="0">
                <a:ea typeface="Segoe UI"/>
                <a:cs typeface="Segoe UI"/>
              </a:rPr>
              <a:t> Login Name: </a:t>
            </a:r>
            <a:r>
              <a:rPr lang="en-US" dirty="0" err="1">
                <a:ea typeface="Segoe UI"/>
                <a:cs typeface="Segoe UI"/>
              </a:rPr>
              <a:t>workshopServiceAcc</a:t>
            </a:r>
            <a:br>
              <a:rPr lang="en-US" dirty="0">
                <a:ea typeface="Segoe UI"/>
                <a:cs typeface="Segoe UI"/>
              </a:rPr>
            </a:br>
            <a:r>
              <a:rPr lang="en-US" dirty="0" err="1">
                <a:ea typeface="Segoe UI"/>
                <a:cs typeface="Segoe UI"/>
              </a:rPr>
              <a:t>db</a:t>
            </a:r>
            <a:r>
              <a:rPr lang="en-US" dirty="0">
                <a:ea typeface="Segoe UI"/>
                <a:cs typeface="Segoe UI"/>
              </a:rPr>
              <a:t> User Name: </a:t>
            </a:r>
            <a:r>
              <a:rPr lang="en-US" dirty="0" err="1">
                <a:ea typeface="Segoe UI"/>
                <a:cs typeface="Segoe UI"/>
              </a:rPr>
              <a:t>workshopServiceAcc</a:t>
            </a:r>
            <a:br>
              <a:rPr lang="en-US" dirty="0">
                <a:ea typeface="Segoe UI"/>
                <a:cs typeface="Segoe UI"/>
              </a:rPr>
            </a:br>
            <a:r>
              <a:rPr lang="en-US" dirty="0" err="1">
                <a:ea typeface="Segoe UI"/>
                <a:cs typeface="Segoe UI"/>
              </a:rPr>
              <a:t>db</a:t>
            </a:r>
            <a:r>
              <a:rPr lang="en-US" dirty="0">
                <a:ea typeface="Segoe UI"/>
                <a:cs typeface="Segoe UI"/>
              </a:rPr>
              <a:t> User Password: P2ssw0rd</a:t>
            </a:r>
          </a:p>
          <a:p>
            <a:pPr marR="288290">
              <a:spcAft>
                <a:spcPts val="600"/>
              </a:spcAft>
            </a:pPr>
            <a:r>
              <a:rPr lang="en-US" dirty="0">
                <a:ea typeface="Segoe UI"/>
                <a:cs typeface="Segoe UI"/>
              </a:rPr>
              <a:t>Database Name: </a:t>
            </a:r>
            <a:r>
              <a:rPr lang="en-US" dirty="0" err="1">
                <a:ea typeface="Segoe UI"/>
                <a:cs typeface="Segoe UI"/>
              </a:rPr>
              <a:t>partsUnlimitedDB</a:t>
            </a:r>
            <a:endParaRPr lang="en-US" dirty="0">
              <a:ea typeface="Segoe UI"/>
              <a:cs typeface="Segoe UI"/>
            </a:endParaRPr>
          </a:p>
        </p:txBody>
      </p:sp>
      <p:sp>
        <p:nvSpPr>
          <p:cNvPr id="3" name="Rectangle 2">
            <a:extLst>
              <a:ext uri="{FF2B5EF4-FFF2-40B4-BE49-F238E27FC236}">
                <a16:creationId xmlns:a16="http://schemas.microsoft.com/office/drawing/2014/main" id="{6EDA01DC-A258-6F44-8953-E0CE47A6638D}"/>
              </a:ext>
            </a:extLst>
          </p:cNvPr>
          <p:cNvSpPr/>
          <p:nvPr/>
        </p:nvSpPr>
        <p:spPr>
          <a:xfrm>
            <a:off x="340285" y="4528412"/>
            <a:ext cx="4741554" cy="369332"/>
          </a:xfrm>
          <a:prstGeom prst="rect">
            <a:avLst/>
          </a:prstGeom>
        </p:spPr>
        <p:txBody>
          <a:bodyPr wrap="none">
            <a:spAutoFit/>
          </a:bodyPr>
          <a:lstStyle/>
          <a:p>
            <a:r>
              <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3"/>
              </a:rPr>
              <a:t>https://docs.microsoft.com/en-us/azure/search/</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4042455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2C4BFA1-2075-4901-9E24-E41D1FDD51F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55481" y="498348"/>
            <a:ext cx="9902663" cy="5861304"/>
            <a:chOff x="1155481" y="498348"/>
            <a:chExt cx="9902663" cy="5861304"/>
          </a:xfrm>
        </p:grpSpPr>
        <p:sp>
          <p:nvSpPr>
            <p:cNvPr id="8" name="Oval 5">
              <a:extLst>
                <a:ext uri="{FF2B5EF4-FFF2-40B4-BE49-F238E27FC236}">
                  <a16:creationId xmlns:a16="http://schemas.microsoft.com/office/drawing/2014/main" id="{985A7375-E3AF-4F5C-85AE-17E8832952CA}"/>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1155481" y="498348"/>
              <a:ext cx="5861304" cy="5861304"/>
            </a:xfrm>
            <a:prstGeom prst="ellipse">
              <a:avLst/>
            </a:prstGeom>
            <a:solidFill>
              <a:schemeClr val="accent1">
                <a:alpha val="55000"/>
              </a:schemeClr>
            </a:solidFill>
            <a:ln>
              <a:noFill/>
            </a:ln>
          </p:spPr>
        </p:sp>
        <p:sp>
          <p:nvSpPr>
            <p:cNvPr id="9" name="Oval 8">
              <a:extLst>
                <a:ext uri="{FF2B5EF4-FFF2-40B4-BE49-F238E27FC236}">
                  <a16:creationId xmlns:a16="http://schemas.microsoft.com/office/drawing/2014/main" id="{F0307F65-8304-4FA8-A841-D4D7625411BE}"/>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5196840" y="498348"/>
              <a:ext cx="5861304" cy="5861304"/>
            </a:xfrm>
            <a:prstGeom prst="ellipse">
              <a:avLst/>
            </a:prstGeom>
            <a:solidFill>
              <a:schemeClr val="accent1">
                <a:alpha val="55000"/>
              </a:schemeClr>
            </a:solidFill>
            <a:ln>
              <a:noFill/>
            </a:ln>
          </p:spPr>
        </p:sp>
        <p:sp>
          <p:nvSpPr>
            <p:cNvPr id="10" name="Oval 5">
              <a:extLst>
                <a:ext uri="{FF2B5EF4-FFF2-40B4-BE49-F238E27FC236}">
                  <a16:creationId xmlns:a16="http://schemas.microsoft.com/office/drawing/2014/main" id="{C8B8394C-136F-4E05-A002-D93A5E79CD50}"/>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3165348" y="498348"/>
              <a:ext cx="5861304" cy="5861304"/>
            </a:xfrm>
            <a:prstGeom prst="ellipse">
              <a:avLst/>
            </a:prstGeom>
            <a:solidFill>
              <a:schemeClr val="accent1">
                <a:alpha val="70000"/>
              </a:schemeClr>
            </a:solidFill>
            <a:ln>
              <a:noFill/>
            </a:ln>
          </p:spPr>
        </p:sp>
      </p:grpSp>
      <p:sp>
        <p:nvSpPr>
          <p:cNvPr id="12" name="Rectangle 11">
            <a:extLst>
              <a:ext uri="{FF2B5EF4-FFF2-40B4-BE49-F238E27FC236}">
                <a16:creationId xmlns:a16="http://schemas.microsoft.com/office/drawing/2014/main" id="{053FB2EE-284F-4C87-AB3D-BBF87A9FAB9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514600"/>
            <a:ext cx="12192000" cy="182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524000" y="2776538"/>
            <a:ext cx="9144000" cy="1381188"/>
          </a:xfrm>
        </p:spPr>
        <p:txBody>
          <a:bodyPr vert="horz" lIns="91440" tIns="45720" rIns="91440" bIns="45720" rtlCol="0" anchor="ctr">
            <a:normAutofit/>
          </a:bodyPr>
          <a:lstStyle/>
          <a:p>
            <a:pPr algn="ctr"/>
            <a:r>
              <a:rPr lang="en-US" sz="4000" b="1" kern="1200">
                <a:solidFill>
                  <a:schemeClr val="bg2"/>
                </a:solidFill>
                <a:latin typeface="+mj-lt"/>
                <a:ea typeface="+mj-ea"/>
                <a:cs typeface="+mj-cs"/>
              </a:rPr>
              <a:t>Serverless Patterns </a:t>
            </a:r>
            <a:br>
              <a:rPr lang="en-US" sz="4000" b="1" kern="1200">
                <a:solidFill>
                  <a:schemeClr val="bg2"/>
                </a:solidFill>
                <a:latin typeface="+mj-lt"/>
                <a:ea typeface="+mj-ea"/>
                <a:cs typeface="+mj-cs"/>
              </a:rPr>
            </a:br>
            <a:r>
              <a:rPr lang="en-US" sz="4000" b="1" kern="1200">
                <a:solidFill>
                  <a:schemeClr val="bg2"/>
                </a:solidFill>
                <a:latin typeface="+mj-lt"/>
                <a:ea typeface="+mj-ea"/>
                <a:cs typeface="+mj-cs"/>
              </a:rPr>
              <a:t>with Azure Functions</a:t>
            </a:r>
            <a:endParaRPr lang="en-US" sz="4000" kern="1200">
              <a:solidFill>
                <a:schemeClr val="bg2"/>
              </a:solidFill>
              <a:latin typeface="+mj-lt"/>
              <a:ea typeface="+mj-ea"/>
              <a:cs typeface="+mj-cs"/>
            </a:endParaRPr>
          </a:p>
        </p:txBody>
      </p:sp>
    </p:spTree>
    <p:extLst>
      <p:ext uri="{BB962C8B-B14F-4D97-AF65-F5344CB8AC3E}">
        <p14:creationId xmlns:p14="http://schemas.microsoft.com/office/powerpoint/2010/main" val="295680665"/>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0" y="219369"/>
            <a:ext cx="10515600" cy="1325563"/>
          </a:xfrm>
        </p:spPr>
        <p:txBody>
          <a:bodyPr/>
          <a:lstStyle/>
          <a:p>
            <a:r>
              <a:rPr lang="en-US" dirty="0"/>
              <a:t>What is “Serverless”</a:t>
            </a:r>
          </a:p>
        </p:txBody>
      </p:sp>
      <p:grpSp>
        <p:nvGrpSpPr>
          <p:cNvPr id="203" name="Group 202"/>
          <p:cNvGrpSpPr/>
          <p:nvPr/>
        </p:nvGrpSpPr>
        <p:grpSpPr>
          <a:xfrm>
            <a:off x="3859609" y="1189176"/>
            <a:ext cx="4192342" cy="5162149"/>
            <a:chOff x="4158354" y="1189176"/>
            <a:chExt cx="4192342" cy="5162149"/>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04863"/>
            </a:xfrm>
            <a:prstGeom prst="rect">
              <a:avLst/>
            </a:prstGeom>
            <a:noFill/>
          </p:spPr>
          <p:txBody>
            <a:bodyPr wrap="square" lIns="91440" tIns="146304" rIns="182880" bIns="146304" rtlCol="0">
              <a:spAutoFit/>
            </a:bodyPr>
            <a:lstStyle/>
            <a:p>
              <a:pPr algn="ctr">
                <a:lnSpc>
                  <a:spcPct val="90000"/>
                </a:lnSpc>
                <a:spcAft>
                  <a:spcPts val="1200"/>
                </a:spcAft>
              </a:pPr>
              <a:r>
                <a:rPr lang="en-US" sz="2200" dirty="0">
                  <a:solidFill>
                    <a:schemeClr val="tx2"/>
                  </a:solidFill>
                  <a:latin typeface="+mj-lt"/>
                  <a:cs typeface="Segoe UI"/>
                </a:rPr>
                <a:t>Event-driven scale</a:t>
              </a:r>
            </a:p>
          </p:txBody>
        </p:sp>
      </p:grpSp>
      <p:grpSp>
        <p:nvGrpSpPr>
          <p:cNvPr id="204" name="Group 203"/>
          <p:cNvGrpSpPr/>
          <p:nvPr/>
        </p:nvGrpSpPr>
        <p:grpSpPr>
          <a:xfrm>
            <a:off x="7567771" y="840651"/>
            <a:ext cx="4889392" cy="5510674"/>
            <a:chOff x="7567771" y="840651"/>
            <a:chExt cx="4889392" cy="5510674"/>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04863"/>
            </a:xfrm>
            <a:prstGeom prst="rect">
              <a:avLst/>
            </a:prstGeom>
            <a:noFill/>
          </p:spPr>
          <p:txBody>
            <a:bodyPr wrap="square" lIns="91440" tIns="146304" rIns="182880" bIns="146304" rtlCol="0">
              <a:spAutoFit/>
            </a:bodyPr>
            <a:lstStyle/>
            <a:p>
              <a:pPr algn="ctr">
                <a:lnSpc>
                  <a:spcPct val="90000"/>
                </a:lnSpc>
                <a:spcAft>
                  <a:spcPts val="1200"/>
                </a:spcAft>
              </a:pPr>
              <a:r>
                <a:rPr lang="en-US" sz="2200" dirty="0">
                  <a:solidFill>
                    <a:schemeClr val="tx2"/>
                  </a:solidFill>
                  <a:latin typeface="+mj-lt"/>
                  <a:cs typeface="Segoe UI"/>
                </a:rPr>
                <a:t>Sub-second billing</a:t>
              </a:r>
            </a:p>
          </p:txBody>
        </p:sp>
      </p:grpSp>
      <p:grpSp>
        <p:nvGrpSpPr>
          <p:cNvPr id="202" name="Group 201"/>
          <p:cNvGrpSpPr/>
          <p:nvPr/>
        </p:nvGrpSpPr>
        <p:grpSpPr>
          <a:xfrm>
            <a:off x="825302" y="779528"/>
            <a:ext cx="2560320" cy="5571797"/>
            <a:chOff x="825302" y="779528"/>
            <a:chExt cx="2560320" cy="5571797"/>
          </a:xfrm>
        </p:grpSpPr>
        <p:sp>
          <p:nvSpPr>
            <p:cNvPr id="60" name="TextBox 59"/>
            <p:cNvSpPr txBox="1"/>
            <p:nvPr/>
          </p:nvSpPr>
          <p:spPr>
            <a:xfrm>
              <a:off x="1300172" y="5446462"/>
              <a:ext cx="1828800" cy="904863"/>
            </a:xfrm>
            <a:prstGeom prst="rect">
              <a:avLst/>
            </a:prstGeom>
            <a:noFill/>
          </p:spPr>
          <p:txBody>
            <a:bodyPr wrap="square" lIns="91440" tIns="146304" rIns="182880" bIns="146304" rtlCol="0">
              <a:spAutoFit/>
            </a:bodyPr>
            <a:lstStyle/>
            <a:p>
              <a:pPr algn="ctr">
                <a:lnSpc>
                  <a:spcPct val="90000"/>
                </a:lnSpc>
                <a:spcAft>
                  <a:spcPts val="1200"/>
                </a:spcAft>
              </a:pPr>
              <a:r>
                <a:rPr lang="en-US" sz="2200" dirty="0">
                  <a:solidFill>
                    <a:schemeClr val="tx2"/>
                  </a:solidFill>
                  <a:latin typeface="+mj-lt"/>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41899340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0" y="237838"/>
            <a:ext cx="10515600" cy="1325563"/>
          </a:xfrm>
        </p:spPr>
        <p:txBody>
          <a:bodyPr/>
          <a:lstStyle/>
          <a:p>
            <a:r>
              <a:rPr lang="en-US" dirty="0"/>
              <a:t>How is it different</a:t>
            </a:r>
          </a:p>
        </p:txBody>
      </p:sp>
      <p:grpSp>
        <p:nvGrpSpPr>
          <p:cNvPr id="392" name="Group 391"/>
          <p:cNvGrpSpPr/>
          <p:nvPr/>
        </p:nvGrpSpPr>
        <p:grpSpPr>
          <a:xfrm>
            <a:off x="8533578" y="1189176"/>
            <a:ext cx="2756223" cy="2097939"/>
            <a:chOff x="8533578" y="1189176"/>
            <a:chExt cx="2756223" cy="2097939"/>
          </a:xfrm>
        </p:grpSpPr>
        <p:sp>
          <p:nvSpPr>
            <p:cNvPr id="11" name="TextBox 10"/>
            <p:cNvSpPr txBox="1"/>
            <p:nvPr/>
          </p:nvSpPr>
          <p:spPr>
            <a:xfrm>
              <a:off x="9037402" y="1189176"/>
              <a:ext cx="1828800" cy="904863"/>
            </a:xfrm>
            <a:prstGeom prst="rect">
              <a:avLst/>
            </a:prstGeom>
            <a:noFill/>
          </p:spPr>
          <p:txBody>
            <a:bodyPr wrap="square" lIns="91440" tIns="146304" rIns="182880" bIns="146304" rtlCol="0">
              <a:spAutoFit/>
            </a:bodyPr>
            <a:lstStyle/>
            <a:p>
              <a:pPr algn="ctr">
                <a:lnSpc>
                  <a:spcPct val="90000"/>
                </a:lnSpc>
                <a:spcAft>
                  <a:spcPts val="1200"/>
                </a:spcAft>
              </a:pPr>
              <a:r>
                <a:rPr lang="en-US" sz="2200" dirty="0">
                  <a:solidFill>
                    <a:schemeClr val="tx2"/>
                  </a:solidFill>
                  <a:latin typeface="+mj-lt"/>
                  <a:cs typeface="Segoe UI"/>
                </a:rPr>
                <a:t>Complex framework</a:t>
              </a:r>
            </a:p>
          </p:txBody>
        </p:sp>
        <p:pic>
          <p:nvPicPr>
            <p:cNvPr id="20" name="Picture 19"/>
            <p:cNvPicPr>
              <a:picLocks noChangeAspect="1"/>
            </p:cNvPicPr>
            <p:nvPr/>
          </p:nvPicPr>
          <p:blipFill>
            <a:blip r:embed="rId3"/>
            <a:stretch>
              <a:fillRect/>
            </a:stretch>
          </p:blipFill>
          <p:spPr>
            <a:xfrm>
              <a:off x="8533578" y="2125837"/>
              <a:ext cx="896991" cy="896991"/>
            </a:xfrm>
            <a:prstGeom prst="rect">
              <a:avLst/>
            </a:prstGeom>
          </p:spPr>
        </p:pic>
        <p:pic>
          <p:nvPicPr>
            <p:cNvPr id="21" name="Picture 20"/>
            <p:cNvPicPr>
              <a:picLocks noChangeAspect="1"/>
            </p:cNvPicPr>
            <p:nvPr/>
          </p:nvPicPr>
          <p:blipFill>
            <a:blip r:embed="rId3"/>
            <a:stretch>
              <a:fillRect/>
            </a:stretch>
          </p:blipFill>
          <p:spPr>
            <a:xfrm>
              <a:off x="9009455" y="2009194"/>
              <a:ext cx="896991" cy="896991"/>
            </a:xfrm>
            <a:prstGeom prst="rect">
              <a:avLst/>
            </a:prstGeom>
          </p:spPr>
        </p:pic>
        <p:pic>
          <p:nvPicPr>
            <p:cNvPr id="22" name="Picture 21"/>
            <p:cNvPicPr>
              <a:picLocks noChangeAspect="1"/>
            </p:cNvPicPr>
            <p:nvPr/>
          </p:nvPicPr>
          <p:blipFill>
            <a:blip r:embed="rId3"/>
            <a:stretch>
              <a:fillRect/>
            </a:stretch>
          </p:blipFill>
          <p:spPr>
            <a:xfrm>
              <a:off x="9472250" y="1885578"/>
              <a:ext cx="896991" cy="896991"/>
            </a:xfrm>
            <a:prstGeom prst="rect">
              <a:avLst/>
            </a:prstGeom>
          </p:spPr>
        </p:pic>
        <p:pic>
          <p:nvPicPr>
            <p:cNvPr id="23" name="Picture 22"/>
            <p:cNvPicPr>
              <a:picLocks noChangeAspect="1"/>
            </p:cNvPicPr>
            <p:nvPr/>
          </p:nvPicPr>
          <p:blipFill>
            <a:blip r:embed="rId3"/>
            <a:stretch>
              <a:fillRect/>
            </a:stretch>
          </p:blipFill>
          <p:spPr>
            <a:xfrm>
              <a:off x="9930015" y="2171700"/>
              <a:ext cx="896991" cy="896991"/>
            </a:xfrm>
            <a:prstGeom prst="rect">
              <a:avLst/>
            </a:prstGeom>
          </p:spPr>
        </p:pic>
        <p:pic>
          <p:nvPicPr>
            <p:cNvPr id="24" name="Picture 23"/>
            <p:cNvPicPr>
              <a:picLocks noChangeAspect="1"/>
            </p:cNvPicPr>
            <p:nvPr/>
          </p:nvPicPr>
          <p:blipFill>
            <a:blip r:embed="rId3"/>
            <a:stretch>
              <a:fillRect/>
            </a:stretch>
          </p:blipFill>
          <p:spPr>
            <a:xfrm>
              <a:off x="9930015" y="1772353"/>
              <a:ext cx="896991" cy="896991"/>
            </a:xfrm>
            <a:prstGeom prst="rect">
              <a:avLst/>
            </a:prstGeom>
          </p:spPr>
        </p:pic>
        <p:pic>
          <p:nvPicPr>
            <p:cNvPr id="25" name="Picture 24"/>
            <p:cNvPicPr>
              <a:picLocks noChangeAspect="1"/>
            </p:cNvPicPr>
            <p:nvPr/>
          </p:nvPicPr>
          <p:blipFill>
            <a:blip r:embed="rId3"/>
            <a:stretch>
              <a:fillRect/>
            </a:stretch>
          </p:blipFill>
          <p:spPr>
            <a:xfrm>
              <a:off x="10392810" y="2072830"/>
              <a:ext cx="896991" cy="896991"/>
            </a:xfrm>
            <a:prstGeom prst="rect">
              <a:avLst/>
            </a:prstGeom>
          </p:spPr>
        </p:pic>
        <p:pic>
          <p:nvPicPr>
            <p:cNvPr id="26" name="Picture 25"/>
            <p:cNvPicPr>
              <a:picLocks noChangeAspect="1"/>
            </p:cNvPicPr>
            <p:nvPr/>
          </p:nvPicPr>
          <p:blipFill>
            <a:blip r:embed="rId3"/>
            <a:stretch>
              <a:fillRect/>
            </a:stretch>
          </p:blipFill>
          <p:spPr>
            <a:xfrm>
              <a:off x="9481519" y="2288411"/>
              <a:ext cx="896991" cy="896991"/>
            </a:xfrm>
            <a:prstGeom prst="rect">
              <a:avLst/>
            </a:prstGeom>
          </p:spPr>
        </p:pic>
        <p:pic>
          <p:nvPicPr>
            <p:cNvPr id="27" name="Picture 26"/>
            <p:cNvPicPr>
              <a:picLocks noChangeAspect="1"/>
            </p:cNvPicPr>
            <p:nvPr/>
          </p:nvPicPr>
          <p:blipFill>
            <a:blip r:embed="rId3"/>
            <a:stretch>
              <a:fillRect/>
            </a:stretch>
          </p:blipFill>
          <p:spPr>
            <a:xfrm>
              <a:off x="9014089" y="2390124"/>
              <a:ext cx="896991" cy="896991"/>
            </a:xfrm>
            <a:prstGeom prst="rect">
              <a:avLst/>
            </a:prstGeom>
          </p:spPr>
        </p:pic>
      </p:grpSp>
      <p:grpSp>
        <p:nvGrpSpPr>
          <p:cNvPr id="393" name="Group 392"/>
          <p:cNvGrpSpPr/>
          <p:nvPr/>
        </p:nvGrpSpPr>
        <p:grpSpPr>
          <a:xfrm>
            <a:off x="8410258" y="3111698"/>
            <a:ext cx="3057513" cy="3239627"/>
            <a:chOff x="8410258" y="3111698"/>
            <a:chExt cx="3057513" cy="3239627"/>
          </a:xfrm>
        </p:grpSpPr>
        <p:sp>
          <p:nvSpPr>
            <p:cNvPr id="8" name="TextBox 7"/>
            <p:cNvSpPr txBox="1"/>
            <p:nvPr/>
          </p:nvSpPr>
          <p:spPr>
            <a:xfrm>
              <a:off x="9037402" y="5446462"/>
              <a:ext cx="1828800" cy="904863"/>
            </a:xfrm>
            <a:prstGeom prst="rect">
              <a:avLst/>
            </a:prstGeom>
            <a:noFill/>
          </p:spPr>
          <p:txBody>
            <a:bodyPr wrap="square" lIns="91440" tIns="146304" rIns="182880" bIns="146304" rtlCol="0">
              <a:spAutoFit/>
            </a:bodyPr>
            <a:lstStyle/>
            <a:p>
              <a:pPr algn="ctr">
                <a:lnSpc>
                  <a:spcPct val="90000"/>
                </a:lnSpc>
                <a:spcAft>
                  <a:spcPts val="1200"/>
                </a:spcAft>
              </a:pPr>
              <a:r>
                <a:rPr lang="en-US" sz="2200" dirty="0">
                  <a:solidFill>
                    <a:schemeClr val="tx2"/>
                  </a:solidFill>
                  <a:latin typeface="+mj-lt"/>
                  <a:cs typeface="Segoe UI"/>
                </a:rPr>
                <a:t>Micro-functionality</a:t>
              </a:r>
            </a:p>
          </p:txBody>
        </p:sp>
        <p:cxnSp>
          <p:nvCxnSpPr>
            <p:cNvPr id="13" name="Straight Arrow Connector 12"/>
            <p:cNvCxnSpPr/>
            <p:nvPr/>
          </p:nvCxnSpPr>
          <p:spPr>
            <a:xfrm>
              <a:off x="9879064" y="3111698"/>
              <a:ext cx="38925" cy="1680861"/>
            </a:xfrm>
            <a:prstGeom prst="straightConnector1">
              <a:avLst/>
            </a:prstGeom>
            <a:ln w="5715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p:nvPicPr>
          <p:blipFill>
            <a:blip r:embed="rId3"/>
            <a:stretch>
              <a:fillRect/>
            </a:stretch>
          </p:blipFill>
          <p:spPr>
            <a:xfrm>
              <a:off x="9430569" y="4699040"/>
              <a:ext cx="896991" cy="896991"/>
            </a:xfrm>
            <a:prstGeom prst="rect">
              <a:avLst/>
            </a:prstGeom>
          </p:spPr>
        </p:pic>
        <p:pic>
          <p:nvPicPr>
            <p:cNvPr id="30" name="Picture 29"/>
            <p:cNvPicPr>
              <a:picLocks noChangeAspect="1"/>
            </p:cNvPicPr>
            <p:nvPr/>
          </p:nvPicPr>
          <p:blipFill>
            <a:blip r:embed="rId3"/>
            <a:stretch>
              <a:fillRect/>
            </a:stretch>
          </p:blipFill>
          <p:spPr>
            <a:xfrm>
              <a:off x="10570780" y="4699040"/>
              <a:ext cx="896991" cy="896991"/>
            </a:xfrm>
            <a:prstGeom prst="rect">
              <a:avLst/>
            </a:prstGeom>
          </p:spPr>
        </p:pic>
        <p:pic>
          <p:nvPicPr>
            <p:cNvPr id="31" name="Picture 30"/>
            <p:cNvPicPr>
              <a:picLocks noChangeAspect="1"/>
            </p:cNvPicPr>
            <p:nvPr/>
          </p:nvPicPr>
          <p:blipFill>
            <a:blip r:embed="rId3"/>
            <a:stretch>
              <a:fillRect/>
            </a:stretch>
          </p:blipFill>
          <p:spPr>
            <a:xfrm>
              <a:off x="8410258" y="4699040"/>
              <a:ext cx="896991" cy="896991"/>
            </a:xfrm>
            <a:prstGeom prst="rect">
              <a:avLst/>
            </a:prstGeom>
          </p:spPr>
        </p:pic>
      </p:grpSp>
      <p:sp>
        <p:nvSpPr>
          <p:cNvPr id="63" name="AutoShape 29"/>
          <p:cNvSpPr>
            <a:spLocks noChangeAspect="1" noChangeArrowheads="1" noTextEdit="1"/>
          </p:cNvSpPr>
          <p:nvPr/>
        </p:nvSpPr>
        <p:spPr bwMode="auto">
          <a:xfrm>
            <a:off x="7604125" y="1482725"/>
            <a:ext cx="795338" cy="79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94" name="Group 393"/>
          <p:cNvGrpSpPr/>
          <p:nvPr/>
        </p:nvGrpSpPr>
        <p:grpSpPr>
          <a:xfrm>
            <a:off x="5478276" y="3111698"/>
            <a:ext cx="1828800" cy="3239627"/>
            <a:chOff x="5478276" y="3111698"/>
            <a:chExt cx="1828800" cy="3239627"/>
          </a:xfrm>
        </p:grpSpPr>
        <p:cxnSp>
          <p:nvCxnSpPr>
            <p:cNvPr id="12" name="Straight Arrow Connector 11"/>
            <p:cNvCxnSpPr/>
            <p:nvPr/>
          </p:nvCxnSpPr>
          <p:spPr>
            <a:xfrm>
              <a:off x="6392676" y="3111698"/>
              <a:ext cx="0" cy="1045965"/>
            </a:xfrm>
            <a:prstGeom prst="straightConnector1">
              <a:avLst/>
            </a:prstGeom>
            <a:ln w="5715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90" name="Group 389"/>
            <p:cNvGrpSpPr/>
            <p:nvPr/>
          </p:nvGrpSpPr>
          <p:grpSpPr>
            <a:xfrm>
              <a:off x="5478276" y="4157663"/>
              <a:ext cx="1828800" cy="2193662"/>
              <a:chOff x="5478276" y="4157663"/>
              <a:chExt cx="1828800" cy="2193662"/>
            </a:xfrm>
          </p:grpSpPr>
          <p:sp>
            <p:nvSpPr>
              <p:cNvPr id="7" name="TextBox 6"/>
              <p:cNvSpPr txBox="1"/>
              <p:nvPr/>
            </p:nvSpPr>
            <p:spPr>
              <a:xfrm>
                <a:off x="5478276" y="5446462"/>
                <a:ext cx="1828800" cy="904863"/>
              </a:xfrm>
              <a:prstGeom prst="rect">
                <a:avLst/>
              </a:prstGeom>
              <a:noFill/>
            </p:spPr>
            <p:txBody>
              <a:bodyPr wrap="square" lIns="91440" tIns="146304" rIns="182880" bIns="146304" rtlCol="0">
                <a:spAutoFit/>
              </a:bodyPr>
              <a:lstStyle/>
              <a:p>
                <a:pPr algn="ctr">
                  <a:lnSpc>
                    <a:spcPct val="90000"/>
                  </a:lnSpc>
                  <a:spcAft>
                    <a:spcPts val="1200"/>
                  </a:spcAft>
                </a:pPr>
                <a:r>
                  <a:rPr lang="en-US" sz="2200" dirty="0">
                    <a:solidFill>
                      <a:schemeClr val="tx2"/>
                    </a:solidFill>
                    <a:latin typeface="+mj-lt"/>
                    <a:cs typeface="Segoe UI"/>
                  </a:rPr>
                  <a:t>Outside </a:t>
                </a:r>
                <a:br>
                  <a:rPr lang="en-US" sz="2200" dirty="0">
                    <a:solidFill>
                      <a:schemeClr val="tx2"/>
                    </a:solidFill>
                    <a:latin typeface="+mj-lt"/>
                    <a:cs typeface="Segoe UI"/>
                  </a:rPr>
                </a:br>
                <a:r>
                  <a:rPr lang="en-US" sz="2200" dirty="0">
                    <a:solidFill>
                      <a:schemeClr val="tx2"/>
                    </a:solidFill>
                    <a:latin typeface="+mj-lt"/>
                    <a:cs typeface="Segoe UI"/>
                  </a:rPr>
                  <a:t>client app</a:t>
                </a:r>
              </a:p>
            </p:txBody>
          </p:sp>
          <p:sp>
            <p:nvSpPr>
              <p:cNvPr id="99" name="Freeform 66"/>
              <p:cNvSpPr>
                <a:spLocks noEditPoints="1"/>
              </p:cNvSpPr>
              <p:nvPr/>
            </p:nvSpPr>
            <p:spPr bwMode="auto">
              <a:xfrm>
                <a:off x="6516688" y="4418013"/>
                <a:ext cx="444500" cy="442913"/>
              </a:xfrm>
              <a:custGeom>
                <a:avLst/>
                <a:gdLst>
                  <a:gd name="T0" fmla="*/ 129 w 259"/>
                  <a:gd name="T1" fmla="*/ 259 h 259"/>
                  <a:gd name="T2" fmla="*/ 0 w 259"/>
                  <a:gd name="T3" fmla="*/ 129 h 259"/>
                  <a:gd name="T4" fmla="*/ 129 w 259"/>
                  <a:gd name="T5" fmla="*/ 0 h 259"/>
                  <a:gd name="T6" fmla="*/ 259 w 259"/>
                  <a:gd name="T7" fmla="*/ 129 h 259"/>
                  <a:gd name="T8" fmla="*/ 129 w 259"/>
                  <a:gd name="T9" fmla="*/ 259 h 259"/>
                  <a:gd name="T10" fmla="*/ 129 w 259"/>
                  <a:gd name="T11" fmla="*/ 19 h 259"/>
                  <a:gd name="T12" fmla="*/ 19 w 259"/>
                  <a:gd name="T13" fmla="*/ 129 h 259"/>
                  <a:gd name="T14" fmla="*/ 129 w 259"/>
                  <a:gd name="T15" fmla="*/ 239 h 259"/>
                  <a:gd name="T16" fmla="*/ 239 w 259"/>
                  <a:gd name="T17" fmla="*/ 129 h 259"/>
                  <a:gd name="T18" fmla="*/ 129 w 259"/>
                  <a:gd name="T19" fmla="*/ 1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9" h="259">
                    <a:moveTo>
                      <a:pt x="129" y="259"/>
                    </a:moveTo>
                    <a:cubicBezTo>
                      <a:pt x="58" y="259"/>
                      <a:pt x="0" y="201"/>
                      <a:pt x="0" y="129"/>
                    </a:cubicBezTo>
                    <a:cubicBezTo>
                      <a:pt x="0" y="58"/>
                      <a:pt x="58" y="0"/>
                      <a:pt x="129" y="0"/>
                    </a:cubicBezTo>
                    <a:cubicBezTo>
                      <a:pt x="201" y="0"/>
                      <a:pt x="259" y="58"/>
                      <a:pt x="259" y="129"/>
                    </a:cubicBezTo>
                    <a:cubicBezTo>
                      <a:pt x="259" y="201"/>
                      <a:pt x="201" y="259"/>
                      <a:pt x="129" y="259"/>
                    </a:cubicBezTo>
                    <a:close/>
                    <a:moveTo>
                      <a:pt x="129" y="19"/>
                    </a:moveTo>
                    <a:cubicBezTo>
                      <a:pt x="69" y="19"/>
                      <a:pt x="19" y="69"/>
                      <a:pt x="19" y="129"/>
                    </a:cubicBezTo>
                    <a:cubicBezTo>
                      <a:pt x="19" y="190"/>
                      <a:pt x="69" y="239"/>
                      <a:pt x="129" y="239"/>
                    </a:cubicBezTo>
                    <a:cubicBezTo>
                      <a:pt x="190" y="239"/>
                      <a:pt x="239" y="190"/>
                      <a:pt x="239" y="129"/>
                    </a:cubicBezTo>
                    <a:cubicBezTo>
                      <a:pt x="239" y="69"/>
                      <a:pt x="190" y="19"/>
                      <a:pt x="129" y="1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67"/>
              <p:cNvSpPr>
                <a:spLocks noEditPoints="1"/>
              </p:cNvSpPr>
              <p:nvPr/>
            </p:nvSpPr>
            <p:spPr bwMode="auto">
              <a:xfrm>
                <a:off x="6415088" y="4314826"/>
                <a:ext cx="647700" cy="649288"/>
              </a:xfrm>
              <a:custGeom>
                <a:avLst/>
                <a:gdLst>
                  <a:gd name="T0" fmla="*/ 189 w 379"/>
                  <a:gd name="T1" fmla="*/ 379 h 379"/>
                  <a:gd name="T2" fmla="*/ 0 w 379"/>
                  <a:gd name="T3" fmla="*/ 189 h 379"/>
                  <a:gd name="T4" fmla="*/ 189 w 379"/>
                  <a:gd name="T5" fmla="*/ 0 h 379"/>
                  <a:gd name="T6" fmla="*/ 379 w 379"/>
                  <a:gd name="T7" fmla="*/ 189 h 379"/>
                  <a:gd name="T8" fmla="*/ 189 w 379"/>
                  <a:gd name="T9" fmla="*/ 379 h 379"/>
                  <a:gd name="T10" fmla="*/ 189 w 379"/>
                  <a:gd name="T11" fmla="*/ 11 h 379"/>
                  <a:gd name="T12" fmla="*/ 11 w 379"/>
                  <a:gd name="T13" fmla="*/ 189 h 379"/>
                  <a:gd name="T14" fmla="*/ 189 w 379"/>
                  <a:gd name="T15" fmla="*/ 367 h 379"/>
                  <a:gd name="T16" fmla="*/ 367 w 379"/>
                  <a:gd name="T17" fmla="*/ 189 h 379"/>
                  <a:gd name="T18" fmla="*/ 189 w 379"/>
                  <a:gd name="T19" fmla="*/ 11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379">
                    <a:moveTo>
                      <a:pt x="189" y="379"/>
                    </a:moveTo>
                    <a:cubicBezTo>
                      <a:pt x="85" y="379"/>
                      <a:pt x="0" y="294"/>
                      <a:pt x="0" y="189"/>
                    </a:cubicBezTo>
                    <a:cubicBezTo>
                      <a:pt x="0" y="85"/>
                      <a:pt x="85" y="0"/>
                      <a:pt x="189" y="0"/>
                    </a:cubicBezTo>
                    <a:cubicBezTo>
                      <a:pt x="294" y="0"/>
                      <a:pt x="379" y="85"/>
                      <a:pt x="379" y="189"/>
                    </a:cubicBezTo>
                    <a:cubicBezTo>
                      <a:pt x="379" y="294"/>
                      <a:pt x="294" y="379"/>
                      <a:pt x="189" y="379"/>
                    </a:cubicBezTo>
                    <a:close/>
                    <a:moveTo>
                      <a:pt x="189" y="11"/>
                    </a:moveTo>
                    <a:cubicBezTo>
                      <a:pt x="91" y="11"/>
                      <a:pt x="11" y="91"/>
                      <a:pt x="11" y="189"/>
                    </a:cubicBezTo>
                    <a:cubicBezTo>
                      <a:pt x="11" y="288"/>
                      <a:pt x="91" y="367"/>
                      <a:pt x="189" y="367"/>
                    </a:cubicBezTo>
                    <a:cubicBezTo>
                      <a:pt x="287" y="367"/>
                      <a:pt x="367" y="288"/>
                      <a:pt x="367" y="189"/>
                    </a:cubicBezTo>
                    <a:cubicBezTo>
                      <a:pt x="367" y="91"/>
                      <a:pt x="287" y="11"/>
                      <a:pt x="189" y="1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68"/>
              <p:cNvSpPr>
                <a:spLocks noEditPoints="1"/>
              </p:cNvSpPr>
              <p:nvPr/>
            </p:nvSpPr>
            <p:spPr bwMode="auto">
              <a:xfrm>
                <a:off x="6256338" y="4157663"/>
                <a:ext cx="963613" cy="962025"/>
              </a:xfrm>
              <a:custGeom>
                <a:avLst/>
                <a:gdLst>
                  <a:gd name="T0" fmla="*/ 281 w 562"/>
                  <a:gd name="T1" fmla="*/ 561 h 561"/>
                  <a:gd name="T2" fmla="*/ 0 w 562"/>
                  <a:gd name="T3" fmla="*/ 280 h 561"/>
                  <a:gd name="T4" fmla="*/ 281 w 562"/>
                  <a:gd name="T5" fmla="*/ 0 h 561"/>
                  <a:gd name="T6" fmla="*/ 562 w 562"/>
                  <a:gd name="T7" fmla="*/ 280 h 561"/>
                  <a:gd name="T8" fmla="*/ 281 w 562"/>
                  <a:gd name="T9" fmla="*/ 561 h 561"/>
                  <a:gd name="T10" fmla="*/ 281 w 562"/>
                  <a:gd name="T11" fmla="*/ 3 h 561"/>
                  <a:gd name="T12" fmla="*/ 4 w 562"/>
                  <a:gd name="T13" fmla="*/ 280 h 561"/>
                  <a:gd name="T14" fmla="*/ 281 w 562"/>
                  <a:gd name="T15" fmla="*/ 557 h 561"/>
                  <a:gd name="T16" fmla="*/ 558 w 562"/>
                  <a:gd name="T17" fmla="*/ 280 h 561"/>
                  <a:gd name="T18" fmla="*/ 281 w 562"/>
                  <a:gd name="T19" fmla="*/ 3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2" h="561">
                    <a:moveTo>
                      <a:pt x="281" y="561"/>
                    </a:moveTo>
                    <a:cubicBezTo>
                      <a:pt x="126" y="561"/>
                      <a:pt x="0" y="435"/>
                      <a:pt x="0" y="280"/>
                    </a:cubicBezTo>
                    <a:cubicBezTo>
                      <a:pt x="0" y="126"/>
                      <a:pt x="126" y="0"/>
                      <a:pt x="281" y="0"/>
                    </a:cubicBezTo>
                    <a:cubicBezTo>
                      <a:pt x="436" y="0"/>
                      <a:pt x="562" y="126"/>
                      <a:pt x="562" y="280"/>
                    </a:cubicBezTo>
                    <a:cubicBezTo>
                      <a:pt x="562" y="435"/>
                      <a:pt x="436" y="561"/>
                      <a:pt x="281" y="561"/>
                    </a:cubicBezTo>
                    <a:close/>
                    <a:moveTo>
                      <a:pt x="281" y="3"/>
                    </a:moveTo>
                    <a:cubicBezTo>
                      <a:pt x="129" y="3"/>
                      <a:pt x="4" y="128"/>
                      <a:pt x="4" y="280"/>
                    </a:cubicBezTo>
                    <a:cubicBezTo>
                      <a:pt x="4" y="433"/>
                      <a:pt x="129" y="557"/>
                      <a:pt x="281" y="557"/>
                    </a:cubicBezTo>
                    <a:cubicBezTo>
                      <a:pt x="434" y="557"/>
                      <a:pt x="558" y="433"/>
                      <a:pt x="558" y="280"/>
                    </a:cubicBezTo>
                    <a:cubicBezTo>
                      <a:pt x="558" y="128"/>
                      <a:pt x="434" y="3"/>
                      <a:pt x="281" y="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69"/>
              <p:cNvSpPr>
                <a:spLocks/>
              </p:cNvSpPr>
              <p:nvPr/>
            </p:nvSpPr>
            <p:spPr bwMode="auto">
              <a:xfrm>
                <a:off x="6227763" y="4667251"/>
                <a:ext cx="549275" cy="717550"/>
              </a:xfrm>
              <a:custGeom>
                <a:avLst/>
                <a:gdLst>
                  <a:gd name="T0" fmla="*/ 321 w 321"/>
                  <a:gd name="T1" fmla="*/ 5 h 418"/>
                  <a:gd name="T2" fmla="*/ 275 w 321"/>
                  <a:gd name="T3" fmla="*/ 5 h 418"/>
                  <a:gd name="T4" fmla="*/ 244 w 321"/>
                  <a:gd name="T5" fmla="*/ 138 h 418"/>
                  <a:gd name="T6" fmla="*/ 244 w 321"/>
                  <a:gd name="T7" fmla="*/ 15 h 418"/>
                  <a:gd name="T8" fmla="*/ 228 w 321"/>
                  <a:gd name="T9" fmla="*/ 0 h 418"/>
                  <a:gd name="T10" fmla="*/ 15 w 321"/>
                  <a:gd name="T11" fmla="*/ 0 h 418"/>
                  <a:gd name="T12" fmla="*/ 0 w 321"/>
                  <a:gd name="T13" fmla="*/ 15 h 418"/>
                  <a:gd name="T14" fmla="*/ 0 w 321"/>
                  <a:gd name="T15" fmla="*/ 402 h 418"/>
                  <a:gd name="T16" fmla="*/ 15 w 321"/>
                  <a:gd name="T17" fmla="*/ 418 h 418"/>
                  <a:gd name="T18" fmla="*/ 228 w 321"/>
                  <a:gd name="T19" fmla="*/ 418 h 418"/>
                  <a:gd name="T20" fmla="*/ 244 w 321"/>
                  <a:gd name="T21" fmla="*/ 402 h 418"/>
                  <a:gd name="T22" fmla="*/ 244 w 321"/>
                  <a:gd name="T23" fmla="*/ 222 h 418"/>
                  <a:gd name="T24" fmla="*/ 321 w 321"/>
                  <a:gd name="T25" fmla="*/ 5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1" h="418">
                    <a:moveTo>
                      <a:pt x="321" y="5"/>
                    </a:moveTo>
                    <a:cubicBezTo>
                      <a:pt x="275" y="5"/>
                      <a:pt x="275" y="5"/>
                      <a:pt x="275" y="5"/>
                    </a:cubicBezTo>
                    <a:cubicBezTo>
                      <a:pt x="275" y="53"/>
                      <a:pt x="264" y="98"/>
                      <a:pt x="244" y="138"/>
                    </a:cubicBezTo>
                    <a:cubicBezTo>
                      <a:pt x="244" y="15"/>
                      <a:pt x="244" y="15"/>
                      <a:pt x="244" y="15"/>
                    </a:cubicBezTo>
                    <a:cubicBezTo>
                      <a:pt x="244" y="7"/>
                      <a:pt x="237" y="0"/>
                      <a:pt x="228" y="0"/>
                    </a:cubicBezTo>
                    <a:cubicBezTo>
                      <a:pt x="15" y="0"/>
                      <a:pt x="15" y="0"/>
                      <a:pt x="15" y="0"/>
                    </a:cubicBezTo>
                    <a:cubicBezTo>
                      <a:pt x="7" y="0"/>
                      <a:pt x="0" y="7"/>
                      <a:pt x="0" y="15"/>
                    </a:cubicBezTo>
                    <a:cubicBezTo>
                      <a:pt x="0" y="402"/>
                      <a:pt x="0" y="402"/>
                      <a:pt x="0" y="402"/>
                    </a:cubicBezTo>
                    <a:cubicBezTo>
                      <a:pt x="0" y="411"/>
                      <a:pt x="7" y="418"/>
                      <a:pt x="15" y="418"/>
                    </a:cubicBezTo>
                    <a:cubicBezTo>
                      <a:pt x="228" y="418"/>
                      <a:pt x="228" y="418"/>
                      <a:pt x="228" y="418"/>
                    </a:cubicBezTo>
                    <a:cubicBezTo>
                      <a:pt x="237" y="418"/>
                      <a:pt x="244" y="411"/>
                      <a:pt x="244" y="402"/>
                    </a:cubicBezTo>
                    <a:cubicBezTo>
                      <a:pt x="244" y="222"/>
                      <a:pt x="244" y="222"/>
                      <a:pt x="244" y="222"/>
                    </a:cubicBezTo>
                    <a:cubicBezTo>
                      <a:pt x="292" y="163"/>
                      <a:pt x="321" y="88"/>
                      <a:pt x="321" y="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Rectangle 70"/>
              <p:cNvSpPr>
                <a:spLocks noChangeArrowheads="1"/>
              </p:cNvSpPr>
              <p:nvPr/>
            </p:nvSpPr>
            <p:spPr bwMode="auto">
              <a:xfrm>
                <a:off x="6267450" y="4706938"/>
                <a:ext cx="336550" cy="5635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71"/>
              <p:cNvSpPr>
                <a:spLocks noChangeArrowheads="1"/>
              </p:cNvSpPr>
              <p:nvPr/>
            </p:nvSpPr>
            <p:spPr bwMode="auto">
              <a:xfrm>
                <a:off x="6300788" y="4773613"/>
                <a:ext cx="173038" cy="174625"/>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Rectangle 72"/>
              <p:cNvSpPr>
                <a:spLocks noChangeArrowheads="1"/>
              </p:cNvSpPr>
              <p:nvPr/>
            </p:nvSpPr>
            <p:spPr bwMode="auto">
              <a:xfrm>
                <a:off x="6492875" y="4872038"/>
                <a:ext cx="79375" cy="76200"/>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Rectangle 73"/>
              <p:cNvSpPr>
                <a:spLocks noChangeArrowheads="1"/>
              </p:cNvSpPr>
              <p:nvPr/>
            </p:nvSpPr>
            <p:spPr bwMode="auto">
              <a:xfrm>
                <a:off x="6492875" y="4773613"/>
                <a:ext cx="79375" cy="79375"/>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Rectangle 74"/>
              <p:cNvSpPr>
                <a:spLocks noChangeArrowheads="1"/>
              </p:cNvSpPr>
              <p:nvPr/>
            </p:nvSpPr>
            <p:spPr bwMode="auto">
              <a:xfrm>
                <a:off x="6492875" y="5064126"/>
                <a:ext cx="79375" cy="77788"/>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Rectangle 75"/>
              <p:cNvSpPr>
                <a:spLocks noChangeArrowheads="1"/>
              </p:cNvSpPr>
              <p:nvPr/>
            </p:nvSpPr>
            <p:spPr bwMode="auto">
              <a:xfrm>
                <a:off x="6397625" y="5064126"/>
                <a:ext cx="76200" cy="77788"/>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Rectangle 76"/>
              <p:cNvSpPr>
                <a:spLocks noChangeArrowheads="1"/>
              </p:cNvSpPr>
              <p:nvPr/>
            </p:nvSpPr>
            <p:spPr bwMode="auto">
              <a:xfrm>
                <a:off x="6300788" y="5064126"/>
                <a:ext cx="77788" cy="77788"/>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Rectangle 77"/>
              <p:cNvSpPr>
                <a:spLocks noChangeArrowheads="1"/>
              </p:cNvSpPr>
              <p:nvPr/>
            </p:nvSpPr>
            <p:spPr bwMode="auto">
              <a:xfrm>
                <a:off x="6300788" y="4967288"/>
                <a:ext cx="77788" cy="77788"/>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78"/>
              <p:cNvSpPr>
                <a:spLocks noChangeArrowheads="1"/>
              </p:cNvSpPr>
              <p:nvPr/>
            </p:nvSpPr>
            <p:spPr bwMode="auto">
              <a:xfrm>
                <a:off x="6397625" y="4967288"/>
                <a:ext cx="76200" cy="77788"/>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79"/>
              <p:cNvSpPr>
                <a:spLocks noChangeArrowheads="1"/>
              </p:cNvSpPr>
              <p:nvPr/>
            </p:nvSpPr>
            <p:spPr bwMode="auto">
              <a:xfrm>
                <a:off x="6492875" y="4967288"/>
                <a:ext cx="79375" cy="77788"/>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80"/>
              <p:cNvSpPr>
                <a:spLocks noChangeArrowheads="1"/>
              </p:cNvSpPr>
              <p:nvPr/>
            </p:nvSpPr>
            <p:spPr bwMode="auto">
              <a:xfrm>
                <a:off x="6492875" y="5159376"/>
                <a:ext cx="79375" cy="79375"/>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Rectangle 81"/>
              <p:cNvSpPr>
                <a:spLocks noChangeArrowheads="1"/>
              </p:cNvSpPr>
              <p:nvPr/>
            </p:nvSpPr>
            <p:spPr bwMode="auto">
              <a:xfrm>
                <a:off x="6397625" y="5159376"/>
                <a:ext cx="76200" cy="79375"/>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82"/>
              <p:cNvSpPr>
                <a:spLocks noChangeArrowheads="1"/>
              </p:cNvSpPr>
              <p:nvPr/>
            </p:nvSpPr>
            <p:spPr bwMode="auto">
              <a:xfrm>
                <a:off x="6300788" y="5159376"/>
                <a:ext cx="77788" cy="79375"/>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84"/>
              <p:cNvSpPr>
                <a:spLocks/>
              </p:cNvSpPr>
              <p:nvPr/>
            </p:nvSpPr>
            <p:spPr bwMode="auto">
              <a:xfrm>
                <a:off x="6318250" y="5384801"/>
                <a:ext cx="90488" cy="44450"/>
              </a:xfrm>
              <a:custGeom>
                <a:avLst/>
                <a:gdLst>
                  <a:gd name="T0" fmla="*/ 27 w 53"/>
                  <a:gd name="T1" fmla="*/ 0 h 26"/>
                  <a:gd name="T2" fmla="*/ 53 w 53"/>
                  <a:gd name="T3" fmla="*/ 26 h 26"/>
                  <a:gd name="T4" fmla="*/ 0 w 53"/>
                  <a:gd name="T5" fmla="*/ 26 h 26"/>
                  <a:gd name="T6" fmla="*/ 27 w 53"/>
                  <a:gd name="T7" fmla="*/ 0 h 26"/>
                </a:gdLst>
                <a:ahLst/>
                <a:cxnLst>
                  <a:cxn ang="0">
                    <a:pos x="T0" y="T1"/>
                  </a:cxn>
                  <a:cxn ang="0">
                    <a:pos x="T2" y="T3"/>
                  </a:cxn>
                  <a:cxn ang="0">
                    <a:pos x="T4" y="T5"/>
                  </a:cxn>
                  <a:cxn ang="0">
                    <a:pos x="T6" y="T7"/>
                  </a:cxn>
                </a:cxnLst>
                <a:rect l="0" t="0" r="r" b="b"/>
                <a:pathLst>
                  <a:path w="53" h="26">
                    <a:moveTo>
                      <a:pt x="27" y="0"/>
                    </a:moveTo>
                    <a:cubicBezTo>
                      <a:pt x="42" y="0"/>
                      <a:pt x="53" y="12"/>
                      <a:pt x="53" y="26"/>
                    </a:cubicBezTo>
                    <a:cubicBezTo>
                      <a:pt x="0" y="26"/>
                      <a:pt x="0" y="26"/>
                      <a:pt x="0" y="26"/>
                    </a:cubicBezTo>
                    <a:cubicBezTo>
                      <a:pt x="0" y="12"/>
                      <a:pt x="12" y="0"/>
                      <a:pt x="27"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85"/>
              <p:cNvSpPr>
                <a:spLocks/>
              </p:cNvSpPr>
              <p:nvPr/>
            </p:nvSpPr>
            <p:spPr bwMode="auto">
              <a:xfrm>
                <a:off x="6462713" y="5384801"/>
                <a:ext cx="90488" cy="44450"/>
              </a:xfrm>
              <a:custGeom>
                <a:avLst/>
                <a:gdLst>
                  <a:gd name="T0" fmla="*/ 26 w 53"/>
                  <a:gd name="T1" fmla="*/ 0 h 26"/>
                  <a:gd name="T2" fmla="*/ 53 w 53"/>
                  <a:gd name="T3" fmla="*/ 26 h 26"/>
                  <a:gd name="T4" fmla="*/ 0 w 53"/>
                  <a:gd name="T5" fmla="*/ 26 h 26"/>
                  <a:gd name="T6" fmla="*/ 26 w 53"/>
                  <a:gd name="T7" fmla="*/ 0 h 26"/>
                </a:gdLst>
                <a:ahLst/>
                <a:cxnLst>
                  <a:cxn ang="0">
                    <a:pos x="T0" y="T1"/>
                  </a:cxn>
                  <a:cxn ang="0">
                    <a:pos x="T2" y="T3"/>
                  </a:cxn>
                  <a:cxn ang="0">
                    <a:pos x="T4" y="T5"/>
                  </a:cxn>
                  <a:cxn ang="0">
                    <a:pos x="T6" y="T7"/>
                  </a:cxn>
                </a:cxnLst>
                <a:rect l="0" t="0" r="r" b="b"/>
                <a:pathLst>
                  <a:path w="53" h="26">
                    <a:moveTo>
                      <a:pt x="26" y="0"/>
                    </a:moveTo>
                    <a:cubicBezTo>
                      <a:pt x="41" y="0"/>
                      <a:pt x="53" y="12"/>
                      <a:pt x="53" y="26"/>
                    </a:cubicBezTo>
                    <a:cubicBezTo>
                      <a:pt x="0" y="26"/>
                      <a:pt x="0" y="26"/>
                      <a:pt x="0" y="26"/>
                    </a:cubicBezTo>
                    <a:cubicBezTo>
                      <a:pt x="0" y="12"/>
                      <a:pt x="12" y="0"/>
                      <a:pt x="2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2" name="Group 121"/>
              <p:cNvGrpSpPr/>
              <p:nvPr/>
            </p:nvGrpSpPr>
            <p:grpSpPr>
              <a:xfrm>
                <a:off x="6617084" y="4283578"/>
                <a:ext cx="274254" cy="380499"/>
                <a:chOff x="7704138" y="1800225"/>
                <a:chExt cx="176212" cy="244476"/>
              </a:xfrm>
            </p:grpSpPr>
            <p:sp>
              <p:nvSpPr>
                <p:cNvPr id="123" name="Freeform 31"/>
                <p:cNvSpPr>
                  <a:spLocks/>
                </p:cNvSpPr>
                <p:nvPr/>
              </p:nvSpPr>
              <p:spPr bwMode="auto">
                <a:xfrm>
                  <a:off x="7704138" y="1973263"/>
                  <a:ext cx="25400" cy="6985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32"/>
                <p:cNvSpPr>
                  <a:spLocks/>
                </p:cNvSpPr>
                <p:nvPr/>
              </p:nvSpPr>
              <p:spPr bwMode="auto">
                <a:xfrm>
                  <a:off x="7704138" y="1887538"/>
                  <a:ext cx="25400" cy="69850"/>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33"/>
                <p:cNvSpPr>
                  <a:spLocks/>
                </p:cNvSpPr>
                <p:nvPr/>
              </p:nvSpPr>
              <p:spPr bwMode="auto">
                <a:xfrm>
                  <a:off x="7704138" y="1800225"/>
                  <a:ext cx="25400" cy="6985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34"/>
                <p:cNvSpPr>
                  <a:spLocks/>
                </p:cNvSpPr>
                <p:nvPr/>
              </p:nvSpPr>
              <p:spPr bwMode="auto">
                <a:xfrm>
                  <a:off x="7750175" y="1800225"/>
                  <a:ext cx="25400" cy="69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35"/>
                <p:cNvSpPr>
                  <a:spLocks noEditPoints="1"/>
                </p:cNvSpPr>
                <p:nvPr/>
              </p:nvSpPr>
              <p:spPr bwMode="auto">
                <a:xfrm>
                  <a:off x="7739063" y="1973263"/>
                  <a:ext cx="47625" cy="7143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36"/>
                <p:cNvSpPr>
                  <a:spLocks noEditPoints="1"/>
                </p:cNvSpPr>
                <p:nvPr/>
              </p:nvSpPr>
              <p:spPr bwMode="auto">
                <a:xfrm>
                  <a:off x="7740650" y="1885950"/>
                  <a:ext cx="47625" cy="73025"/>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37"/>
                <p:cNvSpPr>
                  <a:spLocks/>
                </p:cNvSpPr>
                <p:nvPr/>
              </p:nvSpPr>
              <p:spPr bwMode="auto">
                <a:xfrm>
                  <a:off x="7796213" y="1973263"/>
                  <a:ext cx="25400" cy="6985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38"/>
                <p:cNvSpPr>
                  <a:spLocks/>
                </p:cNvSpPr>
                <p:nvPr/>
              </p:nvSpPr>
              <p:spPr bwMode="auto">
                <a:xfrm>
                  <a:off x="7796213" y="1887538"/>
                  <a:ext cx="25400" cy="69850"/>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39"/>
                <p:cNvSpPr>
                  <a:spLocks/>
                </p:cNvSpPr>
                <p:nvPr/>
              </p:nvSpPr>
              <p:spPr bwMode="auto">
                <a:xfrm>
                  <a:off x="7796213" y="1800225"/>
                  <a:ext cx="25400" cy="6985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40"/>
                <p:cNvSpPr>
                  <a:spLocks noEditPoints="1"/>
                </p:cNvSpPr>
                <p:nvPr/>
              </p:nvSpPr>
              <p:spPr bwMode="auto">
                <a:xfrm>
                  <a:off x="7832725" y="1973263"/>
                  <a:ext cx="47625" cy="7143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41"/>
                <p:cNvSpPr>
                  <a:spLocks noEditPoints="1"/>
                </p:cNvSpPr>
                <p:nvPr/>
              </p:nvSpPr>
              <p:spPr bwMode="auto">
                <a:xfrm>
                  <a:off x="7832725" y="1885950"/>
                  <a:ext cx="47625" cy="73025"/>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42"/>
                <p:cNvSpPr>
                  <a:spLocks noEditPoints="1"/>
                </p:cNvSpPr>
                <p:nvPr/>
              </p:nvSpPr>
              <p:spPr bwMode="auto">
                <a:xfrm>
                  <a:off x="7832725" y="1800225"/>
                  <a:ext cx="47625" cy="71438"/>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391" name="Group 390"/>
          <p:cNvGrpSpPr/>
          <p:nvPr/>
        </p:nvGrpSpPr>
        <p:grpSpPr>
          <a:xfrm>
            <a:off x="5478276" y="1189176"/>
            <a:ext cx="1828800" cy="1799520"/>
            <a:chOff x="5478276" y="1189176"/>
            <a:chExt cx="1828800" cy="1799520"/>
          </a:xfrm>
        </p:grpSpPr>
        <p:sp>
          <p:nvSpPr>
            <p:cNvPr id="10" name="TextBox 9"/>
            <p:cNvSpPr txBox="1"/>
            <p:nvPr/>
          </p:nvSpPr>
          <p:spPr>
            <a:xfrm>
              <a:off x="5478276" y="1189176"/>
              <a:ext cx="1828800" cy="904863"/>
            </a:xfrm>
            <a:prstGeom prst="rect">
              <a:avLst/>
            </a:prstGeom>
            <a:noFill/>
          </p:spPr>
          <p:txBody>
            <a:bodyPr wrap="square" lIns="91440" tIns="146304" rIns="182880" bIns="146304" rtlCol="0">
              <a:spAutoFit/>
            </a:bodyPr>
            <a:lstStyle/>
            <a:p>
              <a:pPr algn="ctr">
                <a:lnSpc>
                  <a:spcPct val="90000"/>
                </a:lnSpc>
                <a:spcAft>
                  <a:spcPts val="1200"/>
                </a:spcAft>
              </a:pPr>
              <a:r>
                <a:rPr lang="en-US" sz="2200" dirty="0">
                  <a:solidFill>
                    <a:schemeClr val="tx2"/>
                  </a:solidFill>
                  <a:latin typeface="+mj-lt"/>
                  <a:cs typeface="Segoe UI"/>
                </a:rPr>
                <a:t>Inside client app</a:t>
              </a:r>
            </a:p>
          </p:txBody>
        </p:sp>
        <p:sp>
          <p:nvSpPr>
            <p:cNvPr id="42" name="Rectangle 9"/>
            <p:cNvSpPr>
              <a:spLocks noChangeArrowheads="1"/>
            </p:cNvSpPr>
            <p:nvPr/>
          </p:nvSpPr>
          <p:spPr bwMode="auto">
            <a:xfrm>
              <a:off x="6261100" y="2305050"/>
              <a:ext cx="338138" cy="5635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48" name="Group 147"/>
            <p:cNvGrpSpPr/>
            <p:nvPr/>
          </p:nvGrpSpPr>
          <p:grpSpPr>
            <a:xfrm>
              <a:off x="6167821" y="2212408"/>
              <a:ext cx="493713" cy="776288"/>
              <a:chOff x="6167821" y="2212408"/>
              <a:chExt cx="493713" cy="776288"/>
            </a:xfrm>
          </p:grpSpPr>
          <p:sp>
            <p:nvSpPr>
              <p:cNvPr id="136" name="Freeform 5"/>
              <p:cNvSpPr>
                <a:spLocks/>
              </p:cNvSpPr>
              <p:nvPr/>
            </p:nvSpPr>
            <p:spPr bwMode="auto">
              <a:xfrm>
                <a:off x="6167821" y="2212408"/>
                <a:ext cx="493713" cy="776288"/>
              </a:xfrm>
              <a:custGeom>
                <a:avLst/>
                <a:gdLst>
                  <a:gd name="T0" fmla="*/ 196 w 222"/>
                  <a:gd name="T1" fmla="*/ 338 h 350"/>
                  <a:gd name="T2" fmla="*/ 182 w 222"/>
                  <a:gd name="T3" fmla="*/ 350 h 350"/>
                  <a:gd name="T4" fmla="*/ 12 w 222"/>
                  <a:gd name="T5" fmla="*/ 335 h 350"/>
                  <a:gd name="T6" fmla="*/ 0 w 222"/>
                  <a:gd name="T7" fmla="*/ 322 h 350"/>
                  <a:gd name="T8" fmla="*/ 26 w 222"/>
                  <a:gd name="T9" fmla="*/ 12 h 350"/>
                  <a:gd name="T10" fmla="*/ 40 w 222"/>
                  <a:gd name="T11" fmla="*/ 1 h 350"/>
                  <a:gd name="T12" fmla="*/ 210 w 222"/>
                  <a:gd name="T13" fmla="*/ 15 h 350"/>
                  <a:gd name="T14" fmla="*/ 221 w 222"/>
                  <a:gd name="T15" fmla="*/ 28 h 350"/>
                  <a:gd name="T16" fmla="*/ 196 w 222"/>
                  <a:gd name="T17" fmla="*/ 338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350">
                    <a:moveTo>
                      <a:pt x="196" y="338"/>
                    </a:moveTo>
                    <a:cubicBezTo>
                      <a:pt x="195" y="345"/>
                      <a:pt x="189" y="350"/>
                      <a:pt x="182" y="350"/>
                    </a:cubicBezTo>
                    <a:cubicBezTo>
                      <a:pt x="12" y="335"/>
                      <a:pt x="12" y="335"/>
                      <a:pt x="12" y="335"/>
                    </a:cubicBezTo>
                    <a:cubicBezTo>
                      <a:pt x="5" y="335"/>
                      <a:pt x="0" y="329"/>
                      <a:pt x="0" y="322"/>
                    </a:cubicBezTo>
                    <a:cubicBezTo>
                      <a:pt x="26" y="12"/>
                      <a:pt x="26" y="12"/>
                      <a:pt x="26" y="12"/>
                    </a:cubicBezTo>
                    <a:cubicBezTo>
                      <a:pt x="27" y="5"/>
                      <a:pt x="33" y="0"/>
                      <a:pt x="40" y="1"/>
                    </a:cubicBezTo>
                    <a:cubicBezTo>
                      <a:pt x="210" y="15"/>
                      <a:pt x="210" y="15"/>
                      <a:pt x="210" y="15"/>
                    </a:cubicBezTo>
                    <a:cubicBezTo>
                      <a:pt x="217" y="15"/>
                      <a:pt x="222" y="21"/>
                      <a:pt x="221" y="28"/>
                    </a:cubicBezTo>
                    <a:lnTo>
                      <a:pt x="196" y="33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6"/>
              <p:cNvSpPr>
                <a:spLocks/>
              </p:cNvSpPr>
              <p:nvPr/>
            </p:nvSpPr>
            <p:spPr bwMode="auto">
              <a:xfrm>
                <a:off x="6215446" y="2256858"/>
                <a:ext cx="401638" cy="614363"/>
              </a:xfrm>
              <a:custGeom>
                <a:avLst/>
                <a:gdLst>
                  <a:gd name="T0" fmla="*/ 0 w 253"/>
                  <a:gd name="T1" fmla="*/ 369 h 387"/>
                  <a:gd name="T2" fmla="*/ 31 w 253"/>
                  <a:gd name="T3" fmla="*/ 0 h 387"/>
                  <a:gd name="T4" fmla="*/ 253 w 253"/>
                  <a:gd name="T5" fmla="*/ 18 h 387"/>
                  <a:gd name="T6" fmla="*/ 223 w 253"/>
                  <a:gd name="T7" fmla="*/ 387 h 387"/>
                  <a:gd name="T8" fmla="*/ 0 w 253"/>
                  <a:gd name="T9" fmla="*/ 369 h 387"/>
                </a:gdLst>
                <a:ahLst/>
                <a:cxnLst>
                  <a:cxn ang="0">
                    <a:pos x="T0" y="T1"/>
                  </a:cxn>
                  <a:cxn ang="0">
                    <a:pos x="T2" y="T3"/>
                  </a:cxn>
                  <a:cxn ang="0">
                    <a:pos x="T4" y="T5"/>
                  </a:cxn>
                  <a:cxn ang="0">
                    <a:pos x="T6" y="T7"/>
                  </a:cxn>
                  <a:cxn ang="0">
                    <a:pos x="T8" y="T9"/>
                  </a:cxn>
                </a:cxnLst>
                <a:rect l="0" t="0" r="r" b="b"/>
                <a:pathLst>
                  <a:path w="253" h="387">
                    <a:moveTo>
                      <a:pt x="0" y="369"/>
                    </a:moveTo>
                    <a:lnTo>
                      <a:pt x="31" y="0"/>
                    </a:lnTo>
                    <a:lnTo>
                      <a:pt x="253" y="18"/>
                    </a:lnTo>
                    <a:lnTo>
                      <a:pt x="223" y="387"/>
                    </a:lnTo>
                    <a:lnTo>
                      <a:pt x="0" y="369"/>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2"/>
              <p:cNvSpPr>
                <a:spLocks/>
              </p:cNvSpPr>
              <p:nvPr/>
            </p:nvSpPr>
            <p:spPr bwMode="auto">
              <a:xfrm>
                <a:off x="6375783" y="2437833"/>
                <a:ext cx="25400" cy="82550"/>
              </a:xfrm>
              <a:custGeom>
                <a:avLst/>
                <a:gdLst>
                  <a:gd name="T0" fmla="*/ 11 w 16"/>
                  <a:gd name="T1" fmla="*/ 52 h 52"/>
                  <a:gd name="T2" fmla="*/ 0 w 16"/>
                  <a:gd name="T3" fmla="*/ 52 h 52"/>
                  <a:gd name="T4" fmla="*/ 4 w 16"/>
                  <a:gd name="T5" fmla="*/ 0 h 52"/>
                  <a:gd name="T6" fmla="*/ 16 w 16"/>
                  <a:gd name="T7" fmla="*/ 2 h 52"/>
                  <a:gd name="T8" fmla="*/ 11 w 16"/>
                  <a:gd name="T9" fmla="*/ 52 h 52"/>
                </a:gdLst>
                <a:ahLst/>
                <a:cxnLst>
                  <a:cxn ang="0">
                    <a:pos x="T0" y="T1"/>
                  </a:cxn>
                  <a:cxn ang="0">
                    <a:pos x="T2" y="T3"/>
                  </a:cxn>
                  <a:cxn ang="0">
                    <a:pos x="T4" y="T5"/>
                  </a:cxn>
                  <a:cxn ang="0">
                    <a:pos x="T6" y="T7"/>
                  </a:cxn>
                  <a:cxn ang="0">
                    <a:pos x="T8" y="T9"/>
                  </a:cxn>
                </a:cxnLst>
                <a:rect l="0" t="0" r="r" b="b"/>
                <a:pathLst>
                  <a:path w="16" h="52">
                    <a:moveTo>
                      <a:pt x="11" y="52"/>
                    </a:moveTo>
                    <a:lnTo>
                      <a:pt x="0" y="52"/>
                    </a:lnTo>
                    <a:lnTo>
                      <a:pt x="4" y="0"/>
                    </a:lnTo>
                    <a:lnTo>
                      <a:pt x="16" y="2"/>
                    </a:lnTo>
                    <a:lnTo>
                      <a:pt x="1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3"/>
              <p:cNvSpPr>
                <a:spLocks/>
              </p:cNvSpPr>
              <p:nvPr/>
            </p:nvSpPr>
            <p:spPr bwMode="auto">
              <a:xfrm>
                <a:off x="6412296" y="2441008"/>
                <a:ext cx="63500" cy="84138"/>
              </a:xfrm>
              <a:custGeom>
                <a:avLst/>
                <a:gdLst>
                  <a:gd name="T0" fmla="*/ 40 w 40"/>
                  <a:gd name="T1" fmla="*/ 12 h 53"/>
                  <a:gd name="T2" fmla="*/ 25 w 40"/>
                  <a:gd name="T3" fmla="*/ 11 h 53"/>
                  <a:gd name="T4" fmla="*/ 22 w 40"/>
                  <a:gd name="T5" fmla="*/ 53 h 53"/>
                  <a:gd name="T6" fmla="*/ 11 w 40"/>
                  <a:gd name="T7" fmla="*/ 53 h 53"/>
                  <a:gd name="T8" fmla="*/ 14 w 40"/>
                  <a:gd name="T9" fmla="*/ 11 h 53"/>
                  <a:gd name="T10" fmla="*/ 0 w 40"/>
                  <a:gd name="T11" fmla="*/ 10 h 53"/>
                  <a:gd name="T12" fmla="*/ 0 w 40"/>
                  <a:gd name="T13" fmla="*/ 0 h 53"/>
                  <a:gd name="T14" fmla="*/ 40 w 40"/>
                  <a:gd name="T15" fmla="*/ 4 h 53"/>
                  <a:gd name="T16" fmla="*/ 40 w 40"/>
                  <a:gd name="T17"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53">
                    <a:moveTo>
                      <a:pt x="40" y="12"/>
                    </a:moveTo>
                    <a:lnTo>
                      <a:pt x="25" y="11"/>
                    </a:lnTo>
                    <a:lnTo>
                      <a:pt x="22" y="53"/>
                    </a:lnTo>
                    <a:lnTo>
                      <a:pt x="11" y="53"/>
                    </a:lnTo>
                    <a:lnTo>
                      <a:pt x="14" y="11"/>
                    </a:lnTo>
                    <a:lnTo>
                      <a:pt x="0" y="10"/>
                    </a:lnTo>
                    <a:lnTo>
                      <a:pt x="0" y="0"/>
                    </a:lnTo>
                    <a:lnTo>
                      <a:pt x="40" y="4"/>
                    </a:lnTo>
                    <a:lnTo>
                      <a:pt x="4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4"/>
              <p:cNvSpPr>
                <a:spLocks noEditPoints="1"/>
              </p:cNvSpPr>
              <p:nvPr/>
            </p:nvSpPr>
            <p:spPr bwMode="auto">
              <a:xfrm>
                <a:off x="6324983" y="2375920"/>
                <a:ext cx="193675" cy="212725"/>
              </a:xfrm>
              <a:custGeom>
                <a:avLst/>
                <a:gdLst>
                  <a:gd name="T0" fmla="*/ 66 w 122"/>
                  <a:gd name="T1" fmla="*/ 0 h 134"/>
                  <a:gd name="T2" fmla="*/ 6 w 122"/>
                  <a:gd name="T3" fmla="*/ 30 h 134"/>
                  <a:gd name="T4" fmla="*/ 0 w 122"/>
                  <a:gd name="T5" fmla="*/ 95 h 134"/>
                  <a:gd name="T6" fmla="*/ 56 w 122"/>
                  <a:gd name="T7" fmla="*/ 134 h 134"/>
                  <a:gd name="T8" fmla="*/ 116 w 122"/>
                  <a:gd name="T9" fmla="*/ 105 h 134"/>
                  <a:gd name="T10" fmla="*/ 122 w 122"/>
                  <a:gd name="T11" fmla="*/ 38 h 134"/>
                  <a:gd name="T12" fmla="*/ 66 w 122"/>
                  <a:gd name="T13" fmla="*/ 0 h 134"/>
                  <a:gd name="T14" fmla="*/ 108 w 122"/>
                  <a:gd name="T15" fmla="*/ 100 h 134"/>
                  <a:gd name="T16" fmla="*/ 56 w 122"/>
                  <a:gd name="T17" fmla="*/ 125 h 134"/>
                  <a:gd name="T18" fmla="*/ 8 w 122"/>
                  <a:gd name="T19" fmla="*/ 93 h 134"/>
                  <a:gd name="T20" fmla="*/ 14 w 122"/>
                  <a:gd name="T21" fmla="*/ 35 h 134"/>
                  <a:gd name="T22" fmla="*/ 66 w 122"/>
                  <a:gd name="T23" fmla="*/ 10 h 134"/>
                  <a:gd name="T24" fmla="*/ 113 w 122"/>
                  <a:gd name="T25" fmla="*/ 42 h 134"/>
                  <a:gd name="T26" fmla="*/ 108 w 122"/>
                  <a:gd name="T27" fmla="*/ 10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2" h="134">
                    <a:moveTo>
                      <a:pt x="66" y="0"/>
                    </a:moveTo>
                    <a:lnTo>
                      <a:pt x="6" y="30"/>
                    </a:lnTo>
                    <a:lnTo>
                      <a:pt x="0" y="95"/>
                    </a:lnTo>
                    <a:lnTo>
                      <a:pt x="56" y="134"/>
                    </a:lnTo>
                    <a:lnTo>
                      <a:pt x="116" y="105"/>
                    </a:lnTo>
                    <a:lnTo>
                      <a:pt x="122" y="38"/>
                    </a:lnTo>
                    <a:lnTo>
                      <a:pt x="66" y="0"/>
                    </a:lnTo>
                    <a:close/>
                    <a:moveTo>
                      <a:pt x="108" y="100"/>
                    </a:moveTo>
                    <a:lnTo>
                      <a:pt x="56" y="125"/>
                    </a:lnTo>
                    <a:lnTo>
                      <a:pt x="8" y="93"/>
                    </a:lnTo>
                    <a:lnTo>
                      <a:pt x="14" y="35"/>
                    </a:lnTo>
                    <a:lnTo>
                      <a:pt x="66" y="10"/>
                    </a:lnTo>
                    <a:lnTo>
                      <a:pt x="113" y="42"/>
                    </a:lnTo>
                    <a:lnTo>
                      <a:pt x="108"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6" name="Group 95"/>
              <p:cNvGrpSpPr/>
              <p:nvPr/>
            </p:nvGrpSpPr>
            <p:grpSpPr>
              <a:xfrm rot="307053">
                <a:off x="6275169" y="2373789"/>
                <a:ext cx="274254" cy="380499"/>
                <a:chOff x="7704138" y="1800225"/>
                <a:chExt cx="176212" cy="244476"/>
              </a:xfrm>
            </p:grpSpPr>
            <p:sp>
              <p:nvSpPr>
                <p:cNvPr id="64" name="Freeform 31"/>
                <p:cNvSpPr>
                  <a:spLocks/>
                </p:cNvSpPr>
                <p:nvPr/>
              </p:nvSpPr>
              <p:spPr bwMode="auto">
                <a:xfrm>
                  <a:off x="7704138" y="1973263"/>
                  <a:ext cx="25400" cy="6985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32"/>
                <p:cNvSpPr>
                  <a:spLocks/>
                </p:cNvSpPr>
                <p:nvPr/>
              </p:nvSpPr>
              <p:spPr bwMode="auto">
                <a:xfrm>
                  <a:off x="7704138" y="1887538"/>
                  <a:ext cx="25400" cy="69850"/>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33"/>
                <p:cNvSpPr>
                  <a:spLocks/>
                </p:cNvSpPr>
                <p:nvPr/>
              </p:nvSpPr>
              <p:spPr bwMode="auto">
                <a:xfrm>
                  <a:off x="7704138" y="1800225"/>
                  <a:ext cx="25400" cy="6985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34"/>
                <p:cNvSpPr>
                  <a:spLocks/>
                </p:cNvSpPr>
                <p:nvPr/>
              </p:nvSpPr>
              <p:spPr bwMode="auto">
                <a:xfrm>
                  <a:off x="7750175" y="1800225"/>
                  <a:ext cx="25400" cy="69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35"/>
                <p:cNvSpPr>
                  <a:spLocks noEditPoints="1"/>
                </p:cNvSpPr>
                <p:nvPr/>
              </p:nvSpPr>
              <p:spPr bwMode="auto">
                <a:xfrm>
                  <a:off x="7739063" y="1973263"/>
                  <a:ext cx="47625" cy="7143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36"/>
                <p:cNvSpPr>
                  <a:spLocks noEditPoints="1"/>
                </p:cNvSpPr>
                <p:nvPr/>
              </p:nvSpPr>
              <p:spPr bwMode="auto">
                <a:xfrm>
                  <a:off x="7740650" y="1885950"/>
                  <a:ext cx="47625" cy="73025"/>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37"/>
                <p:cNvSpPr>
                  <a:spLocks/>
                </p:cNvSpPr>
                <p:nvPr/>
              </p:nvSpPr>
              <p:spPr bwMode="auto">
                <a:xfrm>
                  <a:off x="7796213" y="1973263"/>
                  <a:ext cx="25400" cy="6985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38"/>
                <p:cNvSpPr>
                  <a:spLocks/>
                </p:cNvSpPr>
                <p:nvPr/>
              </p:nvSpPr>
              <p:spPr bwMode="auto">
                <a:xfrm>
                  <a:off x="7796213" y="1887538"/>
                  <a:ext cx="25400" cy="69850"/>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39"/>
                <p:cNvSpPr>
                  <a:spLocks/>
                </p:cNvSpPr>
                <p:nvPr/>
              </p:nvSpPr>
              <p:spPr bwMode="auto">
                <a:xfrm>
                  <a:off x="7796213" y="1800225"/>
                  <a:ext cx="25400" cy="6985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40"/>
                <p:cNvSpPr>
                  <a:spLocks noEditPoints="1"/>
                </p:cNvSpPr>
                <p:nvPr/>
              </p:nvSpPr>
              <p:spPr bwMode="auto">
                <a:xfrm>
                  <a:off x="7832725" y="1973263"/>
                  <a:ext cx="47625" cy="7143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41"/>
                <p:cNvSpPr>
                  <a:spLocks noEditPoints="1"/>
                </p:cNvSpPr>
                <p:nvPr/>
              </p:nvSpPr>
              <p:spPr bwMode="auto">
                <a:xfrm>
                  <a:off x="7832725" y="1885950"/>
                  <a:ext cx="47625" cy="73025"/>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42"/>
                <p:cNvSpPr>
                  <a:spLocks noEditPoints="1"/>
                </p:cNvSpPr>
                <p:nvPr/>
              </p:nvSpPr>
              <p:spPr bwMode="auto">
                <a:xfrm>
                  <a:off x="7832725" y="1800225"/>
                  <a:ext cx="47625" cy="71438"/>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388" name="Group 387"/>
          <p:cNvGrpSpPr/>
          <p:nvPr/>
        </p:nvGrpSpPr>
        <p:grpSpPr>
          <a:xfrm>
            <a:off x="1300172" y="1189176"/>
            <a:ext cx="1828800" cy="2633400"/>
            <a:chOff x="1300172" y="1189176"/>
            <a:chExt cx="1828800" cy="2633400"/>
          </a:xfrm>
        </p:grpSpPr>
        <p:sp>
          <p:nvSpPr>
            <p:cNvPr id="9" name="TextBox 8"/>
            <p:cNvSpPr txBox="1"/>
            <p:nvPr/>
          </p:nvSpPr>
          <p:spPr>
            <a:xfrm>
              <a:off x="1300172" y="1189176"/>
              <a:ext cx="1828800" cy="904863"/>
            </a:xfrm>
            <a:prstGeom prst="rect">
              <a:avLst/>
            </a:prstGeom>
            <a:noFill/>
          </p:spPr>
          <p:txBody>
            <a:bodyPr wrap="square" lIns="91440" tIns="146304" rIns="182880" bIns="146304" rtlCol="0">
              <a:spAutoFit/>
            </a:bodyPr>
            <a:lstStyle/>
            <a:p>
              <a:pPr algn="ctr">
                <a:lnSpc>
                  <a:spcPct val="90000"/>
                </a:lnSpc>
                <a:spcAft>
                  <a:spcPts val="1200"/>
                </a:spcAft>
              </a:pPr>
              <a:r>
                <a:rPr lang="en-US" sz="2200" dirty="0">
                  <a:solidFill>
                    <a:schemeClr val="tx2"/>
                  </a:solidFill>
                  <a:latin typeface="+mj-lt"/>
                  <a:cs typeface="Segoe UI"/>
                </a:rPr>
                <a:t>Mono-lithic application</a:t>
              </a:r>
            </a:p>
          </p:txBody>
        </p:sp>
        <p:grpSp>
          <p:nvGrpSpPr>
            <p:cNvPr id="303" name="Group 302"/>
            <p:cNvGrpSpPr/>
            <p:nvPr/>
          </p:nvGrpSpPr>
          <p:grpSpPr>
            <a:xfrm>
              <a:off x="1678684" y="1912939"/>
              <a:ext cx="822325" cy="1331912"/>
              <a:chOff x="3100388" y="2201863"/>
              <a:chExt cx="822325" cy="1331912"/>
            </a:xfrm>
          </p:grpSpPr>
          <p:sp>
            <p:nvSpPr>
              <p:cNvPr id="176" name="Freeform 94"/>
              <p:cNvSpPr>
                <a:spLocks/>
              </p:cNvSpPr>
              <p:nvPr/>
            </p:nvSpPr>
            <p:spPr bwMode="auto">
              <a:xfrm>
                <a:off x="3433763" y="3386138"/>
                <a:ext cx="15875" cy="41275"/>
              </a:xfrm>
              <a:custGeom>
                <a:avLst/>
                <a:gdLst>
                  <a:gd name="T0" fmla="*/ 7 w 7"/>
                  <a:gd name="T1" fmla="*/ 0 h 18"/>
                  <a:gd name="T2" fmla="*/ 7 w 7"/>
                  <a:gd name="T3" fmla="*/ 18 h 18"/>
                  <a:gd name="T4" fmla="*/ 4 w 7"/>
                  <a:gd name="T5" fmla="*/ 18 h 18"/>
                  <a:gd name="T6" fmla="*/ 4 w 7"/>
                  <a:gd name="T7" fmla="*/ 5 h 18"/>
                  <a:gd name="T8" fmla="*/ 2 w 7"/>
                  <a:gd name="T9" fmla="*/ 5 h 18"/>
                  <a:gd name="T10" fmla="*/ 2 w 7"/>
                  <a:gd name="T11" fmla="*/ 6 h 18"/>
                  <a:gd name="T12" fmla="*/ 1 w 7"/>
                  <a:gd name="T13" fmla="*/ 6 h 18"/>
                  <a:gd name="T14" fmla="*/ 0 w 7"/>
                  <a:gd name="T15" fmla="*/ 6 h 18"/>
                  <a:gd name="T16" fmla="*/ 0 w 7"/>
                  <a:gd name="T17" fmla="*/ 3 h 18"/>
                  <a:gd name="T18" fmla="*/ 2 w 7"/>
                  <a:gd name="T19" fmla="*/ 2 h 18"/>
                  <a:gd name="T20" fmla="*/ 5 w 7"/>
                  <a:gd name="T21" fmla="*/ 0 h 18"/>
                  <a:gd name="T22" fmla="*/ 7 w 7"/>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8">
                    <a:moveTo>
                      <a:pt x="7" y="0"/>
                    </a:moveTo>
                    <a:cubicBezTo>
                      <a:pt x="7" y="18"/>
                      <a:pt x="7" y="18"/>
                      <a:pt x="7" y="18"/>
                    </a:cubicBezTo>
                    <a:cubicBezTo>
                      <a:pt x="4" y="18"/>
                      <a:pt x="4" y="18"/>
                      <a:pt x="4" y="18"/>
                    </a:cubicBezTo>
                    <a:cubicBezTo>
                      <a:pt x="4" y="5"/>
                      <a:pt x="4" y="5"/>
                      <a:pt x="4" y="5"/>
                    </a:cubicBezTo>
                    <a:cubicBezTo>
                      <a:pt x="3" y="5"/>
                      <a:pt x="3" y="5"/>
                      <a:pt x="2" y="5"/>
                    </a:cubicBezTo>
                    <a:cubicBezTo>
                      <a:pt x="2" y="5"/>
                      <a:pt x="2" y="5"/>
                      <a:pt x="2" y="6"/>
                    </a:cubicBezTo>
                    <a:cubicBezTo>
                      <a:pt x="1" y="6"/>
                      <a:pt x="1" y="6"/>
                      <a:pt x="1" y="6"/>
                    </a:cubicBezTo>
                    <a:cubicBezTo>
                      <a:pt x="0" y="6"/>
                      <a:pt x="0" y="6"/>
                      <a:pt x="0" y="6"/>
                    </a:cubicBezTo>
                    <a:cubicBezTo>
                      <a:pt x="0" y="3"/>
                      <a:pt x="0" y="3"/>
                      <a:pt x="0" y="3"/>
                    </a:cubicBezTo>
                    <a:cubicBezTo>
                      <a:pt x="1" y="2"/>
                      <a:pt x="2" y="2"/>
                      <a:pt x="2" y="2"/>
                    </a:cubicBezTo>
                    <a:cubicBezTo>
                      <a:pt x="4" y="1"/>
                      <a:pt x="4" y="1"/>
                      <a:pt x="5" y="0"/>
                    </a:cubicBezTo>
                    <a:lnTo>
                      <a:pt x="7"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95"/>
              <p:cNvSpPr>
                <a:spLocks noEditPoints="1"/>
              </p:cNvSpPr>
              <p:nvPr/>
            </p:nvSpPr>
            <p:spPr bwMode="auto">
              <a:xfrm>
                <a:off x="3462338" y="3386138"/>
                <a:ext cx="30163" cy="41275"/>
              </a:xfrm>
              <a:custGeom>
                <a:avLst/>
                <a:gdLst>
                  <a:gd name="T0" fmla="*/ 6 w 13"/>
                  <a:gd name="T1" fmla="*/ 18 h 18"/>
                  <a:gd name="T2" fmla="*/ 0 w 13"/>
                  <a:gd name="T3" fmla="*/ 9 h 18"/>
                  <a:gd name="T4" fmla="*/ 2 w 13"/>
                  <a:gd name="T5" fmla="*/ 3 h 18"/>
                  <a:gd name="T6" fmla="*/ 6 w 13"/>
                  <a:gd name="T7" fmla="*/ 0 h 18"/>
                  <a:gd name="T8" fmla="*/ 13 w 13"/>
                  <a:gd name="T9" fmla="*/ 9 h 18"/>
                  <a:gd name="T10" fmla="*/ 11 w 13"/>
                  <a:gd name="T11" fmla="*/ 15 h 18"/>
                  <a:gd name="T12" fmla="*/ 6 w 13"/>
                  <a:gd name="T13" fmla="*/ 18 h 18"/>
                  <a:gd name="T14" fmla="*/ 6 w 13"/>
                  <a:gd name="T15" fmla="*/ 3 h 18"/>
                  <a:gd name="T16" fmla="*/ 4 w 13"/>
                  <a:gd name="T17" fmla="*/ 9 h 18"/>
                  <a:gd name="T18" fmla="*/ 6 w 13"/>
                  <a:gd name="T19" fmla="*/ 15 h 18"/>
                  <a:gd name="T20" fmla="*/ 9 w 13"/>
                  <a:gd name="T21" fmla="*/ 9 h 18"/>
                  <a:gd name="T22" fmla="*/ 6 w 13"/>
                  <a:gd name="T23"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8">
                    <a:moveTo>
                      <a:pt x="6" y="18"/>
                    </a:moveTo>
                    <a:cubicBezTo>
                      <a:pt x="2" y="18"/>
                      <a:pt x="0" y="15"/>
                      <a:pt x="0" y="9"/>
                    </a:cubicBezTo>
                    <a:cubicBezTo>
                      <a:pt x="0" y="6"/>
                      <a:pt x="1" y="4"/>
                      <a:pt x="2" y="3"/>
                    </a:cubicBezTo>
                    <a:cubicBezTo>
                      <a:pt x="3" y="1"/>
                      <a:pt x="5" y="0"/>
                      <a:pt x="6" y="0"/>
                    </a:cubicBezTo>
                    <a:cubicBezTo>
                      <a:pt x="11" y="0"/>
                      <a:pt x="13" y="3"/>
                      <a:pt x="13" y="9"/>
                    </a:cubicBezTo>
                    <a:cubicBezTo>
                      <a:pt x="13" y="12"/>
                      <a:pt x="12" y="14"/>
                      <a:pt x="11" y="15"/>
                    </a:cubicBezTo>
                    <a:cubicBezTo>
                      <a:pt x="10" y="17"/>
                      <a:pt x="8" y="18"/>
                      <a:pt x="6" y="18"/>
                    </a:cubicBezTo>
                    <a:close/>
                    <a:moveTo>
                      <a:pt x="6" y="3"/>
                    </a:moveTo>
                    <a:cubicBezTo>
                      <a:pt x="5" y="3"/>
                      <a:pt x="4" y="5"/>
                      <a:pt x="4" y="9"/>
                    </a:cubicBezTo>
                    <a:cubicBezTo>
                      <a:pt x="4" y="13"/>
                      <a:pt x="5" y="15"/>
                      <a:pt x="6" y="15"/>
                    </a:cubicBezTo>
                    <a:cubicBezTo>
                      <a:pt x="8" y="15"/>
                      <a:pt x="9" y="13"/>
                      <a:pt x="9" y="9"/>
                    </a:cubicBezTo>
                    <a:cubicBezTo>
                      <a:pt x="9" y="5"/>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96"/>
              <p:cNvSpPr>
                <a:spLocks/>
              </p:cNvSpPr>
              <p:nvPr/>
            </p:nvSpPr>
            <p:spPr bwMode="auto">
              <a:xfrm>
                <a:off x="3498850" y="3386138"/>
                <a:ext cx="17463" cy="41275"/>
              </a:xfrm>
              <a:custGeom>
                <a:avLst/>
                <a:gdLst>
                  <a:gd name="T0" fmla="*/ 8 w 8"/>
                  <a:gd name="T1" fmla="*/ 0 h 18"/>
                  <a:gd name="T2" fmla="*/ 8 w 8"/>
                  <a:gd name="T3" fmla="*/ 18 h 18"/>
                  <a:gd name="T4" fmla="*/ 4 w 8"/>
                  <a:gd name="T5" fmla="*/ 18 h 18"/>
                  <a:gd name="T6" fmla="*/ 4 w 8"/>
                  <a:gd name="T7" fmla="*/ 5 h 18"/>
                  <a:gd name="T8" fmla="*/ 3 w 8"/>
                  <a:gd name="T9" fmla="*/ 5 h 18"/>
                  <a:gd name="T10" fmla="*/ 2 w 8"/>
                  <a:gd name="T11" fmla="*/ 6 h 18"/>
                  <a:gd name="T12" fmla="*/ 1 w 8"/>
                  <a:gd name="T13" fmla="*/ 6 h 18"/>
                  <a:gd name="T14" fmla="*/ 0 w 8"/>
                  <a:gd name="T15" fmla="*/ 6 h 18"/>
                  <a:gd name="T16" fmla="*/ 0 w 8"/>
                  <a:gd name="T17" fmla="*/ 3 h 18"/>
                  <a:gd name="T18" fmla="*/ 3 w 8"/>
                  <a:gd name="T19" fmla="*/ 2 h 18"/>
                  <a:gd name="T20" fmla="*/ 5 w 8"/>
                  <a:gd name="T21" fmla="*/ 0 h 18"/>
                  <a:gd name="T22" fmla="*/ 8 w 8"/>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8">
                    <a:moveTo>
                      <a:pt x="8" y="0"/>
                    </a:moveTo>
                    <a:cubicBezTo>
                      <a:pt x="8" y="18"/>
                      <a:pt x="8" y="18"/>
                      <a:pt x="8" y="18"/>
                    </a:cubicBezTo>
                    <a:cubicBezTo>
                      <a:pt x="4" y="18"/>
                      <a:pt x="4" y="18"/>
                      <a:pt x="4" y="18"/>
                    </a:cubicBezTo>
                    <a:cubicBezTo>
                      <a:pt x="4" y="5"/>
                      <a:pt x="4" y="5"/>
                      <a:pt x="4" y="5"/>
                    </a:cubicBezTo>
                    <a:cubicBezTo>
                      <a:pt x="4" y="5"/>
                      <a:pt x="3" y="5"/>
                      <a:pt x="3" y="5"/>
                    </a:cubicBezTo>
                    <a:cubicBezTo>
                      <a:pt x="3" y="5"/>
                      <a:pt x="3" y="5"/>
                      <a:pt x="2" y="6"/>
                    </a:cubicBezTo>
                    <a:cubicBezTo>
                      <a:pt x="1" y="6"/>
                      <a:pt x="1" y="6"/>
                      <a:pt x="1" y="6"/>
                    </a:cubicBezTo>
                    <a:cubicBezTo>
                      <a:pt x="1" y="6"/>
                      <a:pt x="0" y="6"/>
                      <a:pt x="0" y="6"/>
                    </a:cubicBezTo>
                    <a:cubicBezTo>
                      <a:pt x="0" y="3"/>
                      <a:pt x="0" y="3"/>
                      <a:pt x="0" y="3"/>
                    </a:cubicBezTo>
                    <a:cubicBezTo>
                      <a:pt x="1" y="2"/>
                      <a:pt x="2" y="2"/>
                      <a:pt x="3" y="2"/>
                    </a:cubicBezTo>
                    <a:cubicBezTo>
                      <a:pt x="4" y="1"/>
                      <a:pt x="4" y="1"/>
                      <a:pt x="5" y="0"/>
                    </a:cubicBezTo>
                    <a:lnTo>
                      <a:pt x="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97"/>
              <p:cNvSpPr>
                <a:spLocks noEditPoints="1"/>
              </p:cNvSpPr>
              <p:nvPr/>
            </p:nvSpPr>
            <p:spPr bwMode="auto">
              <a:xfrm>
                <a:off x="3429000" y="3441700"/>
                <a:ext cx="28575" cy="38100"/>
              </a:xfrm>
              <a:custGeom>
                <a:avLst/>
                <a:gdLst>
                  <a:gd name="T0" fmla="*/ 6 w 13"/>
                  <a:gd name="T1" fmla="*/ 17 h 17"/>
                  <a:gd name="T2" fmla="*/ 0 w 13"/>
                  <a:gd name="T3" fmla="*/ 8 h 17"/>
                  <a:gd name="T4" fmla="*/ 2 w 13"/>
                  <a:gd name="T5" fmla="*/ 2 h 17"/>
                  <a:gd name="T6" fmla="*/ 7 w 13"/>
                  <a:gd name="T7" fmla="*/ 0 h 17"/>
                  <a:gd name="T8" fmla="*/ 13 w 13"/>
                  <a:gd name="T9" fmla="*/ 8 h 17"/>
                  <a:gd name="T10" fmla="*/ 11 w 13"/>
                  <a:gd name="T11" fmla="*/ 15 h 17"/>
                  <a:gd name="T12" fmla="*/ 6 w 13"/>
                  <a:gd name="T13" fmla="*/ 17 h 17"/>
                  <a:gd name="T14" fmla="*/ 6 w 13"/>
                  <a:gd name="T15" fmla="*/ 2 h 17"/>
                  <a:gd name="T16" fmla="*/ 4 w 13"/>
                  <a:gd name="T17" fmla="*/ 8 h 17"/>
                  <a:gd name="T18" fmla="*/ 6 w 13"/>
                  <a:gd name="T19" fmla="*/ 14 h 17"/>
                  <a:gd name="T20" fmla="*/ 9 w 13"/>
                  <a:gd name="T21" fmla="*/ 8 h 17"/>
                  <a:gd name="T22" fmla="*/ 6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7" y="0"/>
                    </a:cubicBezTo>
                    <a:cubicBezTo>
                      <a:pt x="11" y="0"/>
                      <a:pt x="13" y="2"/>
                      <a:pt x="13" y="8"/>
                    </a:cubicBezTo>
                    <a:cubicBezTo>
                      <a:pt x="13" y="11"/>
                      <a:pt x="12" y="13"/>
                      <a:pt x="11" y="15"/>
                    </a:cubicBezTo>
                    <a:cubicBezTo>
                      <a:pt x="10" y="16"/>
                      <a:pt x="8" y="17"/>
                      <a:pt x="6" y="17"/>
                    </a:cubicBezTo>
                    <a:close/>
                    <a:moveTo>
                      <a:pt x="6" y="2"/>
                    </a:moveTo>
                    <a:cubicBezTo>
                      <a:pt x="5" y="2"/>
                      <a:pt x="4" y="4"/>
                      <a:pt x="4" y="8"/>
                    </a:cubicBezTo>
                    <a:cubicBezTo>
                      <a:pt x="4" y="12"/>
                      <a:pt x="5" y="14"/>
                      <a:pt x="6" y="14"/>
                    </a:cubicBezTo>
                    <a:cubicBezTo>
                      <a:pt x="8" y="14"/>
                      <a:pt x="9" y="12"/>
                      <a:pt x="9" y="8"/>
                    </a:cubicBezTo>
                    <a:cubicBezTo>
                      <a:pt x="9" y="4"/>
                      <a:pt x="8" y="2"/>
                      <a:pt x="6" y="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98"/>
              <p:cNvSpPr>
                <a:spLocks/>
              </p:cNvSpPr>
              <p:nvPr/>
            </p:nvSpPr>
            <p:spPr bwMode="auto">
              <a:xfrm>
                <a:off x="3467100" y="3441700"/>
                <a:ext cx="15875" cy="36513"/>
              </a:xfrm>
              <a:custGeom>
                <a:avLst/>
                <a:gdLst>
                  <a:gd name="T0" fmla="*/ 7 w 7"/>
                  <a:gd name="T1" fmla="*/ 0 h 16"/>
                  <a:gd name="T2" fmla="*/ 7 w 7"/>
                  <a:gd name="T3" fmla="*/ 16 h 16"/>
                  <a:gd name="T4" fmla="*/ 3 w 7"/>
                  <a:gd name="T5" fmla="*/ 16 h 16"/>
                  <a:gd name="T6" fmla="*/ 3 w 7"/>
                  <a:gd name="T7" fmla="*/ 4 h 16"/>
                  <a:gd name="T8" fmla="*/ 3 w 7"/>
                  <a:gd name="T9" fmla="*/ 4 h 16"/>
                  <a:gd name="T10" fmla="*/ 2 w 7"/>
                  <a:gd name="T11" fmla="*/ 4 h 16"/>
                  <a:gd name="T12" fmla="*/ 1 w 7"/>
                  <a:gd name="T13" fmla="*/ 5 h 16"/>
                  <a:gd name="T14" fmla="*/ 0 w 7"/>
                  <a:gd name="T15" fmla="*/ 5 h 16"/>
                  <a:gd name="T16" fmla="*/ 0 w 7"/>
                  <a:gd name="T17" fmla="*/ 2 h 16"/>
                  <a:gd name="T18" fmla="*/ 3 w 7"/>
                  <a:gd name="T19" fmla="*/ 1 h 16"/>
                  <a:gd name="T20" fmla="*/ 5 w 7"/>
                  <a:gd name="T21" fmla="*/ 0 h 16"/>
                  <a:gd name="T22" fmla="*/ 7 w 7"/>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6">
                    <a:moveTo>
                      <a:pt x="7" y="0"/>
                    </a:moveTo>
                    <a:cubicBezTo>
                      <a:pt x="7" y="16"/>
                      <a:pt x="7" y="16"/>
                      <a:pt x="7" y="16"/>
                    </a:cubicBezTo>
                    <a:cubicBezTo>
                      <a:pt x="3" y="16"/>
                      <a:pt x="3" y="16"/>
                      <a:pt x="3" y="16"/>
                    </a:cubicBezTo>
                    <a:cubicBezTo>
                      <a:pt x="3" y="4"/>
                      <a:pt x="3" y="4"/>
                      <a:pt x="3" y="4"/>
                    </a:cubicBezTo>
                    <a:cubicBezTo>
                      <a:pt x="3" y="4"/>
                      <a:pt x="3" y="4"/>
                      <a:pt x="3" y="4"/>
                    </a:cubicBezTo>
                    <a:cubicBezTo>
                      <a:pt x="2" y="4"/>
                      <a:pt x="2" y="4"/>
                      <a:pt x="2" y="4"/>
                    </a:cubicBezTo>
                    <a:cubicBezTo>
                      <a:pt x="2" y="5"/>
                      <a:pt x="1" y="5"/>
                      <a:pt x="1" y="5"/>
                    </a:cubicBezTo>
                    <a:cubicBezTo>
                      <a:pt x="0" y="5"/>
                      <a:pt x="0" y="5"/>
                      <a:pt x="0" y="5"/>
                    </a:cubicBezTo>
                    <a:cubicBezTo>
                      <a:pt x="0" y="2"/>
                      <a:pt x="0" y="2"/>
                      <a:pt x="0" y="2"/>
                    </a:cubicBezTo>
                    <a:cubicBezTo>
                      <a:pt x="1" y="2"/>
                      <a:pt x="2" y="1"/>
                      <a:pt x="3" y="1"/>
                    </a:cubicBezTo>
                    <a:cubicBezTo>
                      <a:pt x="3" y="1"/>
                      <a:pt x="5" y="0"/>
                      <a:pt x="5" y="0"/>
                    </a:cubicBezTo>
                    <a:lnTo>
                      <a:pt x="7"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99"/>
              <p:cNvSpPr>
                <a:spLocks noEditPoints="1"/>
              </p:cNvSpPr>
              <p:nvPr/>
            </p:nvSpPr>
            <p:spPr bwMode="auto">
              <a:xfrm>
                <a:off x="3494088" y="3441700"/>
                <a:ext cx="28575" cy="38100"/>
              </a:xfrm>
              <a:custGeom>
                <a:avLst/>
                <a:gdLst>
                  <a:gd name="T0" fmla="*/ 6 w 13"/>
                  <a:gd name="T1" fmla="*/ 17 h 17"/>
                  <a:gd name="T2" fmla="*/ 0 w 13"/>
                  <a:gd name="T3" fmla="*/ 8 h 17"/>
                  <a:gd name="T4" fmla="*/ 2 w 13"/>
                  <a:gd name="T5" fmla="*/ 2 h 17"/>
                  <a:gd name="T6" fmla="*/ 7 w 13"/>
                  <a:gd name="T7" fmla="*/ 0 h 17"/>
                  <a:gd name="T8" fmla="*/ 13 w 13"/>
                  <a:gd name="T9" fmla="*/ 8 h 17"/>
                  <a:gd name="T10" fmla="*/ 11 w 13"/>
                  <a:gd name="T11" fmla="*/ 15 h 17"/>
                  <a:gd name="T12" fmla="*/ 6 w 13"/>
                  <a:gd name="T13" fmla="*/ 17 h 17"/>
                  <a:gd name="T14" fmla="*/ 7 w 13"/>
                  <a:gd name="T15" fmla="*/ 2 h 17"/>
                  <a:gd name="T16" fmla="*/ 4 w 13"/>
                  <a:gd name="T17" fmla="*/ 8 h 17"/>
                  <a:gd name="T18" fmla="*/ 7 w 13"/>
                  <a:gd name="T19" fmla="*/ 14 h 17"/>
                  <a:gd name="T20" fmla="*/ 9 w 13"/>
                  <a:gd name="T21" fmla="*/ 8 h 17"/>
                  <a:gd name="T22" fmla="*/ 7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7" y="0"/>
                    </a:cubicBezTo>
                    <a:cubicBezTo>
                      <a:pt x="11" y="0"/>
                      <a:pt x="13" y="2"/>
                      <a:pt x="13" y="8"/>
                    </a:cubicBezTo>
                    <a:cubicBezTo>
                      <a:pt x="13" y="11"/>
                      <a:pt x="12" y="13"/>
                      <a:pt x="11" y="15"/>
                    </a:cubicBezTo>
                    <a:cubicBezTo>
                      <a:pt x="10" y="16"/>
                      <a:pt x="8" y="17"/>
                      <a:pt x="6" y="17"/>
                    </a:cubicBezTo>
                    <a:close/>
                    <a:moveTo>
                      <a:pt x="7" y="2"/>
                    </a:moveTo>
                    <a:cubicBezTo>
                      <a:pt x="5" y="2"/>
                      <a:pt x="4" y="4"/>
                      <a:pt x="4" y="8"/>
                    </a:cubicBezTo>
                    <a:cubicBezTo>
                      <a:pt x="4" y="12"/>
                      <a:pt x="5" y="14"/>
                      <a:pt x="7" y="14"/>
                    </a:cubicBezTo>
                    <a:cubicBezTo>
                      <a:pt x="8" y="14"/>
                      <a:pt x="9" y="12"/>
                      <a:pt x="9" y="8"/>
                    </a:cubicBezTo>
                    <a:cubicBezTo>
                      <a:pt x="9" y="4"/>
                      <a:pt x="8" y="2"/>
                      <a:pt x="7" y="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100"/>
              <p:cNvSpPr>
                <a:spLocks noEditPoints="1"/>
              </p:cNvSpPr>
              <p:nvPr/>
            </p:nvSpPr>
            <p:spPr bwMode="auto">
              <a:xfrm>
                <a:off x="3429000" y="3495675"/>
                <a:ext cx="28575" cy="38100"/>
              </a:xfrm>
              <a:custGeom>
                <a:avLst/>
                <a:gdLst>
                  <a:gd name="T0" fmla="*/ 6 w 13"/>
                  <a:gd name="T1" fmla="*/ 17 h 17"/>
                  <a:gd name="T2" fmla="*/ 0 w 13"/>
                  <a:gd name="T3" fmla="*/ 9 h 17"/>
                  <a:gd name="T4" fmla="*/ 2 w 13"/>
                  <a:gd name="T5" fmla="*/ 2 h 17"/>
                  <a:gd name="T6" fmla="*/ 7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7" y="0"/>
                    </a:cubicBezTo>
                    <a:cubicBezTo>
                      <a:pt x="11"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101"/>
              <p:cNvSpPr>
                <a:spLocks noEditPoints="1"/>
              </p:cNvSpPr>
              <p:nvPr/>
            </p:nvSpPr>
            <p:spPr bwMode="auto">
              <a:xfrm>
                <a:off x="3462338" y="3495675"/>
                <a:ext cx="30163" cy="38100"/>
              </a:xfrm>
              <a:custGeom>
                <a:avLst/>
                <a:gdLst>
                  <a:gd name="T0" fmla="*/ 6 w 13"/>
                  <a:gd name="T1" fmla="*/ 17 h 17"/>
                  <a:gd name="T2" fmla="*/ 0 w 13"/>
                  <a:gd name="T3" fmla="*/ 9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6" y="0"/>
                    </a:cubicBezTo>
                    <a:cubicBezTo>
                      <a:pt x="11"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102"/>
              <p:cNvSpPr>
                <a:spLocks/>
              </p:cNvSpPr>
              <p:nvPr/>
            </p:nvSpPr>
            <p:spPr bwMode="auto">
              <a:xfrm>
                <a:off x="3498850" y="3495675"/>
                <a:ext cx="17463" cy="38100"/>
              </a:xfrm>
              <a:custGeom>
                <a:avLst/>
                <a:gdLst>
                  <a:gd name="T0" fmla="*/ 8 w 8"/>
                  <a:gd name="T1" fmla="*/ 0 h 17"/>
                  <a:gd name="T2" fmla="*/ 8 w 8"/>
                  <a:gd name="T3" fmla="*/ 17 h 17"/>
                  <a:gd name="T4" fmla="*/ 4 w 8"/>
                  <a:gd name="T5" fmla="*/ 17 h 17"/>
                  <a:gd name="T6" fmla="*/ 4 w 8"/>
                  <a:gd name="T7" fmla="*/ 4 h 17"/>
                  <a:gd name="T8" fmla="*/ 3 w 8"/>
                  <a:gd name="T9" fmla="*/ 4 h 17"/>
                  <a:gd name="T10" fmla="*/ 2 w 8"/>
                  <a:gd name="T11" fmla="*/ 5 h 17"/>
                  <a:gd name="T12" fmla="*/ 1 w 8"/>
                  <a:gd name="T13" fmla="*/ 5 h 17"/>
                  <a:gd name="T14" fmla="*/ 0 w 8"/>
                  <a:gd name="T15" fmla="*/ 5 h 17"/>
                  <a:gd name="T16" fmla="*/ 0 w 8"/>
                  <a:gd name="T17" fmla="*/ 2 h 17"/>
                  <a:gd name="T18" fmla="*/ 3 w 8"/>
                  <a:gd name="T19" fmla="*/ 1 h 17"/>
                  <a:gd name="T20" fmla="*/ 5 w 8"/>
                  <a:gd name="T21" fmla="*/ 0 h 17"/>
                  <a:gd name="T22" fmla="*/ 8 w 8"/>
                  <a:gd name="T2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7">
                    <a:moveTo>
                      <a:pt x="8" y="0"/>
                    </a:moveTo>
                    <a:cubicBezTo>
                      <a:pt x="8" y="17"/>
                      <a:pt x="8" y="17"/>
                      <a:pt x="8" y="17"/>
                    </a:cubicBezTo>
                    <a:cubicBezTo>
                      <a:pt x="4" y="17"/>
                      <a:pt x="4" y="17"/>
                      <a:pt x="4" y="17"/>
                    </a:cubicBezTo>
                    <a:cubicBezTo>
                      <a:pt x="4" y="4"/>
                      <a:pt x="4" y="4"/>
                      <a:pt x="4" y="4"/>
                    </a:cubicBezTo>
                    <a:cubicBezTo>
                      <a:pt x="4" y="4"/>
                      <a:pt x="3" y="4"/>
                      <a:pt x="3" y="4"/>
                    </a:cubicBezTo>
                    <a:cubicBezTo>
                      <a:pt x="3" y="4"/>
                      <a:pt x="3" y="5"/>
                      <a:pt x="2" y="5"/>
                    </a:cubicBezTo>
                    <a:cubicBezTo>
                      <a:pt x="1" y="5"/>
                      <a:pt x="1" y="5"/>
                      <a:pt x="1" y="5"/>
                    </a:cubicBezTo>
                    <a:cubicBezTo>
                      <a:pt x="1" y="5"/>
                      <a:pt x="0" y="5"/>
                      <a:pt x="0" y="5"/>
                    </a:cubicBezTo>
                    <a:cubicBezTo>
                      <a:pt x="0" y="2"/>
                      <a:pt x="0" y="2"/>
                      <a:pt x="0" y="2"/>
                    </a:cubicBezTo>
                    <a:cubicBezTo>
                      <a:pt x="1" y="2"/>
                      <a:pt x="2" y="2"/>
                      <a:pt x="3" y="1"/>
                    </a:cubicBezTo>
                    <a:cubicBezTo>
                      <a:pt x="4" y="0"/>
                      <a:pt x="4" y="0"/>
                      <a:pt x="5" y="0"/>
                    </a:cubicBezTo>
                    <a:lnTo>
                      <a:pt x="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103"/>
              <p:cNvSpPr>
                <a:spLocks/>
              </p:cNvSpPr>
              <p:nvPr/>
            </p:nvSpPr>
            <p:spPr bwMode="auto">
              <a:xfrm>
                <a:off x="3565525" y="3386138"/>
                <a:ext cx="17463" cy="41275"/>
              </a:xfrm>
              <a:custGeom>
                <a:avLst/>
                <a:gdLst>
                  <a:gd name="T0" fmla="*/ 8 w 8"/>
                  <a:gd name="T1" fmla="*/ 0 h 18"/>
                  <a:gd name="T2" fmla="*/ 8 w 8"/>
                  <a:gd name="T3" fmla="*/ 18 h 18"/>
                  <a:gd name="T4" fmla="*/ 3 w 8"/>
                  <a:gd name="T5" fmla="*/ 18 h 18"/>
                  <a:gd name="T6" fmla="*/ 3 w 8"/>
                  <a:gd name="T7" fmla="*/ 5 h 18"/>
                  <a:gd name="T8" fmla="*/ 3 w 8"/>
                  <a:gd name="T9" fmla="*/ 5 h 18"/>
                  <a:gd name="T10" fmla="*/ 2 w 8"/>
                  <a:gd name="T11" fmla="*/ 6 h 18"/>
                  <a:gd name="T12" fmla="*/ 1 w 8"/>
                  <a:gd name="T13" fmla="*/ 6 h 18"/>
                  <a:gd name="T14" fmla="*/ 0 w 8"/>
                  <a:gd name="T15" fmla="*/ 6 h 18"/>
                  <a:gd name="T16" fmla="*/ 0 w 8"/>
                  <a:gd name="T17" fmla="*/ 3 h 18"/>
                  <a:gd name="T18" fmla="*/ 3 w 8"/>
                  <a:gd name="T19" fmla="*/ 2 h 18"/>
                  <a:gd name="T20" fmla="*/ 5 w 8"/>
                  <a:gd name="T21" fmla="*/ 0 h 18"/>
                  <a:gd name="T22" fmla="*/ 8 w 8"/>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8">
                    <a:moveTo>
                      <a:pt x="8" y="0"/>
                    </a:moveTo>
                    <a:cubicBezTo>
                      <a:pt x="8" y="18"/>
                      <a:pt x="8" y="18"/>
                      <a:pt x="8" y="18"/>
                    </a:cubicBezTo>
                    <a:cubicBezTo>
                      <a:pt x="3" y="18"/>
                      <a:pt x="3" y="18"/>
                      <a:pt x="3" y="18"/>
                    </a:cubicBezTo>
                    <a:cubicBezTo>
                      <a:pt x="3" y="5"/>
                      <a:pt x="3" y="5"/>
                      <a:pt x="3" y="5"/>
                    </a:cubicBezTo>
                    <a:cubicBezTo>
                      <a:pt x="3" y="5"/>
                      <a:pt x="3" y="5"/>
                      <a:pt x="3" y="5"/>
                    </a:cubicBezTo>
                    <a:cubicBezTo>
                      <a:pt x="3" y="5"/>
                      <a:pt x="2" y="5"/>
                      <a:pt x="2" y="6"/>
                    </a:cubicBezTo>
                    <a:cubicBezTo>
                      <a:pt x="2" y="6"/>
                      <a:pt x="1" y="6"/>
                      <a:pt x="1" y="6"/>
                    </a:cubicBezTo>
                    <a:cubicBezTo>
                      <a:pt x="0" y="6"/>
                      <a:pt x="0" y="6"/>
                      <a:pt x="0" y="6"/>
                    </a:cubicBezTo>
                    <a:cubicBezTo>
                      <a:pt x="0" y="3"/>
                      <a:pt x="0" y="3"/>
                      <a:pt x="0" y="3"/>
                    </a:cubicBezTo>
                    <a:cubicBezTo>
                      <a:pt x="1" y="2"/>
                      <a:pt x="2" y="2"/>
                      <a:pt x="3" y="2"/>
                    </a:cubicBezTo>
                    <a:cubicBezTo>
                      <a:pt x="3" y="1"/>
                      <a:pt x="5" y="1"/>
                      <a:pt x="5" y="0"/>
                    </a:cubicBezTo>
                    <a:lnTo>
                      <a:pt x="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104"/>
              <p:cNvSpPr>
                <a:spLocks noEditPoints="1"/>
              </p:cNvSpPr>
              <p:nvPr/>
            </p:nvSpPr>
            <p:spPr bwMode="auto">
              <a:xfrm>
                <a:off x="3560763" y="3441700"/>
                <a:ext cx="28575" cy="38100"/>
              </a:xfrm>
              <a:custGeom>
                <a:avLst/>
                <a:gdLst>
                  <a:gd name="T0" fmla="*/ 6 w 13"/>
                  <a:gd name="T1" fmla="*/ 17 h 17"/>
                  <a:gd name="T2" fmla="*/ 0 w 13"/>
                  <a:gd name="T3" fmla="*/ 8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2 h 17"/>
                  <a:gd name="T16" fmla="*/ 4 w 13"/>
                  <a:gd name="T17" fmla="*/ 8 h 17"/>
                  <a:gd name="T18" fmla="*/ 6 w 13"/>
                  <a:gd name="T19" fmla="*/ 14 h 17"/>
                  <a:gd name="T20" fmla="*/ 9 w 13"/>
                  <a:gd name="T21" fmla="*/ 8 h 17"/>
                  <a:gd name="T22" fmla="*/ 6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6" y="0"/>
                    </a:cubicBezTo>
                    <a:cubicBezTo>
                      <a:pt x="10" y="0"/>
                      <a:pt x="13" y="2"/>
                      <a:pt x="13" y="8"/>
                    </a:cubicBezTo>
                    <a:cubicBezTo>
                      <a:pt x="13" y="11"/>
                      <a:pt x="12" y="13"/>
                      <a:pt x="11" y="15"/>
                    </a:cubicBezTo>
                    <a:cubicBezTo>
                      <a:pt x="10" y="16"/>
                      <a:pt x="8" y="17"/>
                      <a:pt x="6" y="17"/>
                    </a:cubicBezTo>
                    <a:close/>
                    <a:moveTo>
                      <a:pt x="6" y="2"/>
                    </a:moveTo>
                    <a:cubicBezTo>
                      <a:pt x="5" y="2"/>
                      <a:pt x="4" y="4"/>
                      <a:pt x="4" y="8"/>
                    </a:cubicBezTo>
                    <a:cubicBezTo>
                      <a:pt x="4" y="12"/>
                      <a:pt x="5" y="14"/>
                      <a:pt x="6" y="14"/>
                    </a:cubicBezTo>
                    <a:cubicBezTo>
                      <a:pt x="8" y="14"/>
                      <a:pt x="9" y="12"/>
                      <a:pt x="9" y="8"/>
                    </a:cubicBezTo>
                    <a:cubicBezTo>
                      <a:pt x="9" y="4"/>
                      <a:pt x="8" y="2"/>
                      <a:pt x="6" y="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105"/>
              <p:cNvSpPr>
                <a:spLocks noEditPoints="1"/>
              </p:cNvSpPr>
              <p:nvPr/>
            </p:nvSpPr>
            <p:spPr bwMode="auto">
              <a:xfrm>
                <a:off x="3560763" y="3495675"/>
                <a:ext cx="28575" cy="38100"/>
              </a:xfrm>
              <a:custGeom>
                <a:avLst/>
                <a:gdLst>
                  <a:gd name="T0" fmla="*/ 6 w 13"/>
                  <a:gd name="T1" fmla="*/ 17 h 17"/>
                  <a:gd name="T2" fmla="*/ 0 w 13"/>
                  <a:gd name="T3" fmla="*/ 9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6" y="0"/>
                    </a:cubicBezTo>
                    <a:cubicBezTo>
                      <a:pt x="10"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106"/>
              <p:cNvSpPr>
                <a:spLocks noEditPoints="1"/>
              </p:cNvSpPr>
              <p:nvPr/>
            </p:nvSpPr>
            <p:spPr bwMode="auto">
              <a:xfrm>
                <a:off x="3527425" y="3386138"/>
                <a:ext cx="26988" cy="41275"/>
              </a:xfrm>
              <a:custGeom>
                <a:avLst/>
                <a:gdLst>
                  <a:gd name="T0" fmla="*/ 6 w 12"/>
                  <a:gd name="T1" fmla="*/ 18 h 18"/>
                  <a:gd name="T2" fmla="*/ 0 w 12"/>
                  <a:gd name="T3" fmla="*/ 9 h 18"/>
                  <a:gd name="T4" fmla="*/ 1 w 12"/>
                  <a:gd name="T5" fmla="*/ 3 h 18"/>
                  <a:gd name="T6" fmla="*/ 7 w 12"/>
                  <a:gd name="T7" fmla="*/ 0 h 18"/>
                  <a:gd name="T8" fmla="*/ 12 w 12"/>
                  <a:gd name="T9" fmla="*/ 9 h 18"/>
                  <a:gd name="T10" fmla="*/ 11 w 12"/>
                  <a:gd name="T11" fmla="*/ 15 h 18"/>
                  <a:gd name="T12" fmla="*/ 6 w 12"/>
                  <a:gd name="T13" fmla="*/ 18 h 18"/>
                  <a:gd name="T14" fmla="*/ 6 w 12"/>
                  <a:gd name="T15" fmla="*/ 3 h 18"/>
                  <a:gd name="T16" fmla="*/ 4 w 12"/>
                  <a:gd name="T17" fmla="*/ 9 h 18"/>
                  <a:gd name="T18" fmla="*/ 6 w 12"/>
                  <a:gd name="T19" fmla="*/ 15 h 18"/>
                  <a:gd name="T20" fmla="*/ 8 w 12"/>
                  <a:gd name="T21" fmla="*/ 9 h 18"/>
                  <a:gd name="T22" fmla="*/ 6 w 12"/>
                  <a:gd name="T23"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8">
                    <a:moveTo>
                      <a:pt x="6" y="18"/>
                    </a:moveTo>
                    <a:cubicBezTo>
                      <a:pt x="2" y="18"/>
                      <a:pt x="0" y="15"/>
                      <a:pt x="0" y="9"/>
                    </a:cubicBezTo>
                    <a:cubicBezTo>
                      <a:pt x="0" y="6"/>
                      <a:pt x="0" y="4"/>
                      <a:pt x="1" y="3"/>
                    </a:cubicBezTo>
                    <a:cubicBezTo>
                      <a:pt x="3" y="1"/>
                      <a:pt x="4" y="0"/>
                      <a:pt x="7" y="0"/>
                    </a:cubicBezTo>
                    <a:cubicBezTo>
                      <a:pt x="10" y="0"/>
                      <a:pt x="12" y="3"/>
                      <a:pt x="12" y="9"/>
                    </a:cubicBezTo>
                    <a:cubicBezTo>
                      <a:pt x="12" y="12"/>
                      <a:pt x="12" y="14"/>
                      <a:pt x="11" y="15"/>
                    </a:cubicBezTo>
                    <a:cubicBezTo>
                      <a:pt x="10" y="17"/>
                      <a:pt x="8" y="18"/>
                      <a:pt x="6" y="18"/>
                    </a:cubicBezTo>
                    <a:close/>
                    <a:moveTo>
                      <a:pt x="6" y="3"/>
                    </a:moveTo>
                    <a:cubicBezTo>
                      <a:pt x="5" y="3"/>
                      <a:pt x="4" y="5"/>
                      <a:pt x="4" y="9"/>
                    </a:cubicBezTo>
                    <a:cubicBezTo>
                      <a:pt x="4" y="13"/>
                      <a:pt x="5" y="15"/>
                      <a:pt x="6" y="15"/>
                    </a:cubicBezTo>
                    <a:cubicBezTo>
                      <a:pt x="8" y="15"/>
                      <a:pt x="8" y="13"/>
                      <a:pt x="8" y="9"/>
                    </a:cubicBezTo>
                    <a:cubicBezTo>
                      <a:pt x="8" y="5"/>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107"/>
              <p:cNvSpPr>
                <a:spLocks/>
              </p:cNvSpPr>
              <p:nvPr/>
            </p:nvSpPr>
            <p:spPr bwMode="auto">
              <a:xfrm>
                <a:off x="3529013" y="3441700"/>
                <a:ext cx="19050" cy="36513"/>
              </a:xfrm>
              <a:custGeom>
                <a:avLst/>
                <a:gdLst>
                  <a:gd name="T0" fmla="*/ 8 w 8"/>
                  <a:gd name="T1" fmla="*/ 0 h 16"/>
                  <a:gd name="T2" fmla="*/ 8 w 8"/>
                  <a:gd name="T3" fmla="*/ 16 h 16"/>
                  <a:gd name="T4" fmla="*/ 5 w 8"/>
                  <a:gd name="T5" fmla="*/ 16 h 16"/>
                  <a:gd name="T6" fmla="*/ 5 w 8"/>
                  <a:gd name="T7" fmla="*/ 4 h 16"/>
                  <a:gd name="T8" fmla="*/ 4 w 8"/>
                  <a:gd name="T9" fmla="*/ 4 h 16"/>
                  <a:gd name="T10" fmla="*/ 3 w 8"/>
                  <a:gd name="T11" fmla="*/ 4 h 16"/>
                  <a:gd name="T12" fmla="*/ 1 w 8"/>
                  <a:gd name="T13" fmla="*/ 5 h 16"/>
                  <a:gd name="T14" fmla="*/ 0 w 8"/>
                  <a:gd name="T15" fmla="*/ 5 h 16"/>
                  <a:gd name="T16" fmla="*/ 0 w 8"/>
                  <a:gd name="T17" fmla="*/ 2 h 16"/>
                  <a:gd name="T18" fmla="*/ 3 w 8"/>
                  <a:gd name="T19" fmla="*/ 1 h 16"/>
                  <a:gd name="T20" fmla="*/ 6 w 8"/>
                  <a:gd name="T21" fmla="*/ 0 h 16"/>
                  <a:gd name="T22" fmla="*/ 8 w 8"/>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6">
                    <a:moveTo>
                      <a:pt x="8" y="0"/>
                    </a:moveTo>
                    <a:cubicBezTo>
                      <a:pt x="8" y="16"/>
                      <a:pt x="8" y="16"/>
                      <a:pt x="8" y="16"/>
                    </a:cubicBezTo>
                    <a:cubicBezTo>
                      <a:pt x="5" y="16"/>
                      <a:pt x="5" y="16"/>
                      <a:pt x="5" y="16"/>
                    </a:cubicBezTo>
                    <a:cubicBezTo>
                      <a:pt x="5" y="4"/>
                      <a:pt x="5" y="4"/>
                      <a:pt x="5" y="4"/>
                    </a:cubicBezTo>
                    <a:cubicBezTo>
                      <a:pt x="4" y="4"/>
                      <a:pt x="4" y="4"/>
                      <a:pt x="4" y="4"/>
                    </a:cubicBezTo>
                    <a:cubicBezTo>
                      <a:pt x="3" y="4"/>
                      <a:pt x="3" y="4"/>
                      <a:pt x="3" y="4"/>
                    </a:cubicBezTo>
                    <a:cubicBezTo>
                      <a:pt x="2" y="5"/>
                      <a:pt x="2" y="5"/>
                      <a:pt x="1" y="5"/>
                    </a:cubicBezTo>
                    <a:cubicBezTo>
                      <a:pt x="1" y="5"/>
                      <a:pt x="1" y="5"/>
                      <a:pt x="0" y="5"/>
                    </a:cubicBezTo>
                    <a:cubicBezTo>
                      <a:pt x="0" y="2"/>
                      <a:pt x="0" y="2"/>
                      <a:pt x="0" y="2"/>
                    </a:cubicBezTo>
                    <a:cubicBezTo>
                      <a:pt x="1" y="2"/>
                      <a:pt x="3" y="1"/>
                      <a:pt x="3" y="1"/>
                    </a:cubicBezTo>
                    <a:cubicBezTo>
                      <a:pt x="5" y="1"/>
                      <a:pt x="5" y="0"/>
                      <a:pt x="6" y="0"/>
                    </a:cubicBezTo>
                    <a:lnTo>
                      <a:pt x="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108"/>
              <p:cNvSpPr>
                <a:spLocks noEditPoints="1"/>
              </p:cNvSpPr>
              <p:nvPr/>
            </p:nvSpPr>
            <p:spPr bwMode="auto">
              <a:xfrm>
                <a:off x="3527425" y="3495675"/>
                <a:ext cx="26988" cy="38100"/>
              </a:xfrm>
              <a:custGeom>
                <a:avLst/>
                <a:gdLst>
                  <a:gd name="T0" fmla="*/ 6 w 12"/>
                  <a:gd name="T1" fmla="*/ 17 h 17"/>
                  <a:gd name="T2" fmla="*/ 0 w 12"/>
                  <a:gd name="T3" fmla="*/ 9 h 17"/>
                  <a:gd name="T4" fmla="*/ 1 w 12"/>
                  <a:gd name="T5" fmla="*/ 2 h 17"/>
                  <a:gd name="T6" fmla="*/ 7 w 12"/>
                  <a:gd name="T7" fmla="*/ 0 h 17"/>
                  <a:gd name="T8" fmla="*/ 12 w 12"/>
                  <a:gd name="T9" fmla="*/ 8 h 17"/>
                  <a:gd name="T10" fmla="*/ 11 w 12"/>
                  <a:gd name="T11" fmla="*/ 15 h 17"/>
                  <a:gd name="T12" fmla="*/ 6 w 12"/>
                  <a:gd name="T13" fmla="*/ 17 h 17"/>
                  <a:gd name="T14" fmla="*/ 6 w 12"/>
                  <a:gd name="T15" fmla="*/ 3 h 17"/>
                  <a:gd name="T16" fmla="*/ 4 w 12"/>
                  <a:gd name="T17" fmla="*/ 9 h 17"/>
                  <a:gd name="T18" fmla="*/ 6 w 12"/>
                  <a:gd name="T19" fmla="*/ 14 h 17"/>
                  <a:gd name="T20" fmla="*/ 8 w 12"/>
                  <a:gd name="T21" fmla="*/ 8 h 17"/>
                  <a:gd name="T22" fmla="*/ 6 w 12"/>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7">
                    <a:moveTo>
                      <a:pt x="6" y="17"/>
                    </a:moveTo>
                    <a:cubicBezTo>
                      <a:pt x="2" y="17"/>
                      <a:pt x="0" y="14"/>
                      <a:pt x="0" y="9"/>
                    </a:cubicBezTo>
                    <a:cubicBezTo>
                      <a:pt x="0" y="6"/>
                      <a:pt x="0" y="4"/>
                      <a:pt x="1" y="2"/>
                    </a:cubicBezTo>
                    <a:cubicBezTo>
                      <a:pt x="3" y="0"/>
                      <a:pt x="4" y="0"/>
                      <a:pt x="7" y="0"/>
                    </a:cubicBezTo>
                    <a:cubicBezTo>
                      <a:pt x="10" y="0"/>
                      <a:pt x="12" y="3"/>
                      <a:pt x="12" y="8"/>
                    </a:cubicBezTo>
                    <a:cubicBezTo>
                      <a:pt x="12" y="11"/>
                      <a:pt x="12" y="13"/>
                      <a:pt x="11" y="15"/>
                    </a:cubicBezTo>
                    <a:cubicBezTo>
                      <a:pt x="10" y="16"/>
                      <a:pt x="8" y="17"/>
                      <a:pt x="6" y="17"/>
                    </a:cubicBezTo>
                    <a:close/>
                    <a:moveTo>
                      <a:pt x="6" y="3"/>
                    </a:moveTo>
                    <a:cubicBezTo>
                      <a:pt x="5" y="3"/>
                      <a:pt x="4" y="5"/>
                      <a:pt x="4" y="9"/>
                    </a:cubicBezTo>
                    <a:cubicBezTo>
                      <a:pt x="4" y="12"/>
                      <a:pt x="5" y="14"/>
                      <a:pt x="6" y="14"/>
                    </a:cubicBezTo>
                    <a:cubicBezTo>
                      <a:pt x="8" y="14"/>
                      <a:pt x="8" y="12"/>
                      <a:pt x="8" y="8"/>
                    </a:cubicBezTo>
                    <a:cubicBezTo>
                      <a:pt x="8" y="4"/>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109"/>
              <p:cNvSpPr>
                <a:spLocks noEditPoints="1"/>
              </p:cNvSpPr>
              <p:nvPr/>
            </p:nvSpPr>
            <p:spPr bwMode="auto">
              <a:xfrm>
                <a:off x="3487738" y="2201863"/>
                <a:ext cx="82550" cy="95250"/>
              </a:xfrm>
              <a:custGeom>
                <a:avLst/>
                <a:gdLst>
                  <a:gd name="T0" fmla="*/ 19 w 37"/>
                  <a:gd name="T1" fmla="*/ 2 h 43"/>
                  <a:gd name="T2" fmla="*/ 34 w 37"/>
                  <a:gd name="T3" fmla="*/ 6 h 43"/>
                  <a:gd name="T4" fmla="*/ 19 w 37"/>
                  <a:gd name="T5" fmla="*/ 11 h 43"/>
                  <a:gd name="T6" fmla="*/ 3 w 37"/>
                  <a:gd name="T7" fmla="*/ 6 h 43"/>
                  <a:gd name="T8" fmla="*/ 19 w 37"/>
                  <a:gd name="T9" fmla="*/ 2 h 43"/>
                  <a:gd name="T10" fmla="*/ 19 w 37"/>
                  <a:gd name="T11" fmla="*/ 0 h 43"/>
                  <a:gd name="T12" fmla="*/ 12 w 37"/>
                  <a:gd name="T13" fmla="*/ 0 h 43"/>
                  <a:gd name="T14" fmla="*/ 6 w 37"/>
                  <a:gd name="T15" fmla="*/ 2 h 43"/>
                  <a:gd name="T16" fmla="*/ 2 w 37"/>
                  <a:gd name="T17" fmla="*/ 4 h 43"/>
                  <a:gd name="T18" fmla="*/ 1 w 37"/>
                  <a:gd name="T19" fmla="*/ 6 h 43"/>
                  <a:gd name="T20" fmla="*/ 0 w 37"/>
                  <a:gd name="T21" fmla="*/ 7 h 43"/>
                  <a:gd name="T22" fmla="*/ 0 w 37"/>
                  <a:gd name="T23" fmla="*/ 36 h 43"/>
                  <a:gd name="T24" fmla="*/ 1 w 37"/>
                  <a:gd name="T25" fmla="*/ 37 h 43"/>
                  <a:gd name="T26" fmla="*/ 2 w 37"/>
                  <a:gd name="T27" fmla="*/ 39 h 43"/>
                  <a:gd name="T28" fmla="*/ 6 w 37"/>
                  <a:gd name="T29" fmla="*/ 41 h 43"/>
                  <a:gd name="T30" fmla="*/ 12 w 37"/>
                  <a:gd name="T31" fmla="*/ 42 h 43"/>
                  <a:gd name="T32" fmla="*/ 19 w 37"/>
                  <a:gd name="T33" fmla="*/ 43 h 43"/>
                  <a:gd name="T34" fmla="*/ 32 w 37"/>
                  <a:gd name="T35" fmla="*/ 41 h 43"/>
                  <a:gd name="T36" fmla="*/ 35 w 37"/>
                  <a:gd name="T37" fmla="*/ 39 h 43"/>
                  <a:gd name="T38" fmla="*/ 36 w 37"/>
                  <a:gd name="T39" fmla="*/ 37 h 43"/>
                  <a:gd name="T40" fmla="*/ 37 w 37"/>
                  <a:gd name="T41" fmla="*/ 36 h 43"/>
                  <a:gd name="T42" fmla="*/ 37 w 37"/>
                  <a:gd name="T43" fmla="*/ 7 h 43"/>
                  <a:gd name="T44" fmla="*/ 35 w 37"/>
                  <a:gd name="T45" fmla="*/ 4 h 43"/>
                  <a:gd name="T46" fmla="*/ 32 w 37"/>
                  <a:gd name="T47" fmla="*/ 2 h 43"/>
                  <a:gd name="T48" fmla="*/ 26 w 37"/>
                  <a:gd name="T49" fmla="*/ 0 h 43"/>
                  <a:gd name="T50" fmla="*/ 19 w 37"/>
                  <a:gd name="T5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43">
                    <a:moveTo>
                      <a:pt x="19" y="2"/>
                    </a:moveTo>
                    <a:cubicBezTo>
                      <a:pt x="27" y="2"/>
                      <a:pt x="34" y="4"/>
                      <a:pt x="34" y="6"/>
                    </a:cubicBezTo>
                    <a:cubicBezTo>
                      <a:pt x="34" y="9"/>
                      <a:pt x="27" y="11"/>
                      <a:pt x="19" y="11"/>
                    </a:cubicBezTo>
                    <a:cubicBezTo>
                      <a:pt x="10" y="11"/>
                      <a:pt x="3" y="9"/>
                      <a:pt x="3" y="6"/>
                    </a:cubicBezTo>
                    <a:cubicBezTo>
                      <a:pt x="3" y="4"/>
                      <a:pt x="10" y="2"/>
                      <a:pt x="19" y="2"/>
                    </a:cubicBezTo>
                    <a:close/>
                    <a:moveTo>
                      <a:pt x="19" y="0"/>
                    </a:moveTo>
                    <a:cubicBezTo>
                      <a:pt x="12" y="0"/>
                      <a:pt x="12" y="0"/>
                      <a:pt x="12" y="0"/>
                    </a:cubicBezTo>
                    <a:cubicBezTo>
                      <a:pt x="6" y="2"/>
                      <a:pt x="6" y="2"/>
                      <a:pt x="6" y="2"/>
                    </a:cubicBezTo>
                    <a:cubicBezTo>
                      <a:pt x="2" y="4"/>
                      <a:pt x="2" y="4"/>
                      <a:pt x="2" y="4"/>
                    </a:cubicBezTo>
                    <a:cubicBezTo>
                      <a:pt x="1" y="6"/>
                      <a:pt x="1" y="6"/>
                      <a:pt x="1" y="6"/>
                    </a:cubicBezTo>
                    <a:cubicBezTo>
                      <a:pt x="0" y="7"/>
                      <a:pt x="0" y="7"/>
                      <a:pt x="0" y="7"/>
                    </a:cubicBezTo>
                    <a:cubicBezTo>
                      <a:pt x="0" y="36"/>
                      <a:pt x="0" y="36"/>
                      <a:pt x="0" y="36"/>
                    </a:cubicBezTo>
                    <a:cubicBezTo>
                      <a:pt x="1" y="37"/>
                      <a:pt x="1" y="37"/>
                      <a:pt x="1" y="37"/>
                    </a:cubicBezTo>
                    <a:cubicBezTo>
                      <a:pt x="2" y="39"/>
                      <a:pt x="2" y="39"/>
                      <a:pt x="2" y="39"/>
                    </a:cubicBezTo>
                    <a:cubicBezTo>
                      <a:pt x="6" y="41"/>
                      <a:pt x="6" y="41"/>
                      <a:pt x="6" y="41"/>
                    </a:cubicBezTo>
                    <a:cubicBezTo>
                      <a:pt x="12" y="42"/>
                      <a:pt x="12" y="42"/>
                      <a:pt x="12" y="42"/>
                    </a:cubicBezTo>
                    <a:cubicBezTo>
                      <a:pt x="14" y="43"/>
                      <a:pt x="16" y="43"/>
                      <a:pt x="19" y="43"/>
                    </a:cubicBezTo>
                    <a:cubicBezTo>
                      <a:pt x="24" y="43"/>
                      <a:pt x="28" y="42"/>
                      <a:pt x="32" y="41"/>
                    </a:cubicBezTo>
                    <a:cubicBezTo>
                      <a:pt x="33" y="40"/>
                      <a:pt x="35" y="39"/>
                      <a:pt x="35" y="39"/>
                    </a:cubicBezTo>
                    <a:cubicBezTo>
                      <a:pt x="36" y="38"/>
                      <a:pt x="36" y="38"/>
                      <a:pt x="36" y="37"/>
                    </a:cubicBezTo>
                    <a:cubicBezTo>
                      <a:pt x="37" y="37"/>
                      <a:pt x="37" y="36"/>
                      <a:pt x="37" y="36"/>
                    </a:cubicBezTo>
                    <a:cubicBezTo>
                      <a:pt x="37" y="7"/>
                      <a:pt x="37" y="7"/>
                      <a:pt x="37" y="7"/>
                    </a:cubicBezTo>
                    <a:cubicBezTo>
                      <a:pt x="37" y="6"/>
                      <a:pt x="36" y="5"/>
                      <a:pt x="35" y="4"/>
                    </a:cubicBezTo>
                    <a:cubicBezTo>
                      <a:pt x="35" y="3"/>
                      <a:pt x="33" y="3"/>
                      <a:pt x="32" y="2"/>
                    </a:cubicBezTo>
                    <a:cubicBezTo>
                      <a:pt x="30" y="1"/>
                      <a:pt x="28" y="1"/>
                      <a:pt x="26" y="0"/>
                    </a:cubicBezTo>
                    <a:cubicBezTo>
                      <a:pt x="24" y="0"/>
                      <a:pt x="21" y="0"/>
                      <a:pt x="19" y="0"/>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110"/>
              <p:cNvSpPr>
                <a:spLocks noEditPoints="1"/>
              </p:cNvSpPr>
              <p:nvPr/>
            </p:nvSpPr>
            <p:spPr bwMode="auto">
              <a:xfrm>
                <a:off x="3640138" y="2495550"/>
                <a:ext cx="92075" cy="106363"/>
              </a:xfrm>
              <a:custGeom>
                <a:avLst/>
                <a:gdLst>
                  <a:gd name="T0" fmla="*/ 21 w 41"/>
                  <a:gd name="T1" fmla="*/ 3 h 48"/>
                  <a:gd name="T2" fmla="*/ 38 w 41"/>
                  <a:gd name="T3" fmla="*/ 7 h 48"/>
                  <a:gd name="T4" fmla="*/ 21 w 41"/>
                  <a:gd name="T5" fmla="*/ 12 h 48"/>
                  <a:gd name="T6" fmla="*/ 4 w 41"/>
                  <a:gd name="T7" fmla="*/ 7 h 48"/>
                  <a:gd name="T8" fmla="*/ 21 w 41"/>
                  <a:gd name="T9" fmla="*/ 3 h 48"/>
                  <a:gd name="T10" fmla="*/ 21 w 41"/>
                  <a:gd name="T11" fmla="*/ 0 h 48"/>
                  <a:gd name="T12" fmla="*/ 13 w 41"/>
                  <a:gd name="T13" fmla="*/ 1 h 48"/>
                  <a:gd name="T14" fmla="*/ 6 w 41"/>
                  <a:gd name="T15" fmla="*/ 2 h 48"/>
                  <a:gd name="T16" fmla="*/ 2 w 41"/>
                  <a:gd name="T17" fmla="*/ 5 h 48"/>
                  <a:gd name="T18" fmla="*/ 1 w 41"/>
                  <a:gd name="T19" fmla="*/ 7 h 48"/>
                  <a:gd name="T20" fmla="*/ 0 w 41"/>
                  <a:gd name="T21" fmla="*/ 8 h 48"/>
                  <a:gd name="T22" fmla="*/ 0 w 41"/>
                  <a:gd name="T23" fmla="*/ 40 h 48"/>
                  <a:gd name="T24" fmla="*/ 1 w 41"/>
                  <a:gd name="T25" fmla="*/ 42 h 48"/>
                  <a:gd name="T26" fmla="*/ 2 w 41"/>
                  <a:gd name="T27" fmla="*/ 43 h 48"/>
                  <a:gd name="T28" fmla="*/ 6 w 41"/>
                  <a:gd name="T29" fmla="*/ 46 h 48"/>
                  <a:gd name="T30" fmla="*/ 13 w 41"/>
                  <a:gd name="T31" fmla="*/ 48 h 48"/>
                  <a:gd name="T32" fmla="*/ 21 w 41"/>
                  <a:gd name="T33" fmla="*/ 48 h 48"/>
                  <a:gd name="T34" fmla="*/ 35 w 41"/>
                  <a:gd name="T35" fmla="*/ 46 h 48"/>
                  <a:gd name="T36" fmla="*/ 40 w 41"/>
                  <a:gd name="T37" fmla="*/ 43 h 48"/>
                  <a:gd name="T38" fmla="*/ 41 w 41"/>
                  <a:gd name="T39" fmla="*/ 42 h 48"/>
                  <a:gd name="T40" fmla="*/ 41 w 41"/>
                  <a:gd name="T41" fmla="*/ 40 h 48"/>
                  <a:gd name="T42" fmla="*/ 41 w 41"/>
                  <a:gd name="T43" fmla="*/ 8 h 48"/>
                  <a:gd name="T44" fmla="*/ 40 w 41"/>
                  <a:gd name="T45" fmla="*/ 5 h 48"/>
                  <a:gd name="T46" fmla="*/ 35 w 41"/>
                  <a:gd name="T47" fmla="*/ 2 h 48"/>
                  <a:gd name="T48" fmla="*/ 29 w 41"/>
                  <a:gd name="T49" fmla="*/ 1 h 48"/>
                  <a:gd name="T50" fmla="*/ 21 w 41"/>
                  <a:gd name="T5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 h="48">
                    <a:moveTo>
                      <a:pt x="21" y="3"/>
                    </a:moveTo>
                    <a:cubicBezTo>
                      <a:pt x="30" y="3"/>
                      <a:pt x="38" y="5"/>
                      <a:pt x="38" y="7"/>
                    </a:cubicBezTo>
                    <a:cubicBezTo>
                      <a:pt x="38" y="10"/>
                      <a:pt x="30" y="12"/>
                      <a:pt x="21" y="12"/>
                    </a:cubicBezTo>
                    <a:cubicBezTo>
                      <a:pt x="11" y="12"/>
                      <a:pt x="4" y="10"/>
                      <a:pt x="4" y="7"/>
                    </a:cubicBezTo>
                    <a:cubicBezTo>
                      <a:pt x="4" y="5"/>
                      <a:pt x="11" y="3"/>
                      <a:pt x="21" y="3"/>
                    </a:cubicBezTo>
                    <a:close/>
                    <a:moveTo>
                      <a:pt x="21" y="0"/>
                    </a:moveTo>
                    <a:cubicBezTo>
                      <a:pt x="13" y="1"/>
                      <a:pt x="13" y="1"/>
                      <a:pt x="13" y="1"/>
                    </a:cubicBezTo>
                    <a:cubicBezTo>
                      <a:pt x="6" y="2"/>
                      <a:pt x="6" y="2"/>
                      <a:pt x="6" y="2"/>
                    </a:cubicBezTo>
                    <a:cubicBezTo>
                      <a:pt x="2" y="5"/>
                      <a:pt x="2" y="5"/>
                      <a:pt x="2" y="5"/>
                    </a:cubicBezTo>
                    <a:cubicBezTo>
                      <a:pt x="1" y="7"/>
                      <a:pt x="1" y="7"/>
                      <a:pt x="1" y="7"/>
                    </a:cubicBezTo>
                    <a:cubicBezTo>
                      <a:pt x="0" y="8"/>
                      <a:pt x="0" y="8"/>
                      <a:pt x="0" y="8"/>
                    </a:cubicBezTo>
                    <a:cubicBezTo>
                      <a:pt x="0" y="40"/>
                      <a:pt x="0" y="40"/>
                      <a:pt x="0" y="40"/>
                    </a:cubicBezTo>
                    <a:cubicBezTo>
                      <a:pt x="1" y="42"/>
                      <a:pt x="1" y="42"/>
                      <a:pt x="1" y="42"/>
                    </a:cubicBezTo>
                    <a:cubicBezTo>
                      <a:pt x="2" y="43"/>
                      <a:pt x="2" y="43"/>
                      <a:pt x="2" y="43"/>
                    </a:cubicBezTo>
                    <a:cubicBezTo>
                      <a:pt x="6" y="46"/>
                      <a:pt x="6" y="46"/>
                      <a:pt x="6" y="46"/>
                    </a:cubicBezTo>
                    <a:cubicBezTo>
                      <a:pt x="13" y="48"/>
                      <a:pt x="13" y="48"/>
                      <a:pt x="13" y="48"/>
                    </a:cubicBezTo>
                    <a:cubicBezTo>
                      <a:pt x="15" y="48"/>
                      <a:pt x="18" y="48"/>
                      <a:pt x="21" y="48"/>
                    </a:cubicBezTo>
                    <a:cubicBezTo>
                      <a:pt x="26" y="48"/>
                      <a:pt x="31" y="47"/>
                      <a:pt x="35" y="46"/>
                    </a:cubicBezTo>
                    <a:cubicBezTo>
                      <a:pt x="37" y="45"/>
                      <a:pt x="38" y="44"/>
                      <a:pt x="40" y="43"/>
                    </a:cubicBezTo>
                    <a:cubicBezTo>
                      <a:pt x="40" y="43"/>
                      <a:pt x="40" y="42"/>
                      <a:pt x="41" y="42"/>
                    </a:cubicBezTo>
                    <a:cubicBezTo>
                      <a:pt x="41" y="41"/>
                      <a:pt x="41" y="41"/>
                      <a:pt x="41" y="40"/>
                    </a:cubicBezTo>
                    <a:cubicBezTo>
                      <a:pt x="41" y="8"/>
                      <a:pt x="41" y="8"/>
                      <a:pt x="41" y="8"/>
                    </a:cubicBezTo>
                    <a:cubicBezTo>
                      <a:pt x="41" y="7"/>
                      <a:pt x="41" y="6"/>
                      <a:pt x="40" y="5"/>
                    </a:cubicBezTo>
                    <a:cubicBezTo>
                      <a:pt x="38" y="4"/>
                      <a:pt x="37" y="3"/>
                      <a:pt x="35" y="2"/>
                    </a:cubicBezTo>
                    <a:cubicBezTo>
                      <a:pt x="33" y="2"/>
                      <a:pt x="31" y="1"/>
                      <a:pt x="29" y="1"/>
                    </a:cubicBezTo>
                    <a:cubicBezTo>
                      <a:pt x="26" y="0"/>
                      <a:pt x="24" y="0"/>
                      <a:pt x="21" y="0"/>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11"/>
              <p:cNvSpPr>
                <a:spLocks noEditPoints="1"/>
              </p:cNvSpPr>
              <p:nvPr/>
            </p:nvSpPr>
            <p:spPr bwMode="auto">
              <a:xfrm>
                <a:off x="3640138" y="2659063"/>
                <a:ext cx="122238" cy="142875"/>
              </a:xfrm>
              <a:custGeom>
                <a:avLst/>
                <a:gdLst>
                  <a:gd name="T0" fmla="*/ 27 w 55"/>
                  <a:gd name="T1" fmla="*/ 4 h 64"/>
                  <a:gd name="T2" fmla="*/ 50 w 55"/>
                  <a:gd name="T3" fmla="*/ 10 h 64"/>
                  <a:gd name="T4" fmla="*/ 27 w 55"/>
                  <a:gd name="T5" fmla="*/ 16 h 64"/>
                  <a:gd name="T6" fmla="*/ 5 w 55"/>
                  <a:gd name="T7" fmla="*/ 10 h 64"/>
                  <a:gd name="T8" fmla="*/ 27 w 55"/>
                  <a:gd name="T9" fmla="*/ 4 h 64"/>
                  <a:gd name="T10" fmla="*/ 28 w 55"/>
                  <a:gd name="T11" fmla="*/ 0 h 64"/>
                  <a:gd name="T12" fmla="*/ 17 w 55"/>
                  <a:gd name="T13" fmla="*/ 1 h 64"/>
                  <a:gd name="T14" fmla="*/ 8 w 55"/>
                  <a:gd name="T15" fmla="*/ 3 h 64"/>
                  <a:gd name="T16" fmla="*/ 3 w 55"/>
                  <a:gd name="T17" fmla="*/ 7 h 64"/>
                  <a:gd name="T18" fmla="*/ 1 w 55"/>
                  <a:gd name="T19" fmla="*/ 9 h 64"/>
                  <a:gd name="T20" fmla="*/ 0 w 55"/>
                  <a:gd name="T21" fmla="*/ 11 h 64"/>
                  <a:gd name="T22" fmla="*/ 0 w 55"/>
                  <a:gd name="T23" fmla="*/ 54 h 64"/>
                  <a:gd name="T24" fmla="*/ 1 w 55"/>
                  <a:gd name="T25" fmla="*/ 56 h 64"/>
                  <a:gd name="T26" fmla="*/ 3 w 55"/>
                  <a:gd name="T27" fmla="*/ 58 h 64"/>
                  <a:gd name="T28" fmla="*/ 8 w 55"/>
                  <a:gd name="T29" fmla="*/ 61 h 64"/>
                  <a:gd name="T30" fmla="*/ 17 w 55"/>
                  <a:gd name="T31" fmla="*/ 64 h 64"/>
                  <a:gd name="T32" fmla="*/ 28 w 55"/>
                  <a:gd name="T33" fmla="*/ 64 h 64"/>
                  <a:gd name="T34" fmla="*/ 47 w 55"/>
                  <a:gd name="T35" fmla="*/ 61 h 64"/>
                  <a:gd name="T36" fmla="*/ 53 w 55"/>
                  <a:gd name="T37" fmla="*/ 58 h 64"/>
                  <a:gd name="T38" fmla="*/ 54 w 55"/>
                  <a:gd name="T39" fmla="*/ 56 h 64"/>
                  <a:gd name="T40" fmla="*/ 55 w 55"/>
                  <a:gd name="T41" fmla="*/ 54 h 64"/>
                  <a:gd name="T42" fmla="*/ 55 w 55"/>
                  <a:gd name="T43" fmla="*/ 11 h 64"/>
                  <a:gd name="T44" fmla="*/ 53 w 55"/>
                  <a:gd name="T45" fmla="*/ 7 h 64"/>
                  <a:gd name="T46" fmla="*/ 47 w 55"/>
                  <a:gd name="T47" fmla="*/ 3 h 64"/>
                  <a:gd name="T48" fmla="*/ 38 w 55"/>
                  <a:gd name="T49" fmla="*/ 1 h 64"/>
                  <a:gd name="T50" fmla="*/ 28 w 55"/>
                  <a:gd name="T5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4">
                    <a:moveTo>
                      <a:pt x="27" y="4"/>
                    </a:moveTo>
                    <a:cubicBezTo>
                      <a:pt x="40" y="4"/>
                      <a:pt x="50" y="6"/>
                      <a:pt x="50" y="10"/>
                    </a:cubicBezTo>
                    <a:cubicBezTo>
                      <a:pt x="50" y="13"/>
                      <a:pt x="40" y="16"/>
                      <a:pt x="27" y="16"/>
                    </a:cubicBezTo>
                    <a:cubicBezTo>
                      <a:pt x="15" y="16"/>
                      <a:pt x="5" y="13"/>
                      <a:pt x="5" y="10"/>
                    </a:cubicBezTo>
                    <a:cubicBezTo>
                      <a:pt x="5" y="6"/>
                      <a:pt x="15" y="4"/>
                      <a:pt x="27" y="4"/>
                    </a:cubicBezTo>
                    <a:close/>
                    <a:moveTo>
                      <a:pt x="28" y="0"/>
                    </a:moveTo>
                    <a:cubicBezTo>
                      <a:pt x="17" y="1"/>
                      <a:pt x="17" y="1"/>
                      <a:pt x="17" y="1"/>
                    </a:cubicBezTo>
                    <a:cubicBezTo>
                      <a:pt x="8" y="3"/>
                      <a:pt x="8" y="3"/>
                      <a:pt x="8" y="3"/>
                    </a:cubicBezTo>
                    <a:cubicBezTo>
                      <a:pt x="3" y="7"/>
                      <a:pt x="3" y="7"/>
                      <a:pt x="3" y="7"/>
                    </a:cubicBezTo>
                    <a:cubicBezTo>
                      <a:pt x="1" y="9"/>
                      <a:pt x="1" y="9"/>
                      <a:pt x="1" y="9"/>
                    </a:cubicBezTo>
                    <a:cubicBezTo>
                      <a:pt x="0" y="11"/>
                      <a:pt x="0" y="11"/>
                      <a:pt x="0" y="11"/>
                    </a:cubicBezTo>
                    <a:cubicBezTo>
                      <a:pt x="0" y="54"/>
                      <a:pt x="0" y="54"/>
                      <a:pt x="0" y="54"/>
                    </a:cubicBezTo>
                    <a:cubicBezTo>
                      <a:pt x="1" y="56"/>
                      <a:pt x="1" y="56"/>
                      <a:pt x="1" y="56"/>
                    </a:cubicBezTo>
                    <a:cubicBezTo>
                      <a:pt x="3" y="58"/>
                      <a:pt x="3" y="58"/>
                      <a:pt x="3" y="58"/>
                    </a:cubicBezTo>
                    <a:cubicBezTo>
                      <a:pt x="8" y="61"/>
                      <a:pt x="8" y="61"/>
                      <a:pt x="8" y="61"/>
                    </a:cubicBezTo>
                    <a:cubicBezTo>
                      <a:pt x="17" y="64"/>
                      <a:pt x="17" y="64"/>
                      <a:pt x="17" y="64"/>
                    </a:cubicBezTo>
                    <a:cubicBezTo>
                      <a:pt x="20" y="64"/>
                      <a:pt x="24" y="64"/>
                      <a:pt x="28" y="64"/>
                    </a:cubicBezTo>
                    <a:cubicBezTo>
                      <a:pt x="35" y="64"/>
                      <a:pt x="42" y="63"/>
                      <a:pt x="47" y="61"/>
                    </a:cubicBezTo>
                    <a:cubicBezTo>
                      <a:pt x="49" y="60"/>
                      <a:pt x="51" y="59"/>
                      <a:pt x="53" y="58"/>
                    </a:cubicBezTo>
                    <a:cubicBezTo>
                      <a:pt x="53" y="57"/>
                      <a:pt x="54" y="57"/>
                      <a:pt x="54" y="56"/>
                    </a:cubicBezTo>
                    <a:cubicBezTo>
                      <a:pt x="54" y="55"/>
                      <a:pt x="55" y="54"/>
                      <a:pt x="55" y="54"/>
                    </a:cubicBezTo>
                    <a:cubicBezTo>
                      <a:pt x="55" y="11"/>
                      <a:pt x="55" y="11"/>
                      <a:pt x="55" y="11"/>
                    </a:cubicBezTo>
                    <a:cubicBezTo>
                      <a:pt x="55" y="10"/>
                      <a:pt x="54" y="8"/>
                      <a:pt x="53" y="7"/>
                    </a:cubicBezTo>
                    <a:cubicBezTo>
                      <a:pt x="51" y="6"/>
                      <a:pt x="49" y="4"/>
                      <a:pt x="47" y="3"/>
                    </a:cubicBezTo>
                    <a:cubicBezTo>
                      <a:pt x="44" y="2"/>
                      <a:pt x="41" y="2"/>
                      <a:pt x="38" y="1"/>
                    </a:cubicBezTo>
                    <a:cubicBezTo>
                      <a:pt x="35" y="1"/>
                      <a:pt x="31" y="0"/>
                      <a:pt x="28"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112"/>
              <p:cNvSpPr>
                <a:spLocks noEditPoints="1"/>
              </p:cNvSpPr>
              <p:nvPr/>
            </p:nvSpPr>
            <p:spPr bwMode="auto">
              <a:xfrm>
                <a:off x="3756025" y="2495550"/>
                <a:ext cx="109538" cy="128588"/>
              </a:xfrm>
              <a:custGeom>
                <a:avLst/>
                <a:gdLst>
                  <a:gd name="T0" fmla="*/ 24 w 49"/>
                  <a:gd name="T1" fmla="*/ 3 h 58"/>
                  <a:gd name="T2" fmla="*/ 45 w 49"/>
                  <a:gd name="T3" fmla="*/ 9 h 58"/>
                  <a:gd name="T4" fmla="*/ 24 w 49"/>
                  <a:gd name="T5" fmla="*/ 15 h 58"/>
                  <a:gd name="T6" fmla="*/ 4 w 49"/>
                  <a:gd name="T7" fmla="*/ 9 h 58"/>
                  <a:gd name="T8" fmla="*/ 24 w 49"/>
                  <a:gd name="T9" fmla="*/ 3 h 58"/>
                  <a:gd name="T10" fmla="*/ 24 w 49"/>
                  <a:gd name="T11" fmla="*/ 0 h 58"/>
                  <a:gd name="T12" fmla="*/ 15 w 49"/>
                  <a:gd name="T13" fmla="*/ 1 h 58"/>
                  <a:gd name="T14" fmla="*/ 7 w 49"/>
                  <a:gd name="T15" fmla="*/ 3 h 58"/>
                  <a:gd name="T16" fmla="*/ 2 w 49"/>
                  <a:gd name="T17" fmla="*/ 6 h 58"/>
                  <a:gd name="T18" fmla="*/ 0 w 49"/>
                  <a:gd name="T19" fmla="*/ 8 h 58"/>
                  <a:gd name="T20" fmla="*/ 0 w 49"/>
                  <a:gd name="T21" fmla="*/ 10 h 58"/>
                  <a:gd name="T22" fmla="*/ 0 w 49"/>
                  <a:gd name="T23" fmla="*/ 48 h 58"/>
                  <a:gd name="T24" fmla="*/ 0 w 49"/>
                  <a:gd name="T25" fmla="*/ 50 h 58"/>
                  <a:gd name="T26" fmla="*/ 2 w 49"/>
                  <a:gd name="T27" fmla="*/ 52 h 58"/>
                  <a:gd name="T28" fmla="*/ 7 w 49"/>
                  <a:gd name="T29" fmla="*/ 55 h 58"/>
                  <a:gd name="T30" fmla="*/ 15 w 49"/>
                  <a:gd name="T31" fmla="*/ 57 h 58"/>
                  <a:gd name="T32" fmla="*/ 24 w 49"/>
                  <a:gd name="T33" fmla="*/ 58 h 58"/>
                  <a:gd name="T34" fmla="*/ 42 w 49"/>
                  <a:gd name="T35" fmla="*/ 55 h 58"/>
                  <a:gd name="T36" fmla="*/ 47 w 49"/>
                  <a:gd name="T37" fmla="*/ 52 h 58"/>
                  <a:gd name="T38" fmla="*/ 48 w 49"/>
                  <a:gd name="T39" fmla="*/ 50 h 58"/>
                  <a:gd name="T40" fmla="*/ 49 w 49"/>
                  <a:gd name="T41" fmla="*/ 48 h 58"/>
                  <a:gd name="T42" fmla="*/ 49 w 49"/>
                  <a:gd name="T43" fmla="*/ 10 h 58"/>
                  <a:gd name="T44" fmla="*/ 47 w 49"/>
                  <a:gd name="T45" fmla="*/ 6 h 58"/>
                  <a:gd name="T46" fmla="*/ 42 w 49"/>
                  <a:gd name="T47" fmla="*/ 3 h 58"/>
                  <a:gd name="T48" fmla="*/ 34 w 49"/>
                  <a:gd name="T49" fmla="*/ 1 h 58"/>
                  <a:gd name="T50" fmla="*/ 24 w 49"/>
                  <a:gd name="T5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8">
                    <a:moveTo>
                      <a:pt x="24" y="3"/>
                    </a:moveTo>
                    <a:cubicBezTo>
                      <a:pt x="36" y="3"/>
                      <a:pt x="45" y="6"/>
                      <a:pt x="45" y="9"/>
                    </a:cubicBezTo>
                    <a:cubicBezTo>
                      <a:pt x="45" y="12"/>
                      <a:pt x="36" y="15"/>
                      <a:pt x="24" y="15"/>
                    </a:cubicBezTo>
                    <a:cubicBezTo>
                      <a:pt x="13" y="15"/>
                      <a:pt x="4" y="12"/>
                      <a:pt x="4" y="9"/>
                    </a:cubicBezTo>
                    <a:cubicBezTo>
                      <a:pt x="4" y="6"/>
                      <a:pt x="13" y="3"/>
                      <a:pt x="24" y="3"/>
                    </a:cubicBezTo>
                    <a:close/>
                    <a:moveTo>
                      <a:pt x="24" y="0"/>
                    </a:moveTo>
                    <a:cubicBezTo>
                      <a:pt x="15" y="1"/>
                      <a:pt x="15" y="1"/>
                      <a:pt x="15" y="1"/>
                    </a:cubicBezTo>
                    <a:cubicBezTo>
                      <a:pt x="7" y="3"/>
                      <a:pt x="7" y="3"/>
                      <a:pt x="7" y="3"/>
                    </a:cubicBezTo>
                    <a:cubicBezTo>
                      <a:pt x="2" y="6"/>
                      <a:pt x="2" y="6"/>
                      <a:pt x="2" y="6"/>
                    </a:cubicBezTo>
                    <a:cubicBezTo>
                      <a:pt x="0" y="8"/>
                      <a:pt x="0" y="8"/>
                      <a:pt x="0" y="8"/>
                    </a:cubicBezTo>
                    <a:cubicBezTo>
                      <a:pt x="0" y="10"/>
                      <a:pt x="0" y="10"/>
                      <a:pt x="0" y="10"/>
                    </a:cubicBezTo>
                    <a:cubicBezTo>
                      <a:pt x="0" y="48"/>
                      <a:pt x="0" y="48"/>
                      <a:pt x="0" y="48"/>
                    </a:cubicBezTo>
                    <a:cubicBezTo>
                      <a:pt x="0" y="50"/>
                      <a:pt x="0" y="50"/>
                      <a:pt x="0" y="50"/>
                    </a:cubicBezTo>
                    <a:cubicBezTo>
                      <a:pt x="2" y="52"/>
                      <a:pt x="2" y="52"/>
                      <a:pt x="2" y="52"/>
                    </a:cubicBezTo>
                    <a:cubicBezTo>
                      <a:pt x="7" y="55"/>
                      <a:pt x="7" y="55"/>
                      <a:pt x="7" y="55"/>
                    </a:cubicBezTo>
                    <a:cubicBezTo>
                      <a:pt x="15" y="57"/>
                      <a:pt x="15" y="57"/>
                      <a:pt x="15" y="57"/>
                    </a:cubicBezTo>
                    <a:cubicBezTo>
                      <a:pt x="18" y="58"/>
                      <a:pt x="21" y="58"/>
                      <a:pt x="24" y="58"/>
                    </a:cubicBezTo>
                    <a:cubicBezTo>
                      <a:pt x="31" y="58"/>
                      <a:pt x="37" y="57"/>
                      <a:pt x="42" y="55"/>
                    </a:cubicBezTo>
                    <a:cubicBezTo>
                      <a:pt x="44" y="54"/>
                      <a:pt x="46" y="53"/>
                      <a:pt x="47" y="52"/>
                    </a:cubicBezTo>
                    <a:cubicBezTo>
                      <a:pt x="48" y="52"/>
                      <a:pt x="48" y="51"/>
                      <a:pt x="48" y="50"/>
                    </a:cubicBezTo>
                    <a:cubicBezTo>
                      <a:pt x="49" y="50"/>
                      <a:pt x="49" y="49"/>
                      <a:pt x="49" y="48"/>
                    </a:cubicBezTo>
                    <a:cubicBezTo>
                      <a:pt x="49" y="10"/>
                      <a:pt x="49" y="10"/>
                      <a:pt x="49" y="10"/>
                    </a:cubicBezTo>
                    <a:cubicBezTo>
                      <a:pt x="49" y="8"/>
                      <a:pt x="48" y="7"/>
                      <a:pt x="47" y="6"/>
                    </a:cubicBezTo>
                    <a:cubicBezTo>
                      <a:pt x="46" y="5"/>
                      <a:pt x="44" y="4"/>
                      <a:pt x="42" y="3"/>
                    </a:cubicBezTo>
                    <a:cubicBezTo>
                      <a:pt x="40" y="2"/>
                      <a:pt x="37" y="1"/>
                      <a:pt x="34" y="1"/>
                    </a:cubicBezTo>
                    <a:cubicBezTo>
                      <a:pt x="31" y="0"/>
                      <a:pt x="28" y="0"/>
                      <a:pt x="24"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113"/>
              <p:cNvSpPr>
                <a:spLocks noEditPoints="1"/>
              </p:cNvSpPr>
              <p:nvPr/>
            </p:nvSpPr>
            <p:spPr bwMode="auto">
              <a:xfrm>
                <a:off x="3440113" y="2868613"/>
                <a:ext cx="122238" cy="144463"/>
              </a:xfrm>
              <a:custGeom>
                <a:avLst/>
                <a:gdLst>
                  <a:gd name="T0" fmla="*/ 27 w 55"/>
                  <a:gd name="T1" fmla="*/ 3 h 65"/>
                  <a:gd name="T2" fmla="*/ 50 w 55"/>
                  <a:gd name="T3" fmla="*/ 10 h 65"/>
                  <a:gd name="T4" fmla="*/ 27 w 55"/>
                  <a:gd name="T5" fmla="*/ 16 h 65"/>
                  <a:gd name="T6" fmla="*/ 4 w 55"/>
                  <a:gd name="T7" fmla="*/ 10 h 65"/>
                  <a:gd name="T8" fmla="*/ 27 w 55"/>
                  <a:gd name="T9" fmla="*/ 3 h 65"/>
                  <a:gd name="T10" fmla="*/ 27 w 55"/>
                  <a:gd name="T11" fmla="*/ 0 h 65"/>
                  <a:gd name="T12" fmla="*/ 17 w 55"/>
                  <a:gd name="T13" fmla="*/ 1 h 65"/>
                  <a:gd name="T14" fmla="*/ 8 w 55"/>
                  <a:gd name="T15" fmla="*/ 3 h 65"/>
                  <a:gd name="T16" fmla="*/ 2 w 55"/>
                  <a:gd name="T17" fmla="*/ 7 h 65"/>
                  <a:gd name="T18" fmla="*/ 0 w 55"/>
                  <a:gd name="T19" fmla="*/ 9 h 65"/>
                  <a:gd name="T20" fmla="*/ 0 w 55"/>
                  <a:gd name="T21" fmla="*/ 11 h 65"/>
                  <a:gd name="T22" fmla="*/ 0 w 55"/>
                  <a:gd name="T23" fmla="*/ 54 h 65"/>
                  <a:gd name="T24" fmla="*/ 0 w 55"/>
                  <a:gd name="T25" fmla="*/ 56 h 65"/>
                  <a:gd name="T26" fmla="*/ 2 w 55"/>
                  <a:gd name="T27" fmla="*/ 58 h 65"/>
                  <a:gd name="T28" fmla="*/ 8 w 55"/>
                  <a:gd name="T29" fmla="*/ 62 h 65"/>
                  <a:gd name="T30" fmla="*/ 17 w 55"/>
                  <a:gd name="T31" fmla="*/ 64 h 65"/>
                  <a:gd name="T32" fmla="*/ 27 w 55"/>
                  <a:gd name="T33" fmla="*/ 65 h 65"/>
                  <a:gd name="T34" fmla="*/ 47 w 55"/>
                  <a:gd name="T35" fmla="*/ 62 h 65"/>
                  <a:gd name="T36" fmla="*/ 52 w 55"/>
                  <a:gd name="T37" fmla="*/ 58 h 65"/>
                  <a:gd name="T38" fmla="*/ 54 w 55"/>
                  <a:gd name="T39" fmla="*/ 56 h 65"/>
                  <a:gd name="T40" fmla="*/ 55 w 55"/>
                  <a:gd name="T41" fmla="*/ 54 h 65"/>
                  <a:gd name="T42" fmla="*/ 55 w 55"/>
                  <a:gd name="T43" fmla="*/ 11 h 65"/>
                  <a:gd name="T44" fmla="*/ 52 w 55"/>
                  <a:gd name="T45" fmla="*/ 7 h 65"/>
                  <a:gd name="T46" fmla="*/ 47 w 55"/>
                  <a:gd name="T47" fmla="*/ 3 h 65"/>
                  <a:gd name="T48" fmla="*/ 38 w 55"/>
                  <a:gd name="T49" fmla="*/ 1 h 65"/>
                  <a:gd name="T50" fmla="*/ 27 w 55"/>
                  <a:gd name="T5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5">
                    <a:moveTo>
                      <a:pt x="27" y="3"/>
                    </a:moveTo>
                    <a:cubicBezTo>
                      <a:pt x="40" y="3"/>
                      <a:pt x="50" y="6"/>
                      <a:pt x="50" y="10"/>
                    </a:cubicBezTo>
                    <a:cubicBezTo>
                      <a:pt x="50" y="13"/>
                      <a:pt x="40" y="16"/>
                      <a:pt x="27" y="16"/>
                    </a:cubicBezTo>
                    <a:cubicBezTo>
                      <a:pt x="14" y="16"/>
                      <a:pt x="4" y="13"/>
                      <a:pt x="4" y="10"/>
                    </a:cubicBezTo>
                    <a:cubicBezTo>
                      <a:pt x="4" y="6"/>
                      <a:pt x="14" y="3"/>
                      <a:pt x="27" y="3"/>
                    </a:cubicBezTo>
                    <a:close/>
                    <a:moveTo>
                      <a:pt x="27" y="0"/>
                    </a:moveTo>
                    <a:cubicBezTo>
                      <a:pt x="17" y="1"/>
                      <a:pt x="17" y="1"/>
                      <a:pt x="17" y="1"/>
                    </a:cubicBezTo>
                    <a:cubicBezTo>
                      <a:pt x="8" y="3"/>
                      <a:pt x="8" y="3"/>
                      <a:pt x="8" y="3"/>
                    </a:cubicBezTo>
                    <a:cubicBezTo>
                      <a:pt x="2" y="7"/>
                      <a:pt x="2" y="7"/>
                      <a:pt x="2" y="7"/>
                    </a:cubicBezTo>
                    <a:cubicBezTo>
                      <a:pt x="0" y="9"/>
                      <a:pt x="0" y="9"/>
                      <a:pt x="0" y="9"/>
                    </a:cubicBezTo>
                    <a:cubicBezTo>
                      <a:pt x="0" y="11"/>
                      <a:pt x="0" y="11"/>
                      <a:pt x="0" y="11"/>
                    </a:cubicBezTo>
                    <a:cubicBezTo>
                      <a:pt x="0" y="54"/>
                      <a:pt x="0" y="54"/>
                      <a:pt x="0" y="54"/>
                    </a:cubicBezTo>
                    <a:cubicBezTo>
                      <a:pt x="0" y="56"/>
                      <a:pt x="0" y="56"/>
                      <a:pt x="0" y="56"/>
                    </a:cubicBezTo>
                    <a:cubicBezTo>
                      <a:pt x="2" y="58"/>
                      <a:pt x="2" y="58"/>
                      <a:pt x="2" y="58"/>
                    </a:cubicBezTo>
                    <a:cubicBezTo>
                      <a:pt x="8" y="62"/>
                      <a:pt x="8" y="62"/>
                      <a:pt x="8" y="62"/>
                    </a:cubicBezTo>
                    <a:cubicBezTo>
                      <a:pt x="17" y="64"/>
                      <a:pt x="17" y="64"/>
                      <a:pt x="17" y="64"/>
                    </a:cubicBezTo>
                    <a:cubicBezTo>
                      <a:pt x="20" y="65"/>
                      <a:pt x="23" y="65"/>
                      <a:pt x="27" y="65"/>
                    </a:cubicBezTo>
                    <a:cubicBezTo>
                      <a:pt x="35" y="65"/>
                      <a:pt x="42" y="64"/>
                      <a:pt x="47" y="62"/>
                    </a:cubicBezTo>
                    <a:cubicBezTo>
                      <a:pt x="49" y="61"/>
                      <a:pt x="51" y="60"/>
                      <a:pt x="52" y="58"/>
                    </a:cubicBezTo>
                    <a:cubicBezTo>
                      <a:pt x="53" y="58"/>
                      <a:pt x="54" y="57"/>
                      <a:pt x="54" y="56"/>
                    </a:cubicBezTo>
                    <a:cubicBezTo>
                      <a:pt x="54" y="56"/>
                      <a:pt x="55" y="55"/>
                      <a:pt x="55" y="54"/>
                    </a:cubicBezTo>
                    <a:cubicBezTo>
                      <a:pt x="55" y="11"/>
                      <a:pt x="55" y="11"/>
                      <a:pt x="55" y="11"/>
                    </a:cubicBezTo>
                    <a:cubicBezTo>
                      <a:pt x="55" y="9"/>
                      <a:pt x="54" y="8"/>
                      <a:pt x="52" y="7"/>
                    </a:cubicBezTo>
                    <a:cubicBezTo>
                      <a:pt x="51" y="5"/>
                      <a:pt x="49" y="4"/>
                      <a:pt x="47" y="3"/>
                    </a:cubicBezTo>
                    <a:cubicBezTo>
                      <a:pt x="44" y="2"/>
                      <a:pt x="41" y="2"/>
                      <a:pt x="38" y="1"/>
                    </a:cubicBezTo>
                    <a:cubicBezTo>
                      <a:pt x="35" y="0"/>
                      <a:pt x="31" y="0"/>
                      <a:pt x="27"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114"/>
              <p:cNvSpPr>
                <a:spLocks/>
              </p:cNvSpPr>
              <p:nvPr/>
            </p:nvSpPr>
            <p:spPr bwMode="auto">
              <a:xfrm>
                <a:off x="3227388" y="2566988"/>
                <a:ext cx="96838" cy="12700"/>
              </a:xfrm>
              <a:custGeom>
                <a:avLst/>
                <a:gdLst>
                  <a:gd name="T0" fmla="*/ 57 w 61"/>
                  <a:gd name="T1" fmla="*/ 8 h 8"/>
                  <a:gd name="T2" fmla="*/ 4 w 61"/>
                  <a:gd name="T3" fmla="*/ 8 h 8"/>
                  <a:gd name="T4" fmla="*/ 3 w 61"/>
                  <a:gd name="T5" fmla="*/ 8 h 8"/>
                  <a:gd name="T6" fmla="*/ 3 w 61"/>
                  <a:gd name="T7" fmla="*/ 8 h 8"/>
                  <a:gd name="T8" fmla="*/ 0 w 61"/>
                  <a:gd name="T9" fmla="*/ 4 h 8"/>
                  <a:gd name="T10" fmla="*/ 3 w 61"/>
                  <a:gd name="T11" fmla="*/ 2 h 8"/>
                  <a:gd name="T12" fmla="*/ 3 w 61"/>
                  <a:gd name="T13" fmla="*/ 1 h 8"/>
                  <a:gd name="T14" fmla="*/ 4 w 61"/>
                  <a:gd name="T15" fmla="*/ 0 h 8"/>
                  <a:gd name="T16" fmla="*/ 57 w 61"/>
                  <a:gd name="T17" fmla="*/ 0 h 8"/>
                  <a:gd name="T18" fmla="*/ 59 w 61"/>
                  <a:gd name="T19" fmla="*/ 1 h 8"/>
                  <a:gd name="T20" fmla="*/ 60 w 61"/>
                  <a:gd name="T21" fmla="*/ 2 h 8"/>
                  <a:gd name="T22" fmla="*/ 61 w 61"/>
                  <a:gd name="T23" fmla="*/ 4 h 8"/>
                  <a:gd name="T24" fmla="*/ 61 w 61"/>
                  <a:gd name="T25" fmla="*/ 7 h 8"/>
                  <a:gd name="T26" fmla="*/ 60 w 61"/>
                  <a:gd name="T27" fmla="*/ 8 h 8"/>
                  <a:gd name="T28" fmla="*/ 59 w 61"/>
                  <a:gd name="T29" fmla="*/ 8 h 8"/>
                  <a:gd name="T30" fmla="*/ 57 w 61"/>
                  <a:gd name="T3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8">
                    <a:moveTo>
                      <a:pt x="57" y="8"/>
                    </a:moveTo>
                    <a:lnTo>
                      <a:pt x="4" y="8"/>
                    </a:lnTo>
                    <a:lnTo>
                      <a:pt x="3" y="8"/>
                    </a:lnTo>
                    <a:lnTo>
                      <a:pt x="3" y="8"/>
                    </a:lnTo>
                    <a:lnTo>
                      <a:pt x="0" y="4"/>
                    </a:lnTo>
                    <a:lnTo>
                      <a:pt x="3" y="2"/>
                    </a:lnTo>
                    <a:lnTo>
                      <a:pt x="3" y="1"/>
                    </a:lnTo>
                    <a:lnTo>
                      <a:pt x="4" y="0"/>
                    </a:lnTo>
                    <a:lnTo>
                      <a:pt x="57" y="0"/>
                    </a:lnTo>
                    <a:lnTo>
                      <a:pt x="59" y="1"/>
                    </a:lnTo>
                    <a:lnTo>
                      <a:pt x="60" y="2"/>
                    </a:lnTo>
                    <a:lnTo>
                      <a:pt x="61" y="4"/>
                    </a:lnTo>
                    <a:lnTo>
                      <a:pt x="61" y="7"/>
                    </a:lnTo>
                    <a:lnTo>
                      <a:pt x="60" y="8"/>
                    </a:lnTo>
                    <a:lnTo>
                      <a:pt x="59" y="8"/>
                    </a:lnTo>
                    <a:lnTo>
                      <a:pt x="57" y="8"/>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115"/>
              <p:cNvSpPr>
                <a:spLocks/>
              </p:cNvSpPr>
              <p:nvPr/>
            </p:nvSpPr>
            <p:spPr bwMode="auto">
              <a:xfrm>
                <a:off x="3267075" y="2541588"/>
                <a:ext cx="57150" cy="14288"/>
              </a:xfrm>
              <a:custGeom>
                <a:avLst/>
                <a:gdLst>
                  <a:gd name="T0" fmla="*/ 32 w 36"/>
                  <a:gd name="T1" fmla="*/ 9 h 9"/>
                  <a:gd name="T2" fmla="*/ 3 w 36"/>
                  <a:gd name="T3" fmla="*/ 9 h 9"/>
                  <a:gd name="T4" fmla="*/ 1 w 36"/>
                  <a:gd name="T5" fmla="*/ 7 h 9"/>
                  <a:gd name="T6" fmla="*/ 0 w 36"/>
                  <a:gd name="T7" fmla="*/ 7 h 9"/>
                  <a:gd name="T8" fmla="*/ 0 w 36"/>
                  <a:gd name="T9" fmla="*/ 4 h 9"/>
                  <a:gd name="T10" fmla="*/ 0 w 36"/>
                  <a:gd name="T11" fmla="*/ 4 h 9"/>
                  <a:gd name="T12" fmla="*/ 0 w 36"/>
                  <a:gd name="T13" fmla="*/ 2 h 9"/>
                  <a:gd name="T14" fmla="*/ 0 w 36"/>
                  <a:gd name="T15" fmla="*/ 0 h 9"/>
                  <a:gd name="T16" fmla="*/ 3 w 36"/>
                  <a:gd name="T17" fmla="*/ 0 h 9"/>
                  <a:gd name="T18" fmla="*/ 32 w 36"/>
                  <a:gd name="T19" fmla="*/ 0 h 9"/>
                  <a:gd name="T20" fmla="*/ 34 w 36"/>
                  <a:gd name="T21" fmla="*/ 0 h 9"/>
                  <a:gd name="T22" fmla="*/ 35 w 36"/>
                  <a:gd name="T23" fmla="*/ 0 h 9"/>
                  <a:gd name="T24" fmla="*/ 36 w 36"/>
                  <a:gd name="T25" fmla="*/ 2 h 9"/>
                  <a:gd name="T26" fmla="*/ 36 w 36"/>
                  <a:gd name="T27" fmla="*/ 4 h 9"/>
                  <a:gd name="T28" fmla="*/ 36 w 36"/>
                  <a:gd name="T29" fmla="*/ 4 h 9"/>
                  <a:gd name="T30" fmla="*/ 35 w 36"/>
                  <a:gd name="T31" fmla="*/ 7 h 9"/>
                  <a:gd name="T32" fmla="*/ 34 w 36"/>
                  <a:gd name="T33" fmla="*/ 7 h 9"/>
                  <a:gd name="T34" fmla="*/ 32 w 36"/>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9">
                    <a:moveTo>
                      <a:pt x="32" y="9"/>
                    </a:moveTo>
                    <a:lnTo>
                      <a:pt x="3" y="9"/>
                    </a:lnTo>
                    <a:lnTo>
                      <a:pt x="1" y="7"/>
                    </a:lnTo>
                    <a:lnTo>
                      <a:pt x="0" y="7"/>
                    </a:lnTo>
                    <a:lnTo>
                      <a:pt x="0" y="4"/>
                    </a:lnTo>
                    <a:lnTo>
                      <a:pt x="0" y="4"/>
                    </a:lnTo>
                    <a:lnTo>
                      <a:pt x="0" y="2"/>
                    </a:lnTo>
                    <a:lnTo>
                      <a:pt x="0" y="0"/>
                    </a:lnTo>
                    <a:lnTo>
                      <a:pt x="3" y="0"/>
                    </a:lnTo>
                    <a:lnTo>
                      <a:pt x="32" y="0"/>
                    </a:lnTo>
                    <a:lnTo>
                      <a:pt x="34" y="0"/>
                    </a:lnTo>
                    <a:lnTo>
                      <a:pt x="35" y="0"/>
                    </a:lnTo>
                    <a:lnTo>
                      <a:pt x="36" y="2"/>
                    </a:lnTo>
                    <a:lnTo>
                      <a:pt x="36" y="4"/>
                    </a:lnTo>
                    <a:lnTo>
                      <a:pt x="36" y="4"/>
                    </a:lnTo>
                    <a:lnTo>
                      <a:pt x="35" y="7"/>
                    </a:lnTo>
                    <a:lnTo>
                      <a:pt x="34" y="7"/>
                    </a:lnTo>
                    <a:lnTo>
                      <a:pt x="32" y="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116"/>
              <p:cNvSpPr>
                <a:spLocks/>
              </p:cNvSpPr>
              <p:nvPr/>
            </p:nvSpPr>
            <p:spPr bwMode="auto">
              <a:xfrm>
                <a:off x="3227388" y="2595563"/>
                <a:ext cx="96838" cy="12700"/>
              </a:xfrm>
              <a:custGeom>
                <a:avLst/>
                <a:gdLst>
                  <a:gd name="T0" fmla="*/ 57 w 61"/>
                  <a:gd name="T1" fmla="*/ 8 h 8"/>
                  <a:gd name="T2" fmla="*/ 4 w 61"/>
                  <a:gd name="T3" fmla="*/ 8 h 8"/>
                  <a:gd name="T4" fmla="*/ 3 w 61"/>
                  <a:gd name="T5" fmla="*/ 7 h 8"/>
                  <a:gd name="T6" fmla="*/ 3 w 61"/>
                  <a:gd name="T7" fmla="*/ 5 h 8"/>
                  <a:gd name="T8" fmla="*/ 0 w 61"/>
                  <a:gd name="T9" fmla="*/ 4 h 8"/>
                  <a:gd name="T10" fmla="*/ 3 w 61"/>
                  <a:gd name="T11" fmla="*/ 1 h 8"/>
                  <a:gd name="T12" fmla="*/ 3 w 61"/>
                  <a:gd name="T13" fmla="*/ 0 h 8"/>
                  <a:gd name="T14" fmla="*/ 4 w 61"/>
                  <a:gd name="T15" fmla="*/ 0 h 8"/>
                  <a:gd name="T16" fmla="*/ 57 w 61"/>
                  <a:gd name="T17" fmla="*/ 0 h 8"/>
                  <a:gd name="T18" fmla="*/ 59 w 61"/>
                  <a:gd name="T19" fmla="*/ 0 h 8"/>
                  <a:gd name="T20" fmla="*/ 60 w 61"/>
                  <a:gd name="T21" fmla="*/ 1 h 8"/>
                  <a:gd name="T22" fmla="*/ 61 w 61"/>
                  <a:gd name="T23" fmla="*/ 1 h 8"/>
                  <a:gd name="T24" fmla="*/ 61 w 61"/>
                  <a:gd name="T25" fmla="*/ 4 h 8"/>
                  <a:gd name="T26" fmla="*/ 60 w 61"/>
                  <a:gd name="T27" fmla="*/ 5 h 8"/>
                  <a:gd name="T28" fmla="*/ 59 w 61"/>
                  <a:gd name="T29" fmla="*/ 7 h 8"/>
                  <a:gd name="T30" fmla="*/ 57 w 61"/>
                  <a:gd name="T3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8">
                    <a:moveTo>
                      <a:pt x="57" y="8"/>
                    </a:moveTo>
                    <a:lnTo>
                      <a:pt x="4" y="8"/>
                    </a:lnTo>
                    <a:lnTo>
                      <a:pt x="3" y="7"/>
                    </a:lnTo>
                    <a:lnTo>
                      <a:pt x="3" y="5"/>
                    </a:lnTo>
                    <a:lnTo>
                      <a:pt x="0" y="4"/>
                    </a:lnTo>
                    <a:lnTo>
                      <a:pt x="3" y="1"/>
                    </a:lnTo>
                    <a:lnTo>
                      <a:pt x="3" y="0"/>
                    </a:lnTo>
                    <a:lnTo>
                      <a:pt x="4" y="0"/>
                    </a:lnTo>
                    <a:lnTo>
                      <a:pt x="57" y="0"/>
                    </a:lnTo>
                    <a:lnTo>
                      <a:pt x="59" y="0"/>
                    </a:lnTo>
                    <a:lnTo>
                      <a:pt x="60" y="1"/>
                    </a:lnTo>
                    <a:lnTo>
                      <a:pt x="61" y="1"/>
                    </a:lnTo>
                    <a:lnTo>
                      <a:pt x="61" y="4"/>
                    </a:lnTo>
                    <a:lnTo>
                      <a:pt x="60" y="5"/>
                    </a:lnTo>
                    <a:lnTo>
                      <a:pt x="59" y="7"/>
                    </a:lnTo>
                    <a:lnTo>
                      <a:pt x="57" y="8"/>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117"/>
              <p:cNvSpPr>
                <a:spLocks/>
              </p:cNvSpPr>
              <p:nvPr/>
            </p:nvSpPr>
            <p:spPr bwMode="auto">
              <a:xfrm>
                <a:off x="3227388" y="2622550"/>
                <a:ext cx="96838" cy="12700"/>
              </a:xfrm>
              <a:custGeom>
                <a:avLst/>
                <a:gdLst>
                  <a:gd name="T0" fmla="*/ 57 w 61"/>
                  <a:gd name="T1" fmla="*/ 8 h 8"/>
                  <a:gd name="T2" fmla="*/ 4 w 61"/>
                  <a:gd name="T3" fmla="*/ 8 h 8"/>
                  <a:gd name="T4" fmla="*/ 3 w 61"/>
                  <a:gd name="T5" fmla="*/ 8 h 8"/>
                  <a:gd name="T6" fmla="*/ 3 w 61"/>
                  <a:gd name="T7" fmla="*/ 7 h 8"/>
                  <a:gd name="T8" fmla="*/ 1 w 61"/>
                  <a:gd name="T9" fmla="*/ 5 h 8"/>
                  <a:gd name="T10" fmla="*/ 0 w 61"/>
                  <a:gd name="T11" fmla="*/ 4 h 8"/>
                  <a:gd name="T12" fmla="*/ 3 w 61"/>
                  <a:gd name="T13" fmla="*/ 0 h 8"/>
                  <a:gd name="T14" fmla="*/ 3 w 61"/>
                  <a:gd name="T15" fmla="*/ 0 h 8"/>
                  <a:gd name="T16" fmla="*/ 4 w 61"/>
                  <a:gd name="T17" fmla="*/ 0 h 8"/>
                  <a:gd name="T18" fmla="*/ 57 w 61"/>
                  <a:gd name="T19" fmla="*/ 0 h 8"/>
                  <a:gd name="T20" fmla="*/ 59 w 61"/>
                  <a:gd name="T21" fmla="*/ 0 h 8"/>
                  <a:gd name="T22" fmla="*/ 60 w 61"/>
                  <a:gd name="T23" fmla="*/ 0 h 8"/>
                  <a:gd name="T24" fmla="*/ 61 w 61"/>
                  <a:gd name="T25" fmla="*/ 2 h 8"/>
                  <a:gd name="T26" fmla="*/ 61 w 61"/>
                  <a:gd name="T27" fmla="*/ 4 h 8"/>
                  <a:gd name="T28" fmla="*/ 61 w 61"/>
                  <a:gd name="T29" fmla="*/ 5 h 8"/>
                  <a:gd name="T30" fmla="*/ 60 w 61"/>
                  <a:gd name="T31" fmla="*/ 7 h 8"/>
                  <a:gd name="T32" fmla="*/ 59 w 61"/>
                  <a:gd name="T33" fmla="*/ 8 h 8"/>
                  <a:gd name="T34" fmla="*/ 57 w 61"/>
                  <a:gd name="T3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8">
                    <a:moveTo>
                      <a:pt x="57" y="8"/>
                    </a:moveTo>
                    <a:lnTo>
                      <a:pt x="4" y="8"/>
                    </a:lnTo>
                    <a:lnTo>
                      <a:pt x="3" y="8"/>
                    </a:lnTo>
                    <a:lnTo>
                      <a:pt x="3" y="7"/>
                    </a:lnTo>
                    <a:lnTo>
                      <a:pt x="1" y="5"/>
                    </a:lnTo>
                    <a:lnTo>
                      <a:pt x="0" y="4"/>
                    </a:lnTo>
                    <a:lnTo>
                      <a:pt x="3" y="0"/>
                    </a:lnTo>
                    <a:lnTo>
                      <a:pt x="3" y="0"/>
                    </a:lnTo>
                    <a:lnTo>
                      <a:pt x="4" y="0"/>
                    </a:lnTo>
                    <a:lnTo>
                      <a:pt x="57" y="0"/>
                    </a:lnTo>
                    <a:lnTo>
                      <a:pt x="59" y="0"/>
                    </a:lnTo>
                    <a:lnTo>
                      <a:pt x="60" y="0"/>
                    </a:lnTo>
                    <a:lnTo>
                      <a:pt x="61" y="2"/>
                    </a:lnTo>
                    <a:lnTo>
                      <a:pt x="61" y="4"/>
                    </a:lnTo>
                    <a:lnTo>
                      <a:pt x="61" y="5"/>
                    </a:lnTo>
                    <a:lnTo>
                      <a:pt x="60" y="7"/>
                    </a:lnTo>
                    <a:lnTo>
                      <a:pt x="59" y="8"/>
                    </a:lnTo>
                    <a:lnTo>
                      <a:pt x="57" y="8"/>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118"/>
              <p:cNvSpPr>
                <a:spLocks noEditPoints="1"/>
              </p:cNvSpPr>
              <p:nvPr/>
            </p:nvSpPr>
            <p:spPr bwMode="auto">
              <a:xfrm>
                <a:off x="3198813" y="2489200"/>
                <a:ext cx="155575" cy="190500"/>
              </a:xfrm>
              <a:custGeom>
                <a:avLst/>
                <a:gdLst>
                  <a:gd name="T0" fmla="*/ 88 w 98"/>
                  <a:gd name="T1" fmla="*/ 0 h 120"/>
                  <a:gd name="T2" fmla="*/ 32 w 98"/>
                  <a:gd name="T3" fmla="*/ 0 h 120"/>
                  <a:gd name="T4" fmla="*/ 0 w 98"/>
                  <a:gd name="T5" fmla="*/ 30 h 120"/>
                  <a:gd name="T6" fmla="*/ 0 w 98"/>
                  <a:gd name="T7" fmla="*/ 110 h 120"/>
                  <a:gd name="T8" fmla="*/ 1 w 98"/>
                  <a:gd name="T9" fmla="*/ 114 h 120"/>
                  <a:gd name="T10" fmla="*/ 2 w 98"/>
                  <a:gd name="T11" fmla="*/ 117 h 120"/>
                  <a:gd name="T12" fmla="*/ 5 w 98"/>
                  <a:gd name="T13" fmla="*/ 119 h 120"/>
                  <a:gd name="T14" fmla="*/ 9 w 98"/>
                  <a:gd name="T15" fmla="*/ 120 h 120"/>
                  <a:gd name="T16" fmla="*/ 98 w 98"/>
                  <a:gd name="T17" fmla="*/ 120 h 120"/>
                  <a:gd name="T18" fmla="*/ 98 w 98"/>
                  <a:gd name="T19" fmla="*/ 11 h 120"/>
                  <a:gd name="T20" fmla="*/ 96 w 98"/>
                  <a:gd name="T21" fmla="*/ 7 h 120"/>
                  <a:gd name="T22" fmla="*/ 95 w 98"/>
                  <a:gd name="T23" fmla="*/ 4 h 120"/>
                  <a:gd name="T24" fmla="*/ 92 w 98"/>
                  <a:gd name="T25" fmla="*/ 1 h 120"/>
                  <a:gd name="T26" fmla="*/ 88 w 98"/>
                  <a:gd name="T27" fmla="*/ 0 h 120"/>
                  <a:gd name="T28" fmla="*/ 91 w 98"/>
                  <a:gd name="T29" fmla="*/ 112 h 120"/>
                  <a:gd name="T30" fmla="*/ 14 w 98"/>
                  <a:gd name="T31" fmla="*/ 112 h 120"/>
                  <a:gd name="T32" fmla="*/ 12 w 98"/>
                  <a:gd name="T33" fmla="*/ 112 h 120"/>
                  <a:gd name="T34" fmla="*/ 9 w 98"/>
                  <a:gd name="T35" fmla="*/ 110 h 120"/>
                  <a:gd name="T36" fmla="*/ 8 w 98"/>
                  <a:gd name="T37" fmla="*/ 107 h 120"/>
                  <a:gd name="T38" fmla="*/ 8 w 98"/>
                  <a:gd name="T39" fmla="*/ 106 h 120"/>
                  <a:gd name="T40" fmla="*/ 8 w 98"/>
                  <a:gd name="T41" fmla="*/ 35 h 120"/>
                  <a:gd name="T42" fmla="*/ 26 w 98"/>
                  <a:gd name="T43" fmla="*/ 35 h 120"/>
                  <a:gd name="T44" fmla="*/ 29 w 98"/>
                  <a:gd name="T45" fmla="*/ 35 h 120"/>
                  <a:gd name="T46" fmla="*/ 32 w 98"/>
                  <a:gd name="T47" fmla="*/ 33 h 120"/>
                  <a:gd name="T48" fmla="*/ 35 w 98"/>
                  <a:gd name="T49" fmla="*/ 30 h 120"/>
                  <a:gd name="T50" fmla="*/ 35 w 98"/>
                  <a:gd name="T51" fmla="*/ 26 h 120"/>
                  <a:gd name="T52" fmla="*/ 35 w 98"/>
                  <a:gd name="T53" fmla="*/ 8 h 120"/>
                  <a:gd name="T54" fmla="*/ 85 w 98"/>
                  <a:gd name="T55" fmla="*/ 8 h 120"/>
                  <a:gd name="T56" fmla="*/ 86 w 98"/>
                  <a:gd name="T57" fmla="*/ 8 h 120"/>
                  <a:gd name="T58" fmla="*/ 88 w 98"/>
                  <a:gd name="T59" fmla="*/ 9 h 120"/>
                  <a:gd name="T60" fmla="*/ 91 w 98"/>
                  <a:gd name="T61" fmla="*/ 12 h 120"/>
                  <a:gd name="T62" fmla="*/ 91 w 98"/>
                  <a:gd name="T63" fmla="*/ 15 h 120"/>
                  <a:gd name="T64" fmla="*/ 91 w 98"/>
                  <a:gd name="T65"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8" h="120">
                    <a:moveTo>
                      <a:pt x="88" y="0"/>
                    </a:moveTo>
                    <a:lnTo>
                      <a:pt x="32" y="0"/>
                    </a:lnTo>
                    <a:lnTo>
                      <a:pt x="0" y="30"/>
                    </a:lnTo>
                    <a:lnTo>
                      <a:pt x="0" y="110"/>
                    </a:lnTo>
                    <a:lnTo>
                      <a:pt x="1" y="114"/>
                    </a:lnTo>
                    <a:lnTo>
                      <a:pt x="2" y="117"/>
                    </a:lnTo>
                    <a:lnTo>
                      <a:pt x="5" y="119"/>
                    </a:lnTo>
                    <a:lnTo>
                      <a:pt x="9" y="120"/>
                    </a:lnTo>
                    <a:lnTo>
                      <a:pt x="98" y="120"/>
                    </a:lnTo>
                    <a:lnTo>
                      <a:pt x="98" y="11"/>
                    </a:lnTo>
                    <a:lnTo>
                      <a:pt x="96" y="7"/>
                    </a:lnTo>
                    <a:lnTo>
                      <a:pt x="95" y="4"/>
                    </a:lnTo>
                    <a:lnTo>
                      <a:pt x="92" y="1"/>
                    </a:lnTo>
                    <a:lnTo>
                      <a:pt x="88" y="0"/>
                    </a:lnTo>
                    <a:close/>
                    <a:moveTo>
                      <a:pt x="91" y="112"/>
                    </a:moveTo>
                    <a:lnTo>
                      <a:pt x="14" y="112"/>
                    </a:lnTo>
                    <a:lnTo>
                      <a:pt x="12" y="112"/>
                    </a:lnTo>
                    <a:lnTo>
                      <a:pt x="9" y="110"/>
                    </a:lnTo>
                    <a:lnTo>
                      <a:pt x="8" y="107"/>
                    </a:lnTo>
                    <a:lnTo>
                      <a:pt x="8" y="106"/>
                    </a:lnTo>
                    <a:lnTo>
                      <a:pt x="8" y="35"/>
                    </a:lnTo>
                    <a:lnTo>
                      <a:pt x="26" y="35"/>
                    </a:lnTo>
                    <a:lnTo>
                      <a:pt x="29" y="35"/>
                    </a:lnTo>
                    <a:lnTo>
                      <a:pt x="32" y="33"/>
                    </a:lnTo>
                    <a:lnTo>
                      <a:pt x="35" y="30"/>
                    </a:lnTo>
                    <a:lnTo>
                      <a:pt x="35" y="26"/>
                    </a:lnTo>
                    <a:lnTo>
                      <a:pt x="35" y="8"/>
                    </a:lnTo>
                    <a:lnTo>
                      <a:pt x="85" y="8"/>
                    </a:lnTo>
                    <a:lnTo>
                      <a:pt x="86" y="8"/>
                    </a:lnTo>
                    <a:lnTo>
                      <a:pt x="88" y="9"/>
                    </a:lnTo>
                    <a:lnTo>
                      <a:pt x="91" y="12"/>
                    </a:lnTo>
                    <a:lnTo>
                      <a:pt x="91" y="15"/>
                    </a:lnTo>
                    <a:lnTo>
                      <a:pt x="91" y="11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119"/>
              <p:cNvSpPr>
                <a:spLocks/>
              </p:cNvSpPr>
              <p:nvPr/>
            </p:nvSpPr>
            <p:spPr bwMode="auto">
              <a:xfrm>
                <a:off x="3687763" y="2368550"/>
                <a:ext cx="66675" cy="11113"/>
              </a:xfrm>
              <a:custGeom>
                <a:avLst/>
                <a:gdLst>
                  <a:gd name="T0" fmla="*/ 39 w 42"/>
                  <a:gd name="T1" fmla="*/ 7 h 7"/>
                  <a:gd name="T2" fmla="*/ 1 w 42"/>
                  <a:gd name="T3" fmla="*/ 7 h 7"/>
                  <a:gd name="T4" fmla="*/ 1 w 42"/>
                  <a:gd name="T5" fmla="*/ 7 h 7"/>
                  <a:gd name="T6" fmla="*/ 1 w 42"/>
                  <a:gd name="T7" fmla="*/ 6 h 7"/>
                  <a:gd name="T8" fmla="*/ 0 w 42"/>
                  <a:gd name="T9" fmla="*/ 4 h 7"/>
                  <a:gd name="T10" fmla="*/ 1 w 42"/>
                  <a:gd name="T11" fmla="*/ 3 h 7"/>
                  <a:gd name="T12" fmla="*/ 1 w 42"/>
                  <a:gd name="T13" fmla="*/ 1 h 7"/>
                  <a:gd name="T14" fmla="*/ 1 w 42"/>
                  <a:gd name="T15" fmla="*/ 0 h 7"/>
                  <a:gd name="T16" fmla="*/ 39 w 42"/>
                  <a:gd name="T17" fmla="*/ 0 h 7"/>
                  <a:gd name="T18" fmla="*/ 40 w 42"/>
                  <a:gd name="T19" fmla="*/ 1 h 7"/>
                  <a:gd name="T20" fmla="*/ 42 w 42"/>
                  <a:gd name="T21" fmla="*/ 3 h 7"/>
                  <a:gd name="T22" fmla="*/ 42 w 42"/>
                  <a:gd name="T23" fmla="*/ 4 h 7"/>
                  <a:gd name="T24" fmla="*/ 42 w 42"/>
                  <a:gd name="T25" fmla="*/ 6 h 7"/>
                  <a:gd name="T26" fmla="*/ 42 w 42"/>
                  <a:gd name="T27" fmla="*/ 6 h 7"/>
                  <a:gd name="T28" fmla="*/ 40 w 42"/>
                  <a:gd name="T29" fmla="*/ 7 h 7"/>
                  <a:gd name="T30" fmla="*/ 39 w 42"/>
                  <a:gd name="T3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7">
                    <a:moveTo>
                      <a:pt x="39" y="7"/>
                    </a:moveTo>
                    <a:lnTo>
                      <a:pt x="1" y="7"/>
                    </a:lnTo>
                    <a:lnTo>
                      <a:pt x="1" y="7"/>
                    </a:lnTo>
                    <a:lnTo>
                      <a:pt x="1" y="6"/>
                    </a:lnTo>
                    <a:lnTo>
                      <a:pt x="0" y="4"/>
                    </a:lnTo>
                    <a:lnTo>
                      <a:pt x="1" y="3"/>
                    </a:lnTo>
                    <a:lnTo>
                      <a:pt x="1" y="1"/>
                    </a:lnTo>
                    <a:lnTo>
                      <a:pt x="1" y="0"/>
                    </a:lnTo>
                    <a:lnTo>
                      <a:pt x="39" y="0"/>
                    </a:lnTo>
                    <a:lnTo>
                      <a:pt x="40" y="1"/>
                    </a:lnTo>
                    <a:lnTo>
                      <a:pt x="42" y="3"/>
                    </a:lnTo>
                    <a:lnTo>
                      <a:pt x="42" y="4"/>
                    </a:lnTo>
                    <a:lnTo>
                      <a:pt x="42" y="6"/>
                    </a:lnTo>
                    <a:lnTo>
                      <a:pt x="42" y="6"/>
                    </a:lnTo>
                    <a:lnTo>
                      <a:pt x="40" y="7"/>
                    </a:lnTo>
                    <a:lnTo>
                      <a:pt x="39" y="7"/>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120"/>
              <p:cNvSpPr>
                <a:spLocks/>
              </p:cNvSpPr>
              <p:nvPr/>
            </p:nvSpPr>
            <p:spPr bwMode="auto">
              <a:xfrm>
                <a:off x="3714750" y="2351088"/>
                <a:ext cx="39688" cy="7938"/>
              </a:xfrm>
              <a:custGeom>
                <a:avLst/>
                <a:gdLst>
                  <a:gd name="T0" fmla="*/ 22 w 25"/>
                  <a:gd name="T1" fmla="*/ 5 h 5"/>
                  <a:gd name="T2" fmla="*/ 2 w 25"/>
                  <a:gd name="T3" fmla="*/ 5 h 5"/>
                  <a:gd name="T4" fmla="*/ 1 w 25"/>
                  <a:gd name="T5" fmla="*/ 5 h 5"/>
                  <a:gd name="T6" fmla="*/ 0 w 25"/>
                  <a:gd name="T7" fmla="*/ 5 h 5"/>
                  <a:gd name="T8" fmla="*/ 0 w 25"/>
                  <a:gd name="T9" fmla="*/ 4 h 5"/>
                  <a:gd name="T10" fmla="*/ 0 w 25"/>
                  <a:gd name="T11" fmla="*/ 3 h 5"/>
                  <a:gd name="T12" fmla="*/ 0 w 25"/>
                  <a:gd name="T13" fmla="*/ 1 h 5"/>
                  <a:gd name="T14" fmla="*/ 0 w 25"/>
                  <a:gd name="T15" fmla="*/ 1 h 5"/>
                  <a:gd name="T16" fmla="*/ 2 w 25"/>
                  <a:gd name="T17" fmla="*/ 0 h 5"/>
                  <a:gd name="T18" fmla="*/ 22 w 25"/>
                  <a:gd name="T19" fmla="*/ 0 h 5"/>
                  <a:gd name="T20" fmla="*/ 23 w 25"/>
                  <a:gd name="T21" fmla="*/ 0 h 5"/>
                  <a:gd name="T22" fmla="*/ 25 w 25"/>
                  <a:gd name="T23" fmla="*/ 1 h 5"/>
                  <a:gd name="T24" fmla="*/ 25 w 25"/>
                  <a:gd name="T25" fmla="*/ 1 h 5"/>
                  <a:gd name="T26" fmla="*/ 25 w 25"/>
                  <a:gd name="T27" fmla="*/ 3 h 5"/>
                  <a:gd name="T28" fmla="*/ 25 w 25"/>
                  <a:gd name="T29" fmla="*/ 4 h 5"/>
                  <a:gd name="T30" fmla="*/ 25 w 25"/>
                  <a:gd name="T31" fmla="*/ 5 h 5"/>
                  <a:gd name="T32" fmla="*/ 23 w 25"/>
                  <a:gd name="T33" fmla="*/ 5 h 5"/>
                  <a:gd name="T34" fmla="*/ 22 w 25"/>
                  <a:gd name="T3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2" y="5"/>
                    </a:moveTo>
                    <a:lnTo>
                      <a:pt x="2" y="5"/>
                    </a:lnTo>
                    <a:lnTo>
                      <a:pt x="1" y="5"/>
                    </a:lnTo>
                    <a:lnTo>
                      <a:pt x="0" y="5"/>
                    </a:lnTo>
                    <a:lnTo>
                      <a:pt x="0" y="4"/>
                    </a:lnTo>
                    <a:lnTo>
                      <a:pt x="0" y="3"/>
                    </a:lnTo>
                    <a:lnTo>
                      <a:pt x="0" y="1"/>
                    </a:lnTo>
                    <a:lnTo>
                      <a:pt x="0" y="1"/>
                    </a:lnTo>
                    <a:lnTo>
                      <a:pt x="2" y="0"/>
                    </a:lnTo>
                    <a:lnTo>
                      <a:pt x="22" y="0"/>
                    </a:lnTo>
                    <a:lnTo>
                      <a:pt x="23" y="0"/>
                    </a:lnTo>
                    <a:lnTo>
                      <a:pt x="25" y="1"/>
                    </a:lnTo>
                    <a:lnTo>
                      <a:pt x="25" y="1"/>
                    </a:lnTo>
                    <a:lnTo>
                      <a:pt x="25" y="3"/>
                    </a:lnTo>
                    <a:lnTo>
                      <a:pt x="25" y="4"/>
                    </a:lnTo>
                    <a:lnTo>
                      <a:pt x="25" y="5"/>
                    </a:lnTo>
                    <a:lnTo>
                      <a:pt x="23" y="5"/>
                    </a:lnTo>
                    <a:lnTo>
                      <a:pt x="22" y="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121"/>
              <p:cNvSpPr>
                <a:spLocks/>
              </p:cNvSpPr>
              <p:nvPr/>
            </p:nvSpPr>
            <p:spPr bwMode="auto">
              <a:xfrm>
                <a:off x="3687763" y="2389188"/>
                <a:ext cx="66675" cy="7938"/>
              </a:xfrm>
              <a:custGeom>
                <a:avLst/>
                <a:gdLst>
                  <a:gd name="T0" fmla="*/ 39 w 42"/>
                  <a:gd name="T1" fmla="*/ 5 h 5"/>
                  <a:gd name="T2" fmla="*/ 1 w 42"/>
                  <a:gd name="T3" fmla="*/ 5 h 5"/>
                  <a:gd name="T4" fmla="*/ 1 w 42"/>
                  <a:gd name="T5" fmla="*/ 5 h 5"/>
                  <a:gd name="T6" fmla="*/ 1 w 42"/>
                  <a:gd name="T7" fmla="*/ 4 h 5"/>
                  <a:gd name="T8" fmla="*/ 0 w 42"/>
                  <a:gd name="T9" fmla="*/ 2 h 5"/>
                  <a:gd name="T10" fmla="*/ 1 w 42"/>
                  <a:gd name="T11" fmla="*/ 1 h 5"/>
                  <a:gd name="T12" fmla="*/ 1 w 42"/>
                  <a:gd name="T13" fmla="*/ 0 h 5"/>
                  <a:gd name="T14" fmla="*/ 1 w 42"/>
                  <a:gd name="T15" fmla="*/ 0 h 5"/>
                  <a:gd name="T16" fmla="*/ 39 w 42"/>
                  <a:gd name="T17" fmla="*/ 0 h 5"/>
                  <a:gd name="T18" fmla="*/ 40 w 42"/>
                  <a:gd name="T19" fmla="*/ 0 h 5"/>
                  <a:gd name="T20" fmla="*/ 42 w 42"/>
                  <a:gd name="T21" fmla="*/ 1 h 5"/>
                  <a:gd name="T22" fmla="*/ 42 w 42"/>
                  <a:gd name="T23" fmla="*/ 1 h 5"/>
                  <a:gd name="T24" fmla="*/ 42 w 42"/>
                  <a:gd name="T25" fmla="*/ 2 h 5"/>
                  <a:gd name="T26" fmla="*/ 42 w 42"/>
                  <a:gd name="T27" fmla="*/ 4 h 5"/>
                  <a:gd name="T28" fmla="*/ 40 w 42"/>
                  <a:gd name="T29" fmla="*/ 5 h 5"/>
                  <a:gd name="T30" fmla="*/ 39 w 42"/>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5">
                    <a:moveTo>
                      <a:pt x="39" y="5"/>
                    </a:moveTo>
                    <a:lnTo>
                      <a:pt x="1" y="5"/>
                    </a:lnTo>
                    <a:lnTo>
                      <a:pt x="1" y="5"/>
                    </a:lnTo>
                    <a:lnTo>
                      <a:pt x="1" y="4"/>
                    </a:lnTo>
                    <a:lnTo>
                      <a:pt x="0" y="2"/>
                    </a:lnTo>
                    <a:lnTo>
                      <a:pt x="1" y="1"/>
                    </a:lnTo>
                    <a:lnTo>
                      <a:pt x="1" y="0"/>
                    </a:lnTo>
                    <a:lnTo>
                      <a:pt x="1" y="0"/>
                    </a:lnTo>
                    <a:lnTo>
                      <a:pt x="39" y="0"/>
                    </a:lnTo>
                    <a:lnTo>
                      <a:pt x="40" y="0"/>
                    </a:lnTo>
                    <a:lnTo>
                      <a:pt x="42" y="1"/>
                    </a:lnTo>
                    <a:lnTo>
                      <a:pt x="42" y="1"/>
                    </a:lnTo>
                    <a:lnTo>
                      <a:pt x="42" y="2"/>
                    </a:lnTo>
                    <a:lnTo>
                      <a:pt x="42" y="4"/>
                    </a:lnTo>
                    <a:lnTo>
                      <a:pt x="40" y="5"/>
                    </a:lnTo>
                    <a:lnTo>
                      <a:pt x="39" y="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22"/>
              <p:cNvSpPr>
                <a:spLocks/>
              </p:cNvSpPr>
              <p:nvPr/>
            </p:nvSpPr>
            <p:spPr bwMode="auto">
              <a:xfrm>
                <a:off x="3687763" y="2408238"/>
                <a:ext cx="66675" cy="9525"/>
              </a:xfrm>
              <a:custGeom>
                <a:avLst/>
                <a:gdLst>
                  <a:gd name="T0" fmla="*/ 39 w 42"/>
                  <a:gd name="T1" fmla="*/ 6 h 6"/>
                  <a:gd name="T2" fmla="*/ 1 w 42"/>
                  <a:gd name="T3" fmla="*/ 6 h 6"/>
                  <a:gd name="T4" fmla="*/ 1 w 42"/>
                  <a:gd name="T5" fmla="*/ 6 h 6"/>
                  <a:gd name="T6" fmla="*/ 1 w 42"/>
                  <a:gd name="T7" fmla="*/ 4 h 6"/>
                  <a:gd name="T8" fmla="*/ 0 w 42"/>
                  <a:gd name="T9" fmla="*/ 4 h 6"/>
                  <a:gd name="T10" fmla="*/ 0 w 42"/>
                  <a:gd name="T11" fmla="*/ 3 h 6"/>
                  <a:gd name="T12" fmla="*/ 1 w 42"/>
                  <a:gd name="T13" fmla="*/ 0 h 6"/>
                  <a:gd name="T14" fmla="*/ 1 w 42"/>
                  <a:gd name="T15" fmla="*/ 0 h 6"/>
                  <a:gd name="T16" fmla="*/ 1 w 42"/>
                  <a:gd name="T17" fmla="*/ 0 h 6"/>
                  <a:gd name="T18" fmla="*/ 39 w 42"/>
                  <a:gd name="T19" fmla="*/ 0 h 6"/>
                  <a:gd name="T20" fmla="*/ 40 w 42"/>
                  <a:gd name="T21" fmla="*/ 0 h 6"/>
                  <a:gd name="T22" fmla="*/ 42 w 42"/>
                  <a:gd name="T23" fmla="*/ 0 h 6"/>
                  <a:gd name="T24" fmla="*/ 42 w 42"/>
                  <a:gd name="T25" fmla="*/ 2 h 6"/>
                  <a:gd name="T26" fmla="*/ 42 w 42"/>
                  <a:gd name="T27" fmla="*/ 3 h 6"/>
                  <a:gd name="T28" fmla="*/ 42 w 42"/>
                  <a:gd name="T29" fmla="*/ 4 h 6"/>
                  <a:gd name="T30" fmla="*/ 42 w 42"/>
                  <a:gd name="T31" fmla="*/ 4 h 6"/>
                  <a:gd name="T32" fmla="*/ 40 w 42"/>
                  <a:gd name="T33" fmla="*/ 6 h 6"/>
                  <a:gd name="T34" fmla="*/ 39 w 42"/>
                  <a:gd name="T3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 h="6">
                    <a:moveTo>
                      <a:pt x="39" y="6"/>
                    </a:moveTo>
                    <a:lnTo>
                      <a:pt x="1" y="6"/>
                    </a:lnTo>
                    <a:lnTo>
                      <a:pt x="1" y="6"/>
                    </a:lnTo>
                    <a:lnTo>
                      <a:pt x="1" y="4"/>
                    </a:lnTo>
                    <a:lnTo>
                      <a:pt x="0" y="4"/>
                    </a:lnTo>
                    <a:lnTo>
                      <a:pt x="0" y="3"/>
                    </a:lnTo>
                    <a:lnTo>
                      <a:pt x="1" y="0"/>
                    </a:lnTo>
                    <a:lnTo>
                      <a:pt x="1" y="0"/>
                    </a:lnTo>
                    <a:lnTo>
                      <a:pt x="1" y="0"/>
                    </a:lnTo>
                    <a:lnTo>
                      <a:pt x="39" y="0"/>
                    </a:lnTo>
                    <a:lnTo>
                      <a:pt x="40" y="0"/>
                    </a:lnTo>
                    <a:lnTo>
                      <a:pt x="42" y="0"/>
                    </a:lnTo>
                    <a:lnTo>
                      <a:pt x="42" y="2"/>
                    </a:lnTo>
                    <a:lnTo>
                      <a:pt x="42" y="3"/>
                    </a:lnTo>
                    <a:lnTo>
                      <a:pt x="42" y="4"/>
                    </a:lnTo>
                    <a:lnTo>
                      <a:pt x="42" y="4"/>
                    </a:lnTo>
                    <a:lnTo>
                      <a:pt x="40" y="6"/>
                    </a:lnTo>
                    <a:lnTo>
                      <a:pt x="39" y="6"/>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123"/>
              <p:cNvSpPr>
                <a:spLocks noEditPoints="1"/>
              </p:cNvSpPr>
              <p:nvPr/>
            </p:nvSpPr>
            <p:spPr bwMode="auto">
              <a:xfrm>
                <a:off x="3665538" y="2314575"/>
                <a:ext cx="111125" cy="133350"/>
              </a:xfrm>
              <a:custGeom>
                <a:avLst/>
                <a:gdLst>
                  <a:gd name="T0" fmla="*/ 63 w 70"/>
                  <a:gd name="T1" fmla="*/ 0 h 84"/>
                  <a:gd name="T2" fmla="*/ 22 w 70"/>
                  <a:gd name="T3" fmla="*/ 0 h 84"/>
                  <a:gd name="T4" fmla="*/ 0 w 70"/>
                  <a:gd name="T5" fmla="*/ 21 h 84"/>
                  <a:gd name="T6" fmla="*/ 0 w 70"/>
                  <a:gd name="T7" fmla="*/ 77 h 84"/>
                  <a:gd name="T8" fmla="*/ 1 w 70"/>
                  <a:gd name="T9" fmla="*/ 80 h 84"/>
                  <a:gd name="T10" fmla="*/ 3 w 70"/>
                  <a:gd name="T11" fmla="*/ 83 h 84"/>
                  <a:gd name="T12" fmla="*/ 4 w 70"/>
                  <a:gd name="T13" fmla="*/ 84 h 84"/>
                  <a:gd name="T14" fmla="*/ 7 w 70"/>
                  <a:gd name="T15" fmla="*/ 84 h 84"/>
                  <a:gd name="T16" fmla="*/ 70 w 70"/>
                  <a:gd name="T17" fmla="*/ 84 h 84"/>
                  <a:gd name="T18" fmla="*/ 70 w 70"/>
                  <a:gd name="T19" fmla="*/ 7 h 84"/>
                  <a:gd name="T20" fmla="*/ 68 w 70"/>
                  <a:gd name="T21" fmla="*/ 5 h 84"/>
                  <a:gd name="T22" fmla="*/ 67 w 70"/>
                  <a:gd name="T23" fmla="*/ 2 h 84"/>
                  <a:gd name="T24" fmla="*/ 66 w 70"/>
                  <a:gd name="T25" fmla="*/ 0 h 84"/>
                  <a:gd name="T26" fmla="*/ 63 w 70"/>
                  <a:gd name="T27" fmla="*/ 0 h 84"/>
                  <a:gd name="T28" fmla="*/ 64 w 70"/>
                  <a:gd name="T29" fmla="*/ 79 h 84"/>
                  <a:gd name="T30" fmla="*/ 10 w 70"/>
                  <a:gd name="T31" fmla="*/ 79 h 84"/>
                  <a:gd name="T32" fmla="*/ 8 w 70"/>
                  <a:gd name="T33" fmla="*/ 79 h 84"/>
                  <a:gd name="T34" fmla="*/ 7 w 70"/>
                  <a:gd name="T35" fmla="*/ 77 h 84"/>
                  <a:gd name="T36" fmla="*/ 5 w 70"/>
                  <a:gd name="T37" fmla="*/ 76 h 84"/>
                  <a:gd name="T38" fmla="*/ 5 w 70"/>
                  <a:gd name="T39" fmla="*/ 75 h 84"/>
                  <a:gd name="T40" fmla="*/ 5 w 70"/>
                  <a:gd name="T41" fmla="*/ 24 h 84"/>
                  <a:gd name="T42" fmla="*/ 19 w 70"/>
                  <a:gd name="T43" fmla="*/ 24 h 84"/>
                  <a:gd name="T44" fmla="*/ 21 w 70"/>
                  <a:gd name="T45" fmla="*/ 24 h 84"/>
                  <a:gd name="T46" fmla="*/ 24 w 70"/>
                  <a:gd name="T47" fmla="*/ 23 h 84"/>
                  <a:gd name="T48" fmla="*/ 25 w 70"/>
                  <a:gd name="T49" fmla="*/ 21 h 84"/>
                  <a:gd name="T50" fmla="*/ 25 w 70"/>
                  <a:gd name="T51" fmla="*/ 19 h 84"/>
                  <a:gd name="T52" fmla="*/ 25 w 70"/>
                  <a:gd name="T53" fmla="*/ 6 h 84"/>
                  <a:gd name="T54" fmla="*/ 60 w 70"/>
                  <a:gd name="T55" fmla="*/ 6 h 84"/>
                  <a:gd name="T56" fmla="*/ 61 w 70"/>
                  <a:gd name="T57" fmla="*/ 6 h 84"/>
                  <a:gd name="T58" fmla="*/ 63 w 70"/>
                  <a:gd name="T59" fmla="*/ 6 h 84"/>
                  <a:gd name="T60" fmla="*/ 64 w 70"/>
                  <a:gd name="T61" fmla="*/ 9 h 84"/>
                  <a:gd name="T62" fmla="*/ 64 w 70"/>
                  <a:gd name="T63" fmla="*/ 10 h 84"/>
                  <a:gd name="T64" fmla="*/ 64 w 70"/>
                  <a:gd name="T65" fmla="*/ 7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 h="84">
                    <a:moveTo>
                      <a:pt x="63" y="0"/>
                    </a:moveTo>
                    <a:lnTo>
                      <a:pt x="22" y="0"/>
                    </a:lnTo>
                    <a:lnTo>
                      <a:pt x="0" y="21"/>
                    </a:lnTo>
                    <a:lnTo>
                      <a:pt x="0" y="77"/>
                    </a:lnTo>
                    <a:lnTo>
                      <a:pt x="1" y="80"/>
                    </a:lnTo>
                    <a:lnTo>
                      <a:pt x="3" y="83"/>
                    </a:lnTo>
                    <a:lnTo>
                      <a:pt x="4" y="84"/>
                    </a:lnTo>
                    <a:lnTo>
                      <a:pt x="7" y="84"/>
                    </a:lnTo>
                    <a:lnTo>
                      <a:pt x="70" y="84"/>
                    </a:lnTo>
                    <a:lnTo>
                      <a:pt x="70" y="7"/>
                    </a:lnTo>
                    <a:lnTo>
                      <a:pt x="68" y="5"/>
                    </a:lnTo>
                    <a:lnTo>
                      <a:pt x="67" y="2"/>
                    </a:lnTo>
                    <a:lnTo>
                      <a:pt x="66" y="0"/>
                    </a:lnTo>
                    <a:lnTo>
                      <a:pt x="63" y="0"/>
                    </a:lnTo>
                    <a:close/>
                    <a:moveTo>
                      <a:pt x="64" y="79"/>
                    </a:moveTo>
                    <a:lnTo>
                      <a:pt x="10" y="79"/>
                    </a:lnTo>
                    <a:lnTo>
                      <a:pt x="8" y="79"/>
                    </a:lnTo>
                    <a:lnTo>
                      <a:pt x="7" y="77"/>
                    </a:lnTo>
                    <a:lnTo>
                      <a:pt x="5" y="76"/>
                    </a:lnTo>
                    <a:lnTo>
                      <a:pt x="5" y="75"/>
                    </a:lnTo>
                    <a:lnTo>
                      <a:pt x="5" y="24"/>
                    </a:lnTo>
                    <a:lnTo>
                      <a:pt x="19" y="24"/>
                    </a:lnTo>
                    <a:lnTo>
                      <a:pt x="21" y="24"/>
                    </a:lnTo>
                    <a:lnTo>
                      <a:pt x="24" y="23"/>
                    </a:lnTo>
                    <a:lnTo>
                      <a:pt x="25" y="21"/>
                    </a:lnTo>
                    <a:lnTo>
                      <a:pt x="25" y="19"/>
                    </a:lnTo>
                    <a:lnTo>
                      <a:pt x="25" y="6"/>
                    </a:lnTo>
                    <a:lnTo>
                      <a:pt x="60" y="6"/>
                    </a:lnTo>
                    <a:lnTo>
                      <a:pt x="61" y="6"/>
                    </a:lnTo>
                    <a:lnTo>
                      <a:pt x="63" y="6"/>
                    </a:lnTo>
                    <a:lnTo>
                      <a:pt x="64" y="9"/>
                    </a:lnTo>
                    <a:lnTo>
                      <a:pt x="64" y="10"/>
                    </a:lnTo>
                    <a:lnTo>
                      <a:pt x="64" y="79"/>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124"/>
              <p:cNvSpPr>
                <a:spLocks/>
              </p:cNvSpPr>
              <p:nvPr/>
            </p:nvSpPr>
            <p:spPr bwMode="auto">
              <a:xfrm>
                <a:off x="3402013" y="2419350"/>
                <a:ext cx="44450" cy="77788"/>
              </a:xfrm>
              <a:custGeom>
                <a:avLst/>
                <a:gdLst>
                  <a:gd name="T0" fmla="*/ 28 w 28"/>
                  <a:gd name="T1" fmla="*/ 17 h 49"/>
                  <a:gd name="T2" fmla="*/ 28 w 28"/>
                  <a:gd name="T3" fmla="*/ 49 h 49"/>
                  <a:gd name="T4" fmla="*/ 0 w 28"/>
                  <a:gd name="T5" fmla="*/ 32 h 49"/>
                  <a:gd name="T6" fmla="*/ 0 w 28"/>
                  <a:gd name="T7" fmla="*/ 0 h 49"/>
                  <a:gd name="T8" fmla="*/ 28 w 28"/>
                  <a:gd name="T9" fmla="*/ 17 h 49"/>
                </a:gdLst>
                <a:ahLst/>
                <a:cxnLst>
                  <a:cxn ang="0">
                    <a:pos x="T0" y="T1"/>
                  </a:cxn>
                  <a:cxn ang="0">
                    <a:pos x="T2" y="T3"/>
                  </a:cxn>
                  <a:cxn ang="0">
                    <a:pos x="T4" y="T5"/>
                  </a:cxn>
                  <a:cxn ang="0">
                    <a:pos x="T6" y="T7"/>
                  </a:cxn>
                  <a:cxn ang="0">
                    <a:pos x="T8" y="T9"/>
                  </a:cxn>
                </a:cxnLst>
                <a:rect l="0" t="0" r="r" b="b"/>
                <a:pathLst>
                  <a:path w="28" h="49">
                    <a:moveTo>
                      <a:pt x="28" y="17"/>
                    </a:moveTo>
                    <a:lnTo>
                      <a:pt x="28" y="49"/>
                    </a:lnTo>
                    <a:lnTo>
                      <a:pt x="0" y="32"/>
                    </a:lnTo>
                    <a:lnTo>
                      <a:pt x="0" y="0"/>
                    </a:lnTo>
                    <a:lnTo>
                      <a:pt x="28"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125"/>
              <p:cNvSpPr>
                <a:spLocks/>
              </p:cNvSpPr>
              <p:nvPr/>
            </p:nvSpPr>
            <p:spPr bwMode="auto">
              <a:xfrm>
                <a:off x="3457575" y="2419350"/>
                <a:ext cx="46038" cy="77788"/>
              </a:xfrm>
              <a:custGeom>
                <a:avLst/>
                <a:gdLst>
                  <a:gd name="T0" fmla="*/ 0 w 29"/>
                  <a:gd name="T1" fmla="*/ 17 h 49"/>
                  <a:gd name="T2" fmla="*/ 0 w 29"/>
                  <a:gd name="T3" fmla="*/ 49 h 49"/>
                  <a:gd name="T4" fmla="*/ 29 w 29"/>
                  <a:gd name="T5" fmla="*/ 32 h 49"/>
                  <a:gd name="T6" fmla="*/ 29 w 29"/>
                  <a:gd name="T7" fmla="*/ 0 h 49"/>
                  <a:gd name="T8" fmla="*/ 0 w 29"/>
                  <a:gd name="T9" fmla="*/ 17 h 49"/>
                </a:gdLst>
                <a:ahLst/>
                <a:cxnLst>
                  <a:cxn ang="0">
                    <a:pos x="T0" y="T1"/>
                  </a:cxn>
                  <a:cxn ang="0">
                    <a:pos x="T2" y="T3"/>
                  </a:cxn>
                  <a:cxn ang="0">
                    <a:pos x="T4" y="T5"/>
                  </a:cxn>
                  <a:cxn ang="0">
                    <a:pos x="T6" y="T7"/>
                  </a:cxn>
                  <a:cxn ang="0">
                    <a:pos x="T8" y="T9"/>
                  </a:cxn>
                </a:cxnLst>
                <a:rect l="0" t="0" r="r" b="b"/>
                <a:pathLst>
                  <a:path w="29" h="49">
                    <a:moveTo>
                      <a:pt x="0" y="17"/>
                    </a:moveTo>
                    <a:lnTo>
                      <a:pt x="0" y="49"/>
                    </a:lnTo>
                    <a:lnTo>
                      <a:pt x="29" y="32"/>
                    </a:lnTo>
                    <a:lnTo>
                      <a:pt x="29" y="0"/>
                    </a:lnTo>
                    <a:lnTo>
                      <a:pt x="0"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26"/>
              <p:cNvSpPr>
                <a:spLocks/>
              </p:cNvSpPr>
              <p:nvPr/>
            </p:nvSpPr>
            <p:spPr bwMode="auto">
              <a:xfrm>
                <a:off x="3406775" y="2386013"/>
                <a:ext cx="88900" cy="50800"/>
              </a:xfrm>
              <a:custGeom>
                <a:avLst/>
                <a:gdLst>
                  <a:gd name="T0" fmla="*/ 28 w 56"/>
                  <a:gd name="T1" fmla="*/ 32 h 32"/>
                  <a:gd name="T2" fmla="*/ 0 w 56"/>
                  <a:gd name="T3" fmla="*/ 16 h 32"/>
                  <a:gd name="T4" fmla="*/ 28 w 56"/>
                  <a:gd name="T5" fmla="*/ 0 h 32"/>
                  <a:gd name="T6" fmla="*/ 56 w 56"/>
                  <a:gd name="T7" fmla="*/ 16 h 32"/>
                  <a:gd name="T8" fmla="*/ 28 w 56"/>
                  <a:gd name="T9" fmla="*/ 32 h 32"/>
                </a:gdLst>
                <a:ahLst/>
                <a:cxnLst>
                  <a:cxn ang="0">
                    <a:pos x="T0" y="T1"/>
                  </a:cxn>
                  <a:cxn ang="0">
                    <a:pos x="T2" y="T3"/>
                  </a:cxn>
                  <a:cxn ang="0">
                    <a:pos x="T4" y="T5"/>
                  </a:cxn>
                  <a:cxn ang="0">
                    <a:pos x="T6" y="T7"/>
                  </a:cxn>
                  <a:cxn ang="0">
                    <a:pos x="T8" y="T9"/>
                  </a:cxn>
                </a:cxnLst>
                <a:rect l="0" t="0" r="r" b="b"/>
                <a:pathLst>
                  <a:path w="56" h="32">
                    <a:moveTo>
                      <a:pt x="28" y="32"/>
                    </a:moveTo>
                    <a:lnTo>
                      <a:pt x="0" y="16"/>
                    </a:lnTo>
                    <a:lnTo>
                      <a:pt x="28" y="0"/>
                    </a:lnTo>
                    <a:lnTo>
                      <a:pt x="56" y="16"/>
                    </a:lnTo>
                    <a:lnTo>
                      <a:pt x="28" y="3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27"/>
              <p:cNvSpPr>
                <a:spLocks/>
              </p:cNvSpPr>
              <p:nvPr/>
            </p:nvSpPr>
            <p:spPr bwMode="auto">
              <a:xfrm>
                <a:off x="3514725" y="2419350"/>
                <a:ext cx="44450" cy="77788"/>
              </a:xfrm>
              <a:custGeom>
                <a:avLst/>
                <a:gdLst>
                  <a:gd name="T0" fmla="*/ 28 w 28"/>
                  <a:gd name="T1" fmla="*/ 17 h 49"/>
                  <a:gd name="T2" fmla="*/ 28 w 28"/>
                  <a:gd name="T3" fmla="*/ 49 h 49"/>
                  <a:gd name="T4" fmla="*/ 0 w 28"/>
                  <a:gd name="T5" fmla="*/ 32 h 49"/>
                  <a:gd name="T6" fmla="*/ 0 w 28"/>
                  <a:gd name="T7" fmla="*/ 0 h 49"/>
                  <a:gd name="T8" fmla="*/ 28 w 28"/>
                  <a:gd name="T9" fmla="*/ 17 h 49"/>
                </a:gdLst>
                <a:ahLst/>
                <a:cxnLst>
                  <a:cxn ang="0">
                    <a:pos x="T0" y="T1"/>
                  </a:cxn>
                  <a:cxn ang="0">
                    <a:pos x="T2" y="T3"/>
                  </a:cxn>
                  <a:cxn ang="0">
                    <a:pos x="T4" y="T5"/>
                  </a:cxn>
                  <a:cxn ang="0">
                    <a:pos x="T6" y="T7"/>
                  </a:cxn>
                  <a:cxn ang="0">
                    <a:pos x="T8" y="T9"/>
                  </a:cxn>
                </a:cxnLst>
                <a:rect l="0" t="0" r="r" b="b"/>
                <a:pathLst>
                  <a:path w="28" h="49">
                    <a:moveTo>
                      <a:pt x="28" y="17"/>
                    </a:moveTo>
                    <a:lnTo>
                      <a:pt x="28" y="49"/>
                    </a:lnTo>
                    <a:lnTo>
                      <a:pt x="0" y="32"/>
                    </a:lnTo>
                    <a:lnTo>
                      <a:pt x="0" y="0"/>
                    </a:lnTo>
                    <a:lnTo>
                      <a:pt x="28"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128"/>
              <p:cNvSpPr>
                <a:spLocks/>
              </p:cNvSpPr>
              <p:nvPr/>
            </p:nvSpPr>
            <p:spPr bwMode="auto">
              <a:xfrm>
                <a:off x="3570288" y="2419350"/>
                <a:ext cx="41275" cy="77788"/>
              </a:xfrm>
              <a:custGeom>
                <a:avLst/>
                <a:gdLst>
                  <a:gd name="T0" fmla="*/ 0 w 26"/>
                  <a:gd name="T1" fmla="*/ 17 h 49"/>
                  <a:gd name="T2" fmla="*/ 0 w 26"/>
                  <a:gd name="T3" fmla="*/ 49 h 49"/>
                  <a:gd name="T4" fmla="*/ 26 w 26"/>
                  <a:gd name="T5" fmla="*/ 32 h 49"/>
                  <a:gd name="T6" fmla="*/ 26 w 26"/>
                  <a:gd name="T7" fmla="*/ 0 h 49"/>
                  <a:gd name="T8" fmla="*/ 0 w 26"/>
                  <a:gd name="T9" fmla="*/ 17 h 49"/>
                </a:gdLst>
                <a:ahLst/>
                <a:cxnLst>
                  <a:cxn ang="0">
                    <a:pos x="T0" y="T1"/>
                  </a:cxn>
                  <a:cxn ang="0">
                    <a:pos x="T2" y="T3"/>
                  </a:cxn>
                  <a:cxn ang="0">
                    <a:pos x="T4" y="T5"/>
                  </a:cxn>
                  <a:cxn ang="0">
                    <a:pos x="T6" y="T7"/>
                  </a:cxn>
                  <a:cxn ang="0">
                    <a:pos x="T8" y="T9"/>
                  </a:cxn>
                </a:cxnLst>
                <a:rect l="0" t="0" r="r" b="b"/>
                <a:pathLst>
                  <a:path w="26" h="49">
                    <a:moveTo>
                      <a:pt x="0" y="17"/>
                    </a:moveTo>
                    <a:lnTo>
                      <a:pt x="0" y="49"/>
                    </a:lnTo>
                    <a:lnTo>
                      <a:pt x="26" y="32"/>
                    </a:lnTo>
                    <a:lnTo>
                      <a:pt x="26" y="0"/>
                    </a:lnTo>
                    <a:lnTo>
                      <a:pt x="0"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129"/>
              <p:cNvSpPr>
                <a:spLocks/>
              </p:cNvSpPr>
              <p:nvPr/>
            </p:nvSpPr>
            <p:spPr bwMode="auto">
              <a:xfrm>
                <a:off x="3517900" y="2386013"/>
                <a:ext cx="88900" cy="50800"/>
              </a:xfrm>
              <a:custGeom>
                <a:avLst/>
                <a:gdLst>
                  <a:gd name="T0" fmla="*/ 28 w 56"/>
                  <a:gd name="T1" fmla="*/ 32 h 32"/>
                  <a:gd name="T2" fmla="*/ 0 w 56"/>
                  <a:gd name="T3" fmla="*/ 16 h 32"/>
                  <a:gd name="T4" fmla="*/ 28 w 56"/>
                  <a:gd name="T5" fmla="*/ 0 h 32"/>
                  <a:gd name="T6" fmla="*/ 56 w 56"/>
                  <a:gd name="T7" fmla="*/ 16 h 32"/>
                  <a:gd name="T8" fmla="*/ 28 w 56"/>
                  <a:gd name="T9" fmla="*/ 32 h 32"/>
                </a:gdLst>
                <a:ahLst/>
                <a:cxnLst>
                  <a:cxn ang="0">
                    <a:pos x="T0" y="T1"/>
                  </a:cxn>
                  <a:cxn ang="0">
                    <a:pos x="T2" y="T3"/>
                  </a:cxn>
                  <a:cxn ang="0">
                    <a:pos x="T4" y="T5"/>
                  </a:cxn>
                  <a:cxn ang="0">
                    <a:pos x="T6" y="T7"/>
                  </a:cxn>
                  <a:cxn ang="0">
                    <a:pos x="T8" y="T9"/>
                  </a:cxn>
                </a:cxnLst>
                <a:rect l="0" t="0" r="r" b="b"/>
                <a:pathLst>
                  <a:path w="56" h="32">
                    <a:moveTo>
                      <a:pt x="28" y="32"/>
                    </a:moveTo>
                    <a:lnTo>
                      <a:pt x="0" y="16"/>
                    </a:lnTo>
                    <a:lnTo>
                      <a:pt x="28" y="0"/>
                    </a:lnTo>
                    <a:lnTo>
                      <a:pt x="56" y="16"/>
                    </a:lnTo>
                    <a:lnTo>
                      <a:pt x="28" y="3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130"/>
              <p:cNvSpPr>
                <a:spLocks/>
              </p:cNvSpPr>
              <p:nvPr/>
            </p:nvSpPr>
            <p:spPr bwMode="auto">
              <a:xfrm>
                <a:off x="3457575" y="2517775"/>
                <a:ext cx="46038" cy="74613"/>
              </a:xfrm>
              <a:custGeom>
                <a:avLst/>
                <a:gdLst>
                  <a:gd name="T0" fmla="*/ 29 w 29"/>
                  <a:gd name="T1" fmla="*/ 15 h 47"/>
                  <a:gd name="T2" fmla="*/ 29 w 29"/>
                  <a:gd name="T3" fmla="*/ 47 h 47"/>
                  <a:gd name="T4" fmla="*/ 0 w 29"/>
                  <a:gd name="T5" fmla="*/ 31 h 47"/>
                  <a:gd name="T6" fmla="*/ 0 w 29"/>
                  <a:gd name="T7" fmla="*/ 0 h 47"/>
                  <a:gd name="T8" fmla="*/ 29 w 29"/>
                  <a:gd name="T9" fmla="*/ 15 h 47"/>
                </a:gdLst>
                <a:ahLst/>
                <a:cxnLst>
                  <a:cxn ang="0">
                    <a:pos x="T0" y="T1"/>
                  </a:cxn>
                  <a:cxn ang="0">
                    <a:pos x="T2" y="T3"/>
                  </a:cxn>
                  <a:cxn ang="0">
                    <a:pos x="T4" y="T5"/>
                  </a:cxn>
                  <a:cxn ang="0">
                    <a:pos x="T6" y="T7"/>
                  </a:cxn>
                  <a:cxn ang="0">
                    <a:pos x="T8" y="T9"/>
                  </a:cxn>
                </a:cxnLst>
                <a:rect l="0" t="0" r="r" b="b"/>
                <a:pathLst>
                  <a:path w="29" h="47">
                    <a:moveTo>
                      <a:pt x="29" y="15"/>
                    </a:moveTo>
                    <a:lnTo>
                      <a:pt x="29" y="47"/>
                    </a:lnTo>
                    <a:lnTo>
                      <a:pt x="0" y="31"/>
                    </a:lnTo>
                    <a:lnTo>
                      <a:pt x="0" y="0"/>
                    </a:lnTo>
                    <a:lnTo>
                      <a:pt x="29" y="1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131"/>
              <p:cNvSpPr>
                <a:spLocks/>
              </p:cNvSpPr>
              <p:nvPr/>
            </p:nvSpPr>
            <p:spPr bwMode="auto">
              <a:xfrm>
                <a:off x="3514725" y="2517775"/>
                <a:ext cx="44450" cy="74613"/>
              </a:xfrm>
              <a:custGeom>
                <a:avLst/>
                <a:gdLst>
                  <a:gd name="T0" fmla="*/ 0 w 28"/>
                  <a:gd name="T1" fmla="*/ 15 h 47"/>
                  <a:gd name="T2" fmla="*/ 0 w 28"/>
                  <a:gd name="T3" fmla="*/ 47 h 47"/>
                  <a:gd name="T4" fmla="*/ 28 w 28"/>
                  <a:gd name="T5" fmla="*/ 31 h 47"/>
                  <a:gd name="T6" fmla="*/ 28 w 28"/>
                  <a:gd name="T7" fmla="*/ 0 h 47"/>
                  <a:gd name="T8" fmla="*/ 0 w 28"/>
                  <a:gd name="T9" fmla="*/ 15 h 47"/>
                </a:gdLst>
                <a:ahLst/>
                <a:cxnLst>
                  <a:cxn ang="0">
                    <a:pos x="T0" y="T1"/>
                  </a:cxn>
                  <a:cxn ang="0">
                    <a:pos x="T2" y="T3"/>
                  </a:cxn>
                  <a:cxn ang="0">
                    <a:pos x="T4" y="T5"/>
                  </a:cxn>
                  <a:cxn ang="0">
                    <a:pos x="T6" y="T7"/>
                  </a:cxn>
                  <a:cxn ang="0">
                    <a:pos x="T8" y="T9"/>
                  </a:cxn>
                </a:cxnLst>
                <a:rect l="0" t="0" r="r" b="b"/>
                <a:pathLst>
                  <a:path w="28" h="47">
                    <a:moveTo>
                      <a:pt x="0" y="15"/>
                    </a:moveTo>
                    <a:lnTo>
                      <a:pt x="0" y="47"/>
                    </a:lnTo>
                    <a:lnTo>
                      <a:pt x="28" y="31"/>
                    </a:lnTo>
                    <a:lnTo>
                      <a:pt x="28" y="0"/>
                    </a:lnTo>
                    <a:lnTo>
                      <a:pt x="0" y="1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132"/>
              <p:cNvSpPr>
                <a:spLocks/>
              </p:cNvSpPr>
              <p:nvPr/>
            </p:nvSpPr>
            <p:spPr bwMode="auto">
              <a:xfrm>
                <a:off x="3462338" y="2481263"/>
                <a:ext cx="88900" cy="52388"/>
              </a:xfrm>
              <a:custGeom>
                <a:avLst/>
                <a:gdLst>
                  <a:gd name="T0" fmla="*/ 28 w 56"/>
                  <a:gd name="T1" fmla="*/ 33 h 33"/>
                  <a:gd name="T2" fmla="*/ 0 w 56"/>
                  <a:gd name="T3" fmla="*/ 16 h 33"/>
                  <a:gd name="T4" fmla="*/ 28 w 56"/>
                  <a:gd name="T5" fmla="*/ 0 h 33"/>
                  <a:gd name="T6" fmla="*/ 56 w 56"/>
                  <a:gd name="T7" fmla="*/ 16 h 33"/>
                  <a:gd name="T8" fmla="*/ 28 w 56"/>
                  <a:gd name="T9" fmla="*/ 33 h 33"/>
                </a:gdLst>
                <a:ahLst/>
                <a:cxnLst>
                  <a:cxn ang="0">
                    <a:pos x="T0" y="T1"/>
                  </a:cxn>
                  <a:cxn ang="0">
                    <a:pos x="T2" y="T3"/>
                  </a:cxn>
                  <a:cxn ang="0">
                    <a:pos x="T4" y="T5"/>
                  </a:cxn>
                  <a:cxn ang="0">
                    <a:pos x="T6" y="T7"/>
                  </a:cxn>
                  <a:cxn ang="0">
                    <a:pos x="T8" y="T9"/>
                  </a:cxn>
                </a:cxnLst>
                <a:rect l="0" t="0" r="r" b="b"/>
                <a:pathLst>
                  <a:path w="56" h="33">
                    <a:moveTo>
                      <a:pt x="28" y="33"/>
                    </a:moveTo>
                    <a:lnTo>
                      <a:pt x="0" y="16"/>
                    </a:lnTo>
                    <a:lnTo>
                      <a:pt x="28" y="0"/>
                    </a:lnTo>
                    <a:lnTo>
                      <a:pt x="56" y="16"/>
                    </a:lnTo>
                    <a:lnTo>
                      <a:pt x="28" y="33"/>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133"/>
              <p:cNvSpPr>
                <a:spLocks/>
              </p:cNvSpPr>
              <p:nvPr/>
            </p:nvSpPr>
            <p:spPr bwMode="auto">
              <a:xfrm>
                <a:off x="3411538" y="2640013"/>
                <a:ext cx="17463" cy="412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6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3" y="5"/>
                      <a:pt x="2" y="6"/>
                    </a:cubicBezTo>
                    <a:cubicBezTo>
                      <a:pt x="2" y="6"/>
                      <a:pt x="1" y="6"/>
                      <a:pt x="1" y="6"/>
                    </a:cubicBezTo>
                    <a:cubicBezTo>
                      <a:pt x="1" y="6"/>
                      <a:pt x="0" y="6"/>
                      <a:pt x="0" y="6"/>
                    </a:cubicBezTo>
                    <a:cubicBezTo>
                      <a:pt x="0" y="2"/>
                      <a:pt x="0" y="2"/>
                      <a:pt x="0" y="2"/>
                    </a:cubicBezTo>
                    <a:cubicBezTo>
                      <a:pt x="1" y="2"/>
                      <a:pt x="2" y="2"/>
                      <a:pt x="3" y="1"/>
                    </a:cubicBezTo>
                    <a:cubicBezTo>
                      <a:pt x="4" y="1"/>
                      <a:pt x="5" y="0"/>
                      <a:pt x="6"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134"/>
              <p:cNvSpPr>
                <a:spLocks noEditPoints="1"/>
              </p:cNvSpPr>
              <p:nvPr/>
            </p:nvSpPr>
            <p:spPr bwMode="auto">
              <a:xfrm>
                <a:off x="3444875" y="2640013"/>
                <a:ext cx="33338" cy="41275"/>
              </a:xfrm>
              <a:custGeom>
                <a:avLst/>
                <a:gdLst>
                  <a:gd name="T0" fmla="*/ 8 w 15"/>
                  <a:gd name="T1" fmla="*/ 19 h 19"/>
                  <a:gd name="T2" fmla="*/ 0 w 15"/>
                  <a:gd name="T3" fmla="*/ 10 h 19"/>
                  <a:gd name="T4" fmla="*/ 2 w 15"/>
                  <a:gd name="T5" fmla="*/ 2 h 19"/>
                  <a:gd name="T6" fmla="*/ 8 w 15"/>
                  <a:gd name="T7" fmla="*/ 0 h 19"/>
                  <a:gd name="T8" fmla="*/ 15 w 15"/>
                  <a:gd name="T9" fmla="*/ 10 h 19"/>
                  <a:gd name="T10" fmla="*/ 13 w 15"/>
                  <a:gd name="T11" fmla="*/ 17 h 19"/>
                  <a:gd name="T12" fmla="*/ 8 w 15"/>
                  <a:gd name="T13" fmla="*/ 19 h 19"/>
                  <a:gd name="T14" fmla="*/ 8 w 15"/>
                  <a:gd name="T15" fmla="*/ 3 h 19"/>
                  <a:gd name="T16" fmla="*/ 5 w 15"/>
                  <a:gd name="T17" fmla="*/ 10 h 19"/>
                  <a:gd name="T18" fmla="*/ 8 w 15"/>
                  <a:gd name="T19" fmla="*/ 16 h 19"/>
                  <a:gd name="T20" fmla="*/ 10 w 15"/>
                  <a:gd name="T21" fmla="*/ 10 h 19"/>
                  <a:gd name="T22" fmla="*/ 8 w 15"/>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9">
                    <a:moveTo>
                      <a:pt x="8" y="19"/>
                    </a:moveTo>
                    <a:cubicBezTo>
                      <a:pt x="2" y="19"/>
                      <a:pt x="0" y="17"/>
                      <a:pt x="0" y="10"/>
                    </a:cubicBezTo>
                    <a:cubicBezTo>
                      <a:pt x="0" y="6"/>
                      <a:pt x="1" y="4"/>
                      <a:pt x="2" y="2"/>
                    </a:cubicBezTo>
                    <a:cubicBezTo>
                      <a:pt x="3" y="1"/>
                      <a:pt x="5" y="0"/>
                      <a:pt x="8" y="0"/>
                    </a:cubicBezTo>
                    <a:cubicBezTo>
                      <a:pt x="12" y="0"/>
                      <a:pt x="15" y="3"/>
                      <a:pt x="15" y="10"/>
                    </a:cubicBezTo>
                    <a:cubicBezTo>
                      <a:pt x="15" y="13"/>
                      <a:pt x="14" y="15"/>
                      <a:pt x="13" y="17"/>
                    </a:cubicBezTo>
                    <a:cubicBezTo>
                      <a:pt x="11" y="19"/>
                      <a:pt x="10" y="19"/>
                      <a:pt x="8" y="19"/>
                    </a:cubicBezTo>
                    <a:close/>
                    <a:moveTo>
                      <a:pt x="8" y="3"/>
                    </a:moveTo>
                    <a:cubicBezTo>
                      <a:pt x="5" y="3"/>
                      <a:pt x="5" y="5"/>
                      <a:pt x="5" y="10"/>
                    </a:cubicBezTo>
                    <a:cubicBezTo>
                      <a:pt x="5" y="14"/>
                      <a:pt x="5" y="16"/>
                      <a:pt x="8" y="16"/>
                    </a:cubicBezTo>
                    <a:cubicBezTo>
                      <a:pt x="9" y="16"/>
                      <a:pt x="10" y="14"/>
                      <a:pt x="10" y="10"/>
                    </a:cubicBezTo>
                    <a:cubicBezTo>
                      <a:pt x="10" y="5"/>
                      <a:pt x="9" y="3"/>
                      <a:pt x="8"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135"/>
              <p:cNvSpPr>
                <a:spLocks/>
              </p:cNvSpPr>
              <p:nvPr/>
            </p:nvSpPr>
            <p:spPr bwMode="auto">
              <a:xfrm>
                <a:off x="3487738" y="2640013"/>
                <a:ext cx="17463" cy="412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5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2" y="5"/>
                      <a:pt x="2" y="6"/>
                    </a:cubicBezTo>
                    <a:cubicBezTo>
                      <a:pt x="2" y="6"/>
                      <a:pt x="1" y="6"/>
                      <a:pt x="1" y="6"/>
                    </a:cubicBezTo>
                    <a:cubicBezTo>
                      <a:pt x="0" y="6"/>
                      <a:pt x="0" y="6"/>
                      <a:pt x="0" y="6"/>
                    </a:cubicBezTo>
                    <a:cubicBezTo>
                      <a:pt x="0" y="2"/>
                      <a:pt x="0" y="2"/>
                      <a:pt x="0" y="2"/>
                    </a:cubicBezTo>
                    <a:cubicBezTo>
                      <a:pt x="1" y="2"/>
                      <a:pt x="2" y="2"/>
                      <a:pt x="3" y="1"/>
                    </a:cubicBezTo>
                    <a:cubicBezTo>
                      <a:pt x="4" y="1"/>
                      <a:pt x="5" y="0"/>
                      <a:pt x="5"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136"/>
              <p:cNvSpPr>
                <a:spLocks noEditPoints="1"/>
              </p:cNvSpPr>
              <p:nvPr/>
            </p:nvSpPr>
            <p:spPr bwMode="auto">
              <a:xfrm>
                <a:off x="3406775" y="2700338"/>
                <a:ext cx="31750" cy="4445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8 h 20"/>
                  <a:gd name="T12" fmla="*/ 7 w 14"/>
                  <a:gd name="T13" fmla="*/ 20 h 20"/>
                  <a:gd name="T14" fmla="*/ 7 w 14"/>
                  <a:gd name="T15" fmla="*/ 4 h 20"/>
                  <a:gd name="T16" fmla="*/ 4 w 14"/>
                  <a:gd name="T17" fmla="*/ 10 h 20"/>
                  <a:gd name="T18" fmla="*/ 7 w 14"/>
                  <a:gd name="T19" fmla="*/ 17 h 20"/>
                  <a:gd name="T20" fmla="*/ 10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4"/>
                      <a:pt x="14" y="10"/>
                    </a:cubicBezTo>
                    <a:cubicBezTo>
                      <a:pt x="14" y="13"/>
                      <a:pt x="14" y="16"/>
                      <a:pt x="13" y="18"/>
                    </a:cubicBezTo>
                    <a:cubicBezTo>
                      <a:pt x="11" y="19"/>
                      <a:pt x="9" y="20"/>
                      <a:pt x="7" y="20"/>
                    </a:cubicBezTo>
                    <a:close/>
                    <a:moveTo>
                      <a:pt x="7" y="4"/>
                    </a:moveTo>
                    <a:cubicBezTo>
                      <a:pt x="6" y="4"/>
                      <a:pt x="4" y="6"/>
                      <a:pt x="4" y="10"/>
                    </a:cubicBezTo>
                    <a:cubicBezTo>
                      <a:pt x="4" y="15"/>
                      <a:pt x="6" y="17"/>
                      <a:pt x="7" y="17"/>
                    </a:cubicBezTo>
                    <a:cubicBezTo>
                      <a:pt x="9" y="17"/>
                      <a:pt x="10" y="15"/>
                      <a:pt x="10" y="10"/>
                    </a:cubicBezTo>
                    <a:cubicBezTo>
                      <a:pt x="10" y="6"/>
                      <a:pt x="9"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137"/>
              <p:cNvSpPr>
                <a:spLocks/>
              </p:cNvSpPr>
              <p:nvPr/>
            </p:nvSpPr>
            <p:spPr bwMode="auto">
              <a:xfrm>
                <a:off x="3449638" y="2700338"/>
                <a:ext cx="19050" cy="44450"/>
              </a:xfrm>
              <a:custGeom>
                <a:avLst/>
                <a:gdLst>
                  <a:gd name="T0" fmla="*/ 9 w 9"/>
                  <a:gd name="T1" fmla="*/ 0 h 20"/>
                  <a:gd name="T2" fmla="*/ 9 w 9"/>
                  <a:gd name="T3" fmla="*/ 20 h 20"/>
                  <a:gd name="T4" fmla="*/ 4 w 9"/>
                  <a:gd name="T5" fmla="*/ 20 h 20"/>
                  <a:gd name="T6" fmla="*/ 4 w 9"/>
                  <a:gd name="T7" fmla="*/ 5 h 20"/>
                  <a:gd name="T8" fmla="*/ 4 w 9"/>
                  <a:gd name="T9" fmla="*/ 6 h 20"/>
                  <a:gd name="T10" fmla="*/ 3 w 9"/>
                  <a:gd name="T11" fmla="*/ 6 h 20"/>
                  <a:gd name="T12" fmla="*/ 1 w 9"/>
                  <a:gd name="T13" fmla="*/ 6 h 20"/>
                  <a:gd name="T14" fmla="*/ 0 w 9"/>
                  <a:gd name="T15" fmla="*/ 7 h 20"/>
                  <a:gd name="T16" fmla="*/ 0 w 9"/>
                  <a:gd name="T17" fmla="*/ 3 h 20"/>
                  <a:gd name="T18" fmla="*/ 4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4" y="20"/>
                      <a:pt x="4" y="20"/>
                      <a:pt x="4" y="20"/>
                    </a:cubicBezTo>
                    <a:cubicBezTo>
                      <a:pt x="4" y="5"/>
                      <a:pt x="4" y="5"/>
                      <a:pt x="4" y="5"/>
                    </a:cubicBezTo>
                    <a:cubicBezTo>
                      <a:pt x="4" y="5"/>
                      <a:pt x="4" y="6"/>
                      <a:pt x="4" y="6"/>
                    </a:cubicBezTo>
                    <a:cubicBezTo>
                      <a:pt x="4" y="6"/>
                      <a:pt x="3" y="6"/>
                      <a:pt x="3" y="6"/>
                    </a:cubicBezTo>
                    <a:cubicBezTo>
                      <a:pt x="2" y="6"/>
                      <a:pt x="2" y="6"/>
                      <a:pt x="1" y="6"/>
                    </a:cubicBezTo>
                    <a:cubicBezTo>
                      <a:pt x="1" y="7"/>
                      <a:pt x="1" y="7"/>
                      <a:pt x="0" y="7"/>
                    </a:cubicBezTo>
                    <a:cubicBezTo>
                      <a:pt x="0" y="3"/>
                      <a:pt x="0" y="3"/>
                      <a:pt x="0" y="3"/>
                    </a:cubicBezTo>
                    <a:cubicBezTo>
                      <a:pt x="1" y="3"/>
                      <a:pt x="3" y="2"/>
                      <a:pt x="4" y="2"/>
                    </a:cubicBezTo>
                    <a:cubicBezTo>
                      <a:pt x="4" y="2"/>
                      <a:pt x="6" y="1"/>
                      <a:pt x="6" y="0"/>
                    </a:cubicBezTo>
                    <a:lnTo>
                      <a:pt x="9"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138"/>
              <p:cNvSpPr>
                <a:spLocks noEditPoints="1"/>
              </p:cNvSpPr>
              <p:nvPr/>
            </p:nvSpPr>
            <p:spPr bwMode="auto">
              <a:xfrm>
                <a:off x="3482975" y="2700338"/>
                <a:ext cx="31750" cy="44450"/>
              </a:xfrm>
              <a:custGeom>
                <a:avLst/>
                <a:gdLst>
                  <a:gd name="T0" fmla="*/ 6 w 14"/>
                  <a:gd name="T1" fmla="*/ 20 h 20"/>
                  <a:gd name="T2" fmla="*/ 0 w 14"/>
                  <a:gd name="T3" fmla="*/ 10 h 20"/>
                  <a:gd name="T4" fmla="*/ 1 w 14"/>
                  <a:gd name="T5" fmla="*/ 3 h 20"/>
                  <a:gd name="T6" fmla="*/ 7 w 14"/>
                  <a:gd name="T7" fmla="*/ 0 h 20"/>
                  <a:gd name="T8" fmla="*/ 14 w 14"/>
                  <a:gd name="T9" fmla="*/ 10 h 20"/>
                  <a:gd name="T10" fmla="*/ 12 w 14"/>
                  <a:gd name="T11" fmla="*/ 18 h 20"/>
                  <a:gd name="T12" fmla="*/ 6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6" y="20"/>
                    </a:moveTo>
                    <a:cubicBezTo>
                      <a:pt x="2" y="20"/>
                      <a:pt x="0" y="17"/>
                      <a:pt x="0" y="10"/>
                    </a:cubicBezTo>
                    <a:cubicBezTo>
                      <a:pt x="0" y="7"/>
                      <a:pt x="0" y="5"/>
                      <a:pt x="1" y="3"/>
                    </a:cubicBezTo>
                    <a:cubicBezTo>
                      <a:pt x="3" y="1"/>
                      <a:pt x="5" y="0"/>
                      <a:pt x="7" y="0"/>
                    </a:cubicBezTo>
                    <a:cubicBezTo>
                      <a:pt x="11" y="0"/>
                      <a:pt x="14" y="4"/>
                      <a:pt x="14" y="10"/>
                    </a:cubicBezTo>
                    <a:cubicBezTo>
                      <a:pt x="14" y="13"/>
                      <a:pt x="13" y="16"/>
                      <a:pt x="12" y="18"/>
                    </a:cubicBezTo>
                    <a:cubicBezTo>
                      <a:pt x="10" y="19"/>
                      <a:pt x="9" y="20"/>
                      <a:pt x="6" y="20"/>
                    </a:cubicBezTo>
                    <a:close/>
                    <a:moveTo>
                      <a:pt x="7" y="4"/>
                    </a:moveTo>
                    <a:cubicBezTo>
                      <a:pt x="5" y="4"/>
                      <a:pt x="4" y="6"/>
                      <a:pt x="4" y="10"/>
                    </a:cubicBezTo>
                    <a:cubicBezTo>
                      <a:pt x="4" y="15"/>
                      <a:pt x="5" y="17"/>
                      <a:pt x="7" y="17"/>
                    </a:cubicBezTo>
                    <a:cubicBezTo>
                      <a:pt x="8" y="17"/>
                      <a:pt x="9" y="15"/>
                      <a:pt x="9" y="10"/>
                    </a:cubicBezTo>
                    <a:cubicBezTo>
                      <a:pt x="9" y="6"/>
                      <a:pt x="8"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139"/>
              <p:cNvSpPr>
                <a:spLocks noEditPoints="1"/>
              </p:cNvSpPr>
              <p:nvPr/>
            </p:nvSpPr>
            <p:spPr bwMode="auto">
              <a:xfrm>
                <a:off x="3406775" y="2762250"/>
                <a:ext cx="31750" cy="4445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7 h 20"/>
                  <a:gd name="T12" fmla="*/ 7 w 14"/>
                  <a:gd name="T13" fmla="*/ 20 h 20"/>
                  <a:gd name="T14" fmla="*/ 7 w 14"/>
                  <a:gd name="T15" fmla="*/ 3 h 20"/>
                  <a:gd name="T16" fmla="*/ 4 w 14"/>
                  <a:gd name="T17" fmla="*/ 10 h 20"/>
                  <a:gd name="T18" fmla="*/ 7 w 14"/>
                  <a:gd name="T19" fmla="*/ 17 h 20"/>
                  <a:gd name="T20" fmla="*/ 10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3"/>
                      <a:pt x="14" y="10"/>
                    </a:cubicBezTo>
                    <a:cubicBezTo>
                      <a:pt x="14" y="13"/>
                      <a:pt x="14" y="15"/>
                      <a:pt x="13" y="17"/>
                    </a:cubicBezTo>
                    <a:cubicBezTo>
                      <a:pt x="11" y="19"/>
                      <a:pt x="9" y="20"/>
                      <a:pt x="7" y="20"/>
                    </a:cubicBezTo>
                    <a:close/>
                    <a:moveTo>
                      <a:pt x="7" y="3"/>
                    </a:moveTo>
                    <a:cubicBezTo>
                      <a:pt x="6" y="3"/>
                      <a:pt x="4" y="6"/>
                      <a:pt x="4" y="10"/>
                    </a:cubicBezTo>
                    <a:cubicBezTo>
                      <a:pt x="4" y="15"/>
                      <a:pt x="6" y="17"/>
                      <a:pt x="7" y="17"/>
                    </a:cubicBezTo>
                    <a:cubicBezTo>
                      <a:pt x="9" y="17"/>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140"/>
              <p:cNvSpPr>
                <a:spLocks noEditPoints="1"/>
              </p:cNvSpPr>
              <p:nvPr/>
            </p:nvSpPr>
            <p:spPr bwMode="auto">
              <a:xfrm>
                <a:off x="3444875" y="2762250"/>
                <a:ext cx="33338" cy="44450"/>
              </a:xfrm>
              <a:custGeom>
                <a:avLst/>
                <a:gdLst>
                  <a:gd name="T0" fmla="*/ 8 w 15"/>
                  <a:gd name="T1" fmla="*/ 20 h 20"/>
                  <a:gd name="T2" fmla="*/ 0 w 15"/>
                  <a:gd name="T3" fmla="*/ 10 h 20"/>
                  <a:gd name="T4" fmla="*/ 2 w 15"/>
                  <a:gd name="T5" fmla="*/ 3 h 20"/>
                  <a:gd name="T6" fmla="*/ 8 w 15"/>
                  <a:gd name="T7" fmla="*/ 0 h 20"/>
                  <a:gd name="T8" fmla="*/ 15 w 15"/>
                  <a:gd name="T9" fmla="*/ 10 h 20"/>
                  <a:gd name="T10" fmla="*/ 13 w 15"/>
                  <a:gd name="T11" fmla="*/ 17 h 20"/>
                  <a:gd name="T12" fmla="*/ 8 w 15"/>
                  <a:gd name="T13" fmla="*/ 20 h 20"/>
                  <a:gd name="T14" fmla="*/ 8 w 15"/>
                  <a:gd name="T15" fmla="*/ 3 h 20"/>
                  <a:gd name="T16" fmla="*/ 5 w 15"/>
                  <a:gd name="T17" fmla="*/ 10 h 20"/>
                  <a:gd name="T18" fmla="*/ 8 w 15"/>
                  <a:gd name="T19" fmla="*/ 17 h 20"/>
                  <a:gd name="T20" fmla="*/ 10 w 15"/>
                  <a:gd name="T21" fmla="*/ 10 h 20"/>
                  <a:gd name="T22" fmla="*/ 8 w 15"/>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0">
                    <a:moveTo>
                      <a:pt x="8" y="20"/>
                    </a:moveTo>
                    <a:cubicBezTo>
                      <a:pt x="2" y="20"/>
                      <a:pt x="0" y="17"/>
                      <a:pt x="0" y="10"/>
                    </a:cubicBezTo>
                    <a:cubicBezTo>
                      <a:pt x="0" y="7"/>
                      <a:pt x="1" y="5"/>
                      <a:pt x="2" y="3"/>
                    </a:cubicBezTo>
                    <a:cubicBezTo>
                      <a:pt x="3" y="1"/>
                      <a:pt x="5" y="0"/>
                      <a:pt x="8" y="0"/>
                    </a:cubicBezTo>
                    <a:cubicBezTo>
                      <a:pt x="12" y="0"/>
                      <a:pt x="15" y="3"/>
                      <a:pt x="15" y="10"/>
                    </a:cubicBezTo>
                    <a:cubicBezTo>
                      <a:pt x="15" y="13"/>
                      <a:pt x="14" y="15"/>
                      <a:pt x="13" y="17"/>
                    </a:cubicBezTo>
                    <a:cubicBezTo>
                      <a:pt x="11" y="19"/>
                      <a:pt x="10" y="20"/>
                      <a:pt x="8" y="20"/>
                    </a:cubicBezTo>
                    <a:close/>
                    <a:moveTo>
                      <a:pt x="8" y="3"/>
                    </a:moveTo>
                    <a:cubicBezTo>
                      <a:pt x="5" y="3"/>
                      <a:pt x="5" y="6"/>
                      <a:pt x="5" y="10"/>
                    </a:cubicBezTo>
                    <a:cubicBezTo>
                      <a:pt x="5" y="15"/>
                      <a:pt x="5" y="17"/>
                      <a:pt x="8" y="17"/>
                    </a:cubicBezTo>
                    <a:cubicBezTo>
                      <a:pt x="9" y="17"/>
                      <a:pt x="10" y="14"/>
                      <a:pt x="10" y="10"/>
                    </a:cubicBezTo>
                    <a:cubicBezTo>
                      <a:pt x="10" y="5"/>
                      <a:pt x="9" y="3"/>
                      <a:pt x="8"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141"/>
              <p:cNvSpPr>
                <a:spLocks/>
              </p:cNvSpPr>
              <p:nvPr/>
            </p:nvSpPr>
            <p:spPr bwMode="auto">
              <a:xfrm>
                <a:off x="3487738" y="2762250"/>
                <a:ext cx="17463" cy="44450"/>
              </a:xfrm>
              <a:custGeom>
                <a:avLst/>
                <a:gdLst>
                  <a:gd name="T0" fmla="*/ 8 w 8"/>
                  <a:gd name="T1" fmla="*/ 0 h 20"/>
                  <a:gd name="T2" fmla="*/ 8 w 8"/>
                  <a:gd name="T3" fmla="*/ 20 h 20"/>
                  <a:gd name="T4" fmla="*/ 4 w 8"/>
                  <a:gd name="T5" fmla="*/ 20 h 20"/>
                  <a:gd name="T6" fmla="*/ 4 w 8"/>
                  <a:gd name="T7" fmla="*/ 5 h 20"/>
                  <a:gd name="T8" fmla="*/ 3 w 8"/>
                  <a:gd name="T9" fmla="*/ 5 h 20"/>
                  <a:gd name="T10" fmla="*/ 2 w 8"/>
                  <a:gd name="T11" fmla="*/ 6 h 20"/>
                  <a:gd name="T12" fmla="*/ 1 w 8"/>
                  <a:gd name="T13" fmla="*/ 6 h 20"/>
                  <a:gd name="T14" fmla="*/ 0 w 8"/>
                  <a:gd name="T15" fmla="*/ 7 h 20"/>
                  <a:gd name="T16" fmla="*/ 0 w 8"/>
                  <a:gd name="T17" fmla="*/ 3 h 20"/>
                  <a:gd name="T18" fmla="*/ 3 w 8"/>
                  <a:gd name="T19" fmla="*/ 2 h 20"/>
                  <a:gd name="T20" fmla="*/ 5 w 8"/>
                  <a:gd name="T21" fmla="*/ 0 h 20"/>
                  <a:gd name="T22" fmla="*/ 8 w 8"/>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0">
                    <a:moveTo>
                      <a:pt x="8" y="0"/>
                    </a:moveTo>
                    <a:cubicBezTo>
                      <a:pt x="8" y="20"/>
                      <a:pt x="8" y="20"/>
                      <a:pt x="8" y="20"/>
                    </a:cubicBezTo>
                    <a:cubicBezTo>
                      <a:pt x="4" y="20"/>
                      <a:pt x="4" y="20"/>
                      <a:pt x="4" y="20"/>
                    </a:cubicBezTo>
                    <a:cubicBezTo>
                      <a:pt x="4" y="5"/>
                      <a:pt x="4" y="5"/>
                      <a:pt x="4" y="5"/>
                    </a:cubicBezTo>
                    <a:cubicBezTo>
                      <a:pt x="4" y="5"/>
                      <a:pt x="3" y="5"/>
                      <a:pt x="3" y="5"/>
                    </a:cubicBezTo>
                    <a:cubicBezTo>
                      <a:pt x="3" y="5"/>
                      <a:pt x="2" y="6"/>
                      <a:pt x="2" y="6"/>
                    </a:cubicBezTo>
                    <a:cubicBezTo>
                      <a:pt x="2" y="6"/>
                      <a:pt x="1" y="6"/>
                      <a:pt x="1" y="6"/>
                    </a:cubicBezTo>
                    <a:cubicBezTo>
                      <a:pt x="0" y="6"/>
                      <a:pt x="0" y="6"/>
                      <a:pt x="0" y="7"/>
                    </a:cubicBezTo>
                    <a:cubicBezTo>
                      <a:pt x="0" y="3"/>
                      <a:pt x="0" y="3"/>
                      <a:pt x="0" y="3"/>
                    </a:cubicBezTo>
                    <a:cubicBezTo>
                      <a:pt x="1" y="3"/>
                      <a:pt x="2" y="2"/>
                      <a:pt x="3" y="2"/>
                    </a:cubicBezTo>
                    <a:cubicBezTo>
                      <a:pt x="4" y="1"/>
                      <a:pt x="5" y="1"/>
                      <a:pt x="5"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142"/>
              <p:cNvSpPr>
                <a:spLocks/>
              </p:cNvSpPr>
              <p:nvPr/>
            </p:nvSpPr>
            <p:spPr bwMode="auto">
              <a:xfrm>
                <a:off x="3560763" y="2640013"/>
                <a:ext cx="22225" cy="41275"/>
              </a:xfrm>
              <a:custGeom>
                <a:avLst/>
                <a:gdLst>
                  <a:gd name="T0" fmla="*/ 10 w 10"/>
                  <a:gd name="T1" fmla="*/ 0 h 19"/>
                  <a:gd name="T2" fmla="*/ 10 w 10"/>
                  <a:gd name="T3" fmla="*/ 19 h 19"/>
                  <a:gd name="T4" fmla="*/ 5 w 10"/>
                  <a:gd name="T5" fmla="*/ 19 h 19"/>
                  <a:gd name="T6" fmla="*/ 5 w 10"/>
                  <a:gd name="T7" fmla="*/ 4 h 19"/>
                  <a:gd name="T8" fmla="*/ 4 w 10"/>
                  <a:gd name="T9" fmla="*/ 5 h 19"/>
                  <a:gd name="T10" fmla="*/ 3 w 10"/>
                  <a:gd name="T11" fmla="*/ 6 h 19"/>
                  <a:gd name="T12" fmla="*/ 2 w 10"/>
                  <a:gd name="T13" fmla="*/ 6 h 19"/>
                  <a:gd name="T14" fmla="*/ 0 w 10"/>
                  <a:gd name="T15" fmla="*/ 6 h 19"/>
                  <a:gd name="T16" fmla="*/ 0 w 10"/>
                  <a:gd name="T17" fmla="*/ 2 h 19"/>
                  <a:gd name="T18" fmla="*/ 4 w 10"/>
                  <a:gd name="T19" fmla="*/ 1 h 19"/>
                  <a:gd name="T20" fmla="*/ 7 w 10"/>
                  <a:gd name="T21" fmla="*/ 0 h 19"/>
                  <a:gd name="T22" fmla="*/ 10 w 10"/>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9">
                    <a:moveTo>
                      <a:pt x="10" y="0"/>
                    </a:moveTo>
                    <a:cubicBezTo>
                      <a:pt x="10" y="19"/>
                      <a:pt x="10" y="19"/>
                      <a:pt x="10" y="19"/>
                    </a:cubicBezTo>
                    <a:cubicBezTo>
                      <a:pt x="5" y="19"/>
                      <a:pt x="5" y="19"/>
                      <a:pt x="5" y="19"/>
                    </a:cubicBezTo>
                    <a:cubicBezTo>
                      <a:pt x="5" y="4"/>
                      <a:pt x="5" y="4"/>
                      <a:pt x="5" y="4"/>
                    </a:cubicBezTo>
                    <a:cubicBezTo>
                      <a:pt x="5" y="4"/>
                      <a:pt x="4" y="5"/>
                      <a:pt x="4" y="5"/>
                    </a:cubicBezTo>
                    <a:cubicBezTo>
                      <a:pt x="4" y="5"/>
                      <a:pt x="3" y="5"/>
                      <a:pt x="3" y="6"/>
                    </a:cubicBezTo>
                    <a:cubicBezTo>
                      <a:pt x="3" y="6"/>
                      <a:pt x="2" y="6"/>
                      <a:pt x="2" y="6"/>
                    </a:cubicBezTo>
                    <a:cubicBezTo>
                      <a:pt x="1" y="6"/>
                      <a:pt x="1" y="6"/>
                      <a:pt x="0" y="6"/>
                    </a:cubicBezTo>
                    <a:cubicBezTo>
                      <a:pt x="0" y="2"/>
                      <a:pt x="0" y="2"/>
                      <a:pt x="0" y="2"/>
                    </a:cubicBezTo>
                    <a:cubicBezTo>
                      <a:pt x="2" y="2"/>
                      <a:pt x="3" y="2"/>
                      <a:pt x="4" y="1"/>
                    </a:cubicBezTo>
                    <a:cubicBezTo>
                      <a:pt x="5" y="1"/>
                      <a:pt x="6" y="0"/>
                      <a:pt x="7" y="0"/>
                    </a:cubicBezTo>
                    <a:lnTo>
                      <a:pt x="10"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143"/>
              <p:cNvSpPr>
                <a:spLocks noEditPoints="1"/>
              </p:cNvSpPr>
              <p:nvPr/>
            </p:nvSpPr>
            <p:spPr bwMode="auto">
              <a:xfrm>
                <a:off x="3559175" y="2700338"/>
                <a:ext cx="30163" cy="44450"/>
              </a:xfrm>
              <a:custGeom>
                <a:avLst/>
                <a:gdLst>
                  <a:gd name="T0" fmla="*/ 7 w 14"/>
                  <a:gd name="T1" fmla="*/ 20 h 20"/>
                  <a:gd name="T2" fmla="*/ 0 w 14"/>
                  <a:gd name="T3" fmla="*/ 10 h 20"/>
                  <a:gd name="T4" fmla="*/ 2 w 14"/>
                  <a:gd name="T5" fmla="*/ 3 h 20"/>
                  <a:gd name="T6" fmla="*/ 7 w 14"/>
                  <a:gd name="T7" fmla="*/ 0 h 20"/>
                  <a:gd name="T8" fmla="*/ 14 w 14"/>
                  <a:gd name="T9" fmla="*/ 10 h 20"/>
                  <a:gd name="T10" fmla="*/ 12 w 14"/>
                  <a:gd name="T11" fmla="*/ 18 h 20"/>
                  <a:gd name="T12" fmla="*/ 7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0" y="5"/>
                      <a:pt x="2" y="3"/>
                    </a:cubicBezTo>
                    <a:cubicBezTo>
                      <a:pt x="3" y="1"/>
                      <a:pt x="5" y="0"/>
                      <a:pt x="7" y="0"/>
                    </a:cubicBezTo>
                    <a:cubicBezTo>
                      <a:pt x="12" y="0"/>
                      <a:pt x="14" y="4"/>
                      <a:pt x="14" y="10"/>
                    </a:cubicBezTo>
                    <a:cubicBezTo>
                      <a:pt x="14" y="13"/>
                      <a:pt x="13" y="16"/>
                      <a:pt x="12" y="18"/>
                    </a:cubicBezTo>
                    <a:cubicBezTo>
                      <a:pt x="11" y="19"/>
                      <a:pt x="9" y="20"/>
                      <a:pt x="7" y="20"/>
                    </a:cubicBezTo>
                    <a:close/>
                    <a:moveTo>
                      <a:pt x="7" y="4"/>
                    </a:moveTo>
                    <a:cubicBezTo>
                      <a:pt x="5" y="4"/>
                      <a:pt x="4" y="6"/>
                      <a:pt x="4" y="10"/>
                    </a:cubicBezTo>
                    <a:cubicBezTo>
                      <a:pt x="4" y="15"/>
                      <a:pt x="5" y="17"/>
                      <a:pt x="7" y="17"/>
                    </a:cubicBezTo>
                    <a:cubicBezTo>
                      <a:pt x="9" y="17"/>
                      <a:pt x="9" y="15"/>
                      <a:pt x="9" y="10"/>
                    </a:cubicBezTo>
                    <a:cubicBezTo>
                      <a:pt x="9" y="6"/>
                      <a:pt x="9"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144"/>
              <p:cNvSpPr>
                <a:spLocks noEditPoints="1"/>
              </p:cNvSpPr>
              <p:nvPr/>
            </p:nvSpPr>
            <p:spPr bwMode="auto">
              <a:xfrm>
                <a:off x="3559175" y="2762250"/>
                <a:ext cx="30163" cy="44450"/>
              </a:xfrm>
              <a:custGeom>
                <a:avLst/>
                <a:gdLst>
                  <a:gd name="T0" fmla="*/ 7 w 14"/>
                  <a:gd name="T1" fmla="*/ 20 h 20"/>
                  <a:gd name="T2" fmla="*/ 0 w 14"/>
                  <a:gd name="T3" fmla="*/ 10 h 20"/>
                  <a:gd name="T4" fmla="*/ 2 w 14"/>
                  <a:gd name="T5" fmla="*/ 3 h 20"/>
                  <a:gd name="T6" fmla="*/ 7 w 14"/>
                  <a:gd name="T7" fmla="*/ 0 h 20"/>
                  <a:gd name="T8" fmla="*/ 14 w 14"/>
                  <a:gd name="T9" fmla="*/ 10 h 20"/>
                  <a:gd name="T10" fmla="*/ 12 w 14"/>
                  <a:gd name="T11" fmla="*/ 17 h 20"/>
                  <a:gd name="T12" fmla="*/ 7 w 14"/>
                  <a:gd name="T13" fmla="*/ 20 h 20"/>
                  <a:gd name="T14" fmla="*/ 7 w 14"/>
                  <a:gd name="T15" fmla="*/ 3 h 20"/>
                  <a:gd name="T16" fmla="*/ 4 w 14"/>
                  <a:gd name="T17" fmla="*/ 10 h 20"/>
                  <a:gd name="T18" fmla="*/ 7 w 14"/>
                  <a:gd name="T19" fmla="*/ 17 h 20"/>
                  <a:gd name="T20" fmla="*/ 9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0" y="5"/>
                      <a:pt x="2" y="3"/>
                    </a:cubicBezTo>
                    <a:cubicBezTo>
                      <a:pt x="3" y="1"/>
                      <a:pt x="5" y="0"/>
                      <a:pt x="7" y="0"/>
                    </a:cubicBezTo>
                    <a:cubicBezTo>
                      <a:pt x="12" y="0"/>
                      <a:pt x="14" y="3"/>
                      <a:pt x="14" y="10"/>
                    </a:cubicBezTo>
                    <a:cubicBezTo>
                      <a:pt x="14" y="13"/>
                      <a:pt x="13" y="15"/>
                      <a:pt x="12" y="17"/>
                    </a:cubicBezTo>
                    <a:cubicBezTo>
                      <a:pt x="11" y="19"/>
                      <a:pt x="9" y="20"/>
                      <a:pt x="7" y="20"/>
                    </a:cubicBezTo>
                    <a:close/>
                    <a:moveTo>
                      <a:pt x="7" y="3"/>
                    </a:moveTo>
                    <a:cubicBezTo>
                      <a:pt x="5" y="3"/>
                      <a:pt x="4" y="6"/>
                      <a:pt x="4" y="10"/>
                    </a:cubicBezTo>
                    <a:cubicBezTo>
                      <a:pt x="4" y="15"/>
                      <a:pt x="5" y="17"/>
                      <a:pt x="7" y="17"/>
                    </a:cubicBezTo>
                    <a:cubicBezTo>
                      <a:pt x="9" y="17"/>
                      <a:pt x="9" y="14"/>
                      <a:pt x="9" y="10"/>
                    </a:cubicBezTo>
                    <a:cubicBezTo>
                      <a:pt x="9"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145"/>
              <p:cNvSpPr>
                <a:spLocks noEditPoints="1"/>
              </p:cNvSpPr>
              <p:nvPr/>
            </p:nvSpPr>
            <p:spPr bwMode="auto">
              <a:xfrm>
                <a:off x="3517900" y="2640013"/>
                <a:ext cx="31750" cy="41275"/>
              </a:xfrm>
              <a:custGeom>
                <a:avLst/>
                <a:gdLst>
                  <a:gd name="T0" fmla="*/ 7 w 14"/>
                  <a:gd name="T1" fmla="*/ 19 h 19"/>
                  <a:gd name="T2" fmla="*/ 0 w 14"/>
                  <a:gd name="T3" fmla="*/ 10 h 19"/>
                  <a:gd name="T4" fmla="*/ 2 w 14"/>
                  <a:gd name="T5" fmla="*/ 2 h 19"/>
                  <a:gd name="T6" fmla="*/ 8 w 14"/>
                  <a:gd name="T7" fmla="*/ 0 h 19"/>
                  <a:gd name="T8" fmla="*/ 14 w 14"/>
                  <a:gd name="T9" fmla="*/ 10 h 19"/>
                  <a:gd name="T10" fmla="*/ 13 w 14"/>
                  <a:gd name="T11" fmla="*/ 17 h 19"/>
                  <a:gd name="T12" fmla="*/ 7 w 14"/>
                  <a:gd name="T13" fmla="*/ 19 h 19"/>
                  <a:gd name="T14" fmla="*/ 7 w 14"/>
                  <a:gd name="T15" fmla="*/ 3 h 19"/>
                  <a:gd name="T16" fmla="*/ 5 w 14"/>
                  <a:gd name="T17" fmla="*/ 10 h 19"/>
                  <a:gd name="T18" fmla="*/ 7 w 14"/>
                  <a:gd name="T19" fmla="*/ 16 h 19"/>
                  <a:gd name="T20" fmla="*/ 10 w 14"/>
                  <a:gd name="T21" fmla="*/ 10 h 19"/>
                  <a:gd name="T22" fmla="*/ 7 w 14"/>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9">
                    <a:moveTo>
                      <a:pt x="7" y="19"/>
                    </a:moveTo>
                    <a:cubicBezTo>
                      <a:pt x="2" y="19"/>
                      <a:pt x="0" y="17"/>
                      <a:pt x="0" y="10"/>
                    </a:cubicBezTo>
                    <a:cubicBezTo>
                      <a:pt x="0" y="6"/>
                      <a:pt x="1" y="4"/>
                      <a:pt x="2" y="2"/>
                    </a:cubicBezTo>
                    <a:cubicBezTo>
                      <a:pt x="3" y="1"/>
                      <a:pt x="5" y="0"/>
                      <a:pt x="8" y="0"/>
                    </a:cubicBezTo>
                    <a:cubicBezTo>
                      <a:pt x="12" y="0"/>
                      <a:pt x="14" y="3"/>
                      <a:pt x="14" y="10"/>
                    </a:cubicBezTo>
                    <a:cubicBezTo>
                      <a:pt x="14" y="13"/>
                      <a:pt x="14" y="15"/>
                      <a:pt x="13" y="17"/>
                    </a:cubicBezTo>
                    <a:cubicBezTo>
                      <a:pt x="12" y="19"/>
                      <a:pt x="10" y="19"/>
                      <a:pt x="7" y="19"/>
                    </a:cubicBezTo>
                    <a:close/>
                    <a:moveTo>
                      <a:pt x="7" y="3"/>
                    </a:moveTo>
                    <a:cubicBezTo>
                      <a:pt x="6" y="3"/>
                      <a:pt x="5" y="5"/>
                      <a:pt x="5" y="10"/>
                    </a:cubicBezTo>
                    <a:cubicBezTo>
                      <a:pt x="5" y="14"/>
                      <a:pt x="6" y="16"/>
                      <a:pt x="7" y="16"/>
                    </a:cubicBezTo>
                    <a:cubicBezTo>
                      <a:pt x="9" y="16"/>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146"/>
              <p:cNvSpPr>
                <a:spLocks/>
              </p:cNvSpPr>
              <p:nvPr/>
            </p:nvSpPr>
            <p:spPr bwMode="auto">
              <a:xfrm>
                <a:off x="3522663" y="2700338"/>
                <a:ext cx="20638" cy="44450"/>
              </a:xfrm>
              <a:custGeom>
                <a:avLst/>
                <a:gdLst>
                  <a:gd name="T0" fmla="*/ 9 w 9"/>
                  <a:gd name="T1" fmla="*/ 0 h 20"/>
                  <a:gd name="T2" fmla="*/ 9 w 9"/>
                  <a:gd name="T3" fmla="*/ 20 h 20"/>
                  <a:gd name="T4" fmla="*/ 5 w 9"/>
                  <a:gd name="T5" fmla="*/ 20 h 20"/>
                  <a:gd name="T6" fmla="*/ 5 w 9"/>
                  <a:gd name="T7" fmla="*/ 5 h 20"/>
                  <a:gd name="T8" fmla="*/ 4 w 9"/>
                  <a:gd name="T9" fmla="*/ 6 h 20"/>
                  <a:gd name="T10" fmla="*/ 3 w 9"/>
                  <a:gd name="T11" fmla="*/ 6 h 20"/>
                  <a:gd name="T12" fmla="*/ 1 w 9"/>
                  <a:gd name="T13" fmla="*/ 6 h 20"/>
                  <a:gd name="T14" fmla="*/ 0 w 9"/>
                  <a:gd name="T15" fmla="*/ 7 h 20"/>
                  <a:gd name="T16" fmla="*/ 0 w 9"/>
                  <a:gd name="T17" fmla="*/ 3 h 20"/>
                  <a:gd name="T18" fmla="*/ 3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5" y="20"/>
                      <a:pt x="5" y="20"/>
                      <a:pt x="5" y="20"/>
                    </a:cubicBezTo>
                    <a:cubicBezTo>
                      <a:pt x="5" y="5"/>
                      <a:pt x="5" y="5"/>
                      <a:pt x="5" y="5"/>
                    </a:cubicBezTo>
                    <a:cubicBezTo>
                      <a:pt x="4" y="5"/>
                      <a:pt x="4" y="6"/>
                      <a:pt x="4" y="6"/>
                    </a:cubicBezTo>
                    <a:cubicBezTo>
                      <a:pt x="3" y="6"/>
                      <a:pt x="3" y="6"/>
                      <a:pt x="3" y="6"/>
                    </a:cubicBezTo>
                    <a:cubicBezTo>
                      <a:pt x="2" y="6"/>
                      <a:pt x="2" y="6"/>
                      <a:pt x="1" y="6"/>
                    </a:cubicBezTo>
                    <a:cubicBezTo>
                      <a:pt x="1" y="7"/>
                      <a:pt x="0" y="7"/>
                      <a:pt x="0" y="7"/>
                    </a:cubicBezTo>
                    <a:cubicBezTo>
                      <a:pt x="0" y="3"/>
                      <a:pt x="0" y="3"/>
                      <a:pt x="0" y="3"/>
                    </a:cubicBezTo>
                    <a:cubicBezTo>
                      <a:pt x="1" y="3"/>
                      <a:pt x="3" y="2"/>
                      <a:pt x="3" y="2"/>
                    </a:cubicBezTo>
                    <a:cubicBezTo>
                      <a:pt x="5" y="2"/>
                      <a:pt x="6" y="1"/>
                      <a:pt x="6" y="0"/>
                    </a:cubicBezTo>
                    <a:lnTo>
                      <a:pt x="9"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147"/>
              <p:cNvSpPr>
                <a:spLocks noEditPoints="1"/>
              </p:cNvSpPr>
              <p:nvPr/>
            </p:nvSpPr>
            <p:spPr bwMode="auto">
              <a:xfrm>
                <a:off x="3517900" y="2762250"/>
                <a:ext cx="31750" cy="4445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7 h 20"/>
                  <a:gd name="T12" fmla="*/ 7 w 14"/>
                  <a:gd name="T13" fmla="*/ 20 h 20"/>
                  <a:gd name="T14" fmla="*/ 7 w 14"/>
                  <a:gd name="T15" fmla="*/ 3 h 20"/>
                  <a:gd name="T16" fmla="*/ 5 w 14"/>
                  <a:gd name="T17" fmla="*/ 10 h 20"/>
                  <a:gd name="T18" fmla="*/ 7 w 14"/>
                  <a:gd name="T19" fmla="*/ 17 h 20"/>
                  <a:gd name="T20" fmla="*/ 10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3"/>
                      <a:pt x="14" y="10"/>
                    </a:cubicBezTo>
                    <a:cubicBezTo>
                      <a:pt x="14" y="13"/>
                      <a:pt x="14" y="15"/>
                      <a:pt x="13" y="17"/>
                    </a:cubicBezTo>
                    <a:cubicBezTo>
                      <a:pt x="12" y="19"/>
                      <a:pt x="10" y="20"/>
                      <a:pt x="7" y="20"/>
                    </a:cubicBezTo>
                    <a:close/>
                    <a:moveTo>
                      <a:pt x="7" y="3"/>
                    </a:moveTo>
                    <a:cubicBezTo>
                      <a:pt x="6" y="3"/>
                      <a:pt x="5" y="6"/>
                      <a:pt x="5" y="10"/>
                    </a:cubicBezTo>
                    <a:cubicBezTo>
                      <a:pt x="5" y="15"/>
                      <a:pt x="6" y="17"/>
                      <a:pt x="7" y="17"/>
                    </a:cubicBezTo>
                    <a:cubicBezTo>
                      <a:pt x="9" y="17"/>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148"/>
              <p:cNvSpPr>
                <a:spLocks/>
              </p:cNvSpPr>
              <p:nvPr/>
            </p:nvSpPr>
            <p:spPr bwMode="auto">
              <a:xfrm>
                <a:off x="3113088" y="2740025"/>
                <a:ext cx="793750" cy="635000"/>
              </a:xfrm>
              <a:custGeom>
                <a:avLst/>
                <a:gdLst>
                  <a:gd name="T0" fmla="*/ 115 w 357"/>
                  <a:gd name="T1" fmla="*/ 0 h 286"/>
                  <a:gd name="T2" fmla="*/ 0 w 357"/>
                  <a:gd name="T3" fmla="*/ 0 h 286"/>
                  <a:gd name="T4" fmla="*/ 0 w 357"/>
                  <a:gd name="T5" fmla="*/ 81 h 286"/>
                  <a:gd name="T6" fmla="*/ 1 w 357"/>
                  <a:gd name="T7" fmla="*/ 84 h 286"/>
                  <a:gd name="T8" fmla="*/ 135 w 357"/>
                  <a:gd name="T9" fmla="*/ 286 h 286"/>
                  <a:gd name="T10" fmla="*/ 222 w 357"/>
                  <a:gd name="T11" fmla="*/ 286 h 286"/>
                  <a:gd name="T12" fmla="*/ 356 w 357"/>
                  <a:gd name="T13" fmla="*/ 84 h 286"/>
                  <a:gd name="T14" fmla="*/ 357 w 357"/>
                  <a:gd name="T15" fmla="*/ 81 h 286"/>
                  <a:gd name="T16" fmla="*/ 357 w 357"/>
                  <a:gd name="T17" fmla="*/ 81 h 286"/>
                  <a:gd name="T18" fmla="*/ 357 w 357"/>
                  <a:gd name="T19" fmla="*/ 0 h 286"/>
                  <a:gd name="T20" fmla="*/ 115 w 357"/>
                  <a:gd name="T21"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7" h="286">
                    <a:moveTo>
                      <a:pt x="115" y="0"/>
                    </a:moveTo>
                    <a:cubicBezTo>
                      <a:pt x="0" y="0"/>
                      <a:pt x="0" y="0"/>
                      <a:pt x="0" y="0"/>
                    </a:cubicBezTo>
                    <a:cubicBezTo>
                      <a:pt x="0" y="81"/>
                      <a:pt x="0" y="81"/>
                      <a:pt x="0" y="81"/>
                    </a:cubicBezTo>
                    <a:cubicBezTo>
                      <a:pt x="1" y="84"/>
                      <a:pt x="1" y="84"/>
                      <a:pt x="1" y="84"/>
                    </a:cubicBezTo>
                    <a:cubicBezTo>
                      <a:pt x="135" y="286"/>
                      <a:pt x="135" y="286"/>
                      <a:pt x="135" y="286"/>
                    </a:cubicBezTo>
                    <a:cubicBezTo>
                      <a:pt x="222" y="286"/>
                      <a:pt x="222" y="286"/>
                      <a:pt x="222" y="286"/>
                    </a:cubicBezTo>
                    <a:cubicBezTo>
                      <a:pt x="356" y="84"/>
                      <a:pt x="356" y="84"/>
                      <a:pt x="356" y="84"/>
                    </a:cubicBezTo>
                    <a:cubicBezTo>
                      <a:pt x="356" y="83"/>
                      <a:pt x="357" y="82"/>
                      <a:pt x="357" y="81"/>
                    </a:cubicBezTo>
                    <a:cubicBezTo>
                      <a:pt x="357" y="81"/>
                      <a:pt x="357" y="81"/>
                      <a:pt x="357" y="81"/>
                    </a:cubicBezTo>
                    <a:cubicBezTo>
                      <a:pt x="357" y="0"/>
                      <a:pt x="357" y="0"/>
                      <a:pt x="357" y="0"/>
                    </a:cubicBezTo>
                    <a:cubicBezTo>
                      <a:pt x="115" y="0"/>
                      <a:pt x="115" y="0"/>
                      <a:pt x="115"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149"/>
              <p:cNvSpPr>
                <a:spLocks/>
              </p:cNvSpPr>
              <p:nvPr/>
            </p:nvSpPr>
            <p:spPr bwMode="auto">
              <a:xfrm>
                <a:off x="3111500" y="2740025"/>
                <a:ext cx="200025" cy="179388"/>
              </a:xfrm>
              <a:custGeom>
                <a:avLst/>
                <a:gdLst>
                  <a:gd name="T0" fmla="*/ 126 w 126"/>
                  <a:gd name="T1" fmla="*/ 0 h 113"/>
                  <a:gd name="T2" fmla="*/ 122 w 126"/>
                  <a:gd name="T3" fmla="*/ 0 h 113"/>
                  <a:gd name="T4" fmla="*/ 0 w 126"/>
                  <a:gd name="T5" fmla="*/ 0 h 113"/>
                  <a:gd name="T6" fmla="*/ 0 w 126"/>
                  <a:gd name="T7" fmla="*/ 113 h 113"/>
                  <a:gd name="T8" fmla="*/ 1 w 126"/>
                  <a:gd name="T9" fmla="*/ 113 h 113"/>
                  <a:gd name="T10" fmla="*/ 1 w 126"/>
                  <a:gd name="T11" fmla="*/ 0 h 113"/>
                  <a:gd name="T12" fmla="*/ 126 w 126"/>
                  <a:gd name="T13" fmla="*/ 0 h 113"/>
                </a:gdLst>
                <a:ahLst/>
                <a:cxnLst>
                  <a:cxn ang="0">
                    <a:pos x="T0" y="T1"/>
                  </a:cxn>
                  <a:cxn ang="0">
                    <a:pos x="T2" y="T3"/>
                  </a:cxn>
                  <a:cxn ang="0">
                    <a:pos x="T4" y="T5"/>
                  </a:cxn>
                  <a:cxn ang="0">
                    <a:pos x="T6" y="T7"/>
                  </a:cxn>
                  <a:cxn ang="0">
                    <a:pos x="T8" y="T9"/>
                  </a:cxn>
                  <a:cxn ang="0">
                    <a:pos x="T10" y="T11"/>
                  </a:cxn>
                  <a:cxn ang="0">
                    <a:pos x="T12" y="T13"/>
                  </a:cxn>
                </a:cxnLst>
                <a:rect l="0" t="0" r="r" b="b"/>
                <a:pathLst>
                  <a:path w="126" h="113">
                    <a:moveTo>
                      <a:pt x="126" y="0"/>
                    </a:moveTo>
                    <a:lnTo>
                      <a:pt x="122" y="0"/>
                    </a:lnTo>
                    <a:lnTo>
                      <a:pt x="0" y="0"/>
                    </a:lnTo>
                    <a:lnTo>
                      <a:pt x="0" y="113"/>
                    </a:lnTo>
                    <a:lnTo>
                      <a:pt x="1" y="113"/>
                    </a:lnTo>
                    <a:lnTo>
                      <a:pt x="1" y="0"/>
                    </a:lnTo>
                    <a:lnTo>
                      <a:pt x="1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150"/>
              <p:cNvSpPr>
                <a:spLocks/>
              </p:cNvSpPr>
              <p:nvPr/>
            </p:nvSpPr>
            <p:spPr bwMode="auto">
              <a:xfrm>
                <a:off x="3111500" y="2740025"/>
                <a:ext cx="200025" cy="179388"/>
              </a:xfrm>
              <a:custGeom>
                <a:avLst/>
                <a:gdLst>
                  <a:gd name="T0" fmla="*/ 126 w 126"/>
                  <a:gd name="T1" fmla="*/ 0 h 113"/>
                  <a:gd name="T2" fmla="*/ 122 w 126"/>
                  <a:gd name="T3" fmla="*/ 0 h 113"/>
                  <a:gd name="T4" fmla="*/ 0 w 126"/>
                  <a:gd name="T5" fmla="*/ 0 h 113"/>
                  <a:gd name="T6" fmla="*/ 0 w 126"/>
                  <a:gd name="T7" fmla="*/ 113 h 113"/>
                  <a:gd name="T8" fmla="*/ 1 w 126"/>
                  <a:gd name="T9" fmla="*/ 113 h 113"/>
                  <a:gd name="T10" fmla="*/ 1 w 126"/>
                  <a:gd name="T11" fmla="*/ 0 h 113"/>
                  <a:gd name="T12" fmla="*/ 126 w 126"/>
                  <a:gd name="T13" fmla="*/ 0 h 113"/>
                </a:gdLst>
                <a:ahLst/>
                <a:cxnLst>
                  <a:cxn ang="0">
                    <a:pos x="T0" y="T1"/>
                  </a:cxn>
                  <a:cxn ang="0">
                    <a:pos x="T2" y="T3"/>
                  </a:cxn>
                  <a:cxn ang="0">
                    <a:pos x="T4" y="T5"/>
                  </a:cxn>
                  <a:cxn ang="0">
                    <a:pos x="T6" y="T7"/>
                  </a:cxn>
                  <a:cxn ang="0">
                    <a:pos x="T8" y="T9"/>
                  </a:cxn>
                  <a:cxn ang="0">
                    <a:pos x="T10" y="T11"/>
                  </a:cxn>
                  <a:cxn ang="0">
                    <a:pos x="T12" y="T13"/>
                  </a:cxn>
                </a:cxnLst>
                <a:rect l="0" t="0" r="r" b="b"/>
                <a:pathLst>
                  <a:path w="126" h="113">
                    <a:moveTo>
                      <a:pt x="126" y="0"/>
                    </a:moveTo>
                    <a:lnTo>
                      <a:pt x="122" y="0"/>
                    </a:lnTo>
                    <a:lnTo>
                      <a:pt x="0" y="0"/>
                    </a:lnTo>
                    <a:lnTo>
                      <a:pt x="0" y="113"/>
                    </a:lnTo>
                    <a:lnTo>
                      <a:pt x="1" y="113"/>
                    </a:lnTo>
                    <a:lnTo>
                      <a:pt x="1" y="0"/>
                    </a:lnTo>
                    <a:lnTo>
                      <a:pt x="1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Rectangle 151"/>
              <p:cNvSpPr>
                <a:spLocks noChangeArrowheads="1"/>
              </p:cNvSpPr>
              <p:nvPr/>
            </p:nvSpPr>
            <p:spPr bwMode="auto">
              <a:xfrm>
                <a:off x="3113088" y="2740025"/>
                <a:ext cx="198438" cy="179388"/>
              </a:xfrm>
              <a:prstGeom prst="rect">
                <a:avLst/>
              </a:prstGeom>
              <a:solidFill>
                <a:srgbClr val="E9E9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Rectangle 152"/>
              <p:cNvSpPr>
                <a:spLocks noChangeArrowheads="1"/>
              </p:cNvSpPr>
              <p:nvPr/>
            </p:nvSpPr>
            <p:spPr bwMode="auto">
              <a:xfrm>
                <a:off x="3113088" y="2740025"/>
                <a:ext cx="198438" cy="179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53"/>
              <p:cNvSpPr>
                <a:spLocks/>
              </p:cNvSpPr>
              <p:nvPr/>
            </p:nvSpPr>
            <p:spPr bwMode="auto">
              <a:xfrm>
                <a:off x="3221038" y="3084513"/>
                <a:ext cx="192088" cy="290513"/>
              </a:xfrm>
              <a:custGeom>
                <a:avLst/>
                <a:gdLst>
                  <a:gd name="T0" fmla="*/ 0 w 121"/>
                  <a:gd name="T1" fmla="*/ 0 h 183"/>
                  <a:gd name="T2" fmla="*/ 120 w 121"/>
                  <a:gd name="T3" fmla="*/ 183 h 183"/>
                  <a:gd name="T4" fmla="*/ 121 w 121"/>
                  <a:gd name="T5" fmla="*/ 183 h 183"/>
                  <a:gd name="T6" fmla="*/ 0 w 121"/>
                  <a:gd name="T7" fmla="*/ 0 h 183"/>
                </a:gdLst>
                <a:ahLst/>
                <a:cxnLst>
                  <a:cxn ang="0">
                    <a:pos x="T0" y="T1"/>
                  </a:cxn>
                  <a:cxn ang="0">
                    <a:pos x="T2" y="T3"/>
                  </a:cxn>
                  <a:cxn ang="0">
                    <a:pos x="T4" y="T5"/>
                  </a:cxn>
                  <a:cxn ang="0">
                    <a:pos x="T6" y="T7"/>
                  </a:cxn>
                </a:cxnLst>
                <a:rect l="0" t="0" r="r" b="b"/>
                <a:pathLst>
                  <a:path w="121" h="183">
                    <a:moveTo>
                      <a:pt x="0" y="0"/>
                    </a:moveTo>
                    <a:lnTo>
                      <a:pt x="120" y="183"/>
                    </a:lnTo>
                    <a:lnTo>
                      <a:pt x="121" y="18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54"/>
              <p:cNvSpPr>
                <a:spLocks/>
              </p:cNvSpPr>
              <p:nvPr/>
            </p:nvSpPr>
            <p:spPr bwMode="auto">
              <a:xfrm>
                <a:off x="3221038" y="3084513"/>
                <a:ext cx="192088" cy="290513"/>
              </a:xfrm>
              <a:custGeom>
                <a:avLst/>
                <a:gdLst>
                  <a:gd name="T0" fmla="*/ 0 w 121"/>
                  <a:gd name="T1" fmla="*/ 0 h 183"/>
                  <a:gd name="T2" fmla="*/ 120 w 121"/>
                  <a:gd name="T3" fmla="*/ 183 h 183"/>
                  <a:gd name="T4" fmla="*/ 121 w 121"/>
                  <a:gd name="T5" fmla="*/ 183 h 183"/>
                  <a:gd name="T6" fmla="*/ 0 w 121"/>
                  <a:gd name="T7" fmla="*/ 0 h 183"/>
                </a:gdLst>
                <a:ahLst/>
                <a:cxnLst>
                  <a:cxn ang="0">
                    <a:pos x="T0" y="T1"/>
                  </a:cxn>
                  <a:cxn ang="0">
                    <a:pos x="T2" y="T3"/>
                  </a:cxn>
                  <a:cxn ang="0">
                    <a:pos x="T4" y="T5"/>
                  </a:cxn>
                  <a:cxn ang="0">
                    <a:pos x="T6" y="T7"/>
                  </a:cxn>
                </a:cxnLst>
                <a:rect l="0" t="0" r="r" b="b"/>
                <a:pathLst>
                  <a:path w="121" h="183">
                    <a:moveTo>
                      <a:pt x="0" y="0"/>
                    </a:moveTo>
                    <a:lnTo>
                      <a:pt x="120" y="183"/>
                    </a:lnTo>
                    <a:lnTo>
                      <a:pt x="121" y="18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55"/>
              <p:cNvSpPr>
                <a:spLocks/>
              </p:cNvSpPr>
              <p:nvPr/>
            </p:nvSpPr>
            <p:spPr bwMode="auto">
              <a:xfrm>
                <a:off x="3113088" y="2919413"/>
                <a:ext cx="358775" cy="455613"/>
              </a:xfrm>
              <a:custGeom>
                <a:avLst/>
                <a:gdLst>
                  <a:gd name="T0" fmla="*/ 125 w 226"/>
                  <a:gd name="T1" fmla="*/ 0 h 287"/>
                  <a:gd name="T2" fmla="*/ 125 w 226"/>
                  <a:gd name="T3" fmla="*/ 0 h 287"/>
                  <a:gd name="T4" fmla="*/ 0 w 226"/>
                  <a:gd name="T5" fmla="*/ 0 h 287"/>
                  <a:gd name="T6" fmla="*/ 68 w 226"/>
                  <a:gd name="T7" fmla="*/ 104 h 287"/>
                  <a:gd name="T8" fmla="*/ 189 w 226"/>
                  <a:gd name="T9" fmla="*/ 287 h 287"/>
                  <a:gd name="T10" fmla="*/ 226 w 226"/>
                  <a:gd name="T11" fmla="*/ 287 h 287"/>
                  <a:gd name="T12" fmla="*/ 125 w 226"/>
                  <a:gd name="T13" fmla="*/ 0 h 287"/>
                </a:gdLst>
                <a:ahLst/>
                <a:cxnLst>
                  <a:cxn ang="0">
                    <a:pos x="T0" y="T1"/>
                  </a:cxn>
                  <a:cxn ang="0">
                    <a:pos x="T2" y="T3"/>
                  </a:cxn>
                  <a:cxn ang="0">
                    <a:pos x="T4" y="T5"/>
                  </a:cxn>
                  <a:cxn ang="0">
                    <a:pos x="T6" y="T7"/>
                  </a:cxn>
                  <a:cxn ang="0">
                    <a:pos x="T8" y="T9"/>
                  </a:cxn>
                  <a:cxn ang="0">
                    <a:pos x="T10" y="T11"/>
                  </a:cxn>
                  <a:cxn ang="0">
                    <a:pos x="T12" y="T13"/>
                  </a:cxn>
                </a:cxnLst>
                <a:rect l="0" t="0" r="r" b="b"/>
                <a:pathLst>
                  <a:path w="226" h="287">
                    <a:moveTo>
                      <a:pt x="125" y="0"/>
                    </a:moveTo>
                    <a:lnTo>
                      <a:pt x="125" y="0"/>
                    </a:lnTo>
                    <a:lnTo>
                      <a:pt x="0" y="0"/>
                    </a:lnTo>
                    <a:lnTo>
                      <a:pt x="68" y="104"/>
                    </a:lnTo>
                    <a:lnTo>
                      <a:pt x="189" y="287"/>
                    </a:lnTo>
                    <a:lnTo>
                      <a:pt x="226" y="287"/>
                    </a:lnTo>
                    <a:lnTo>
                      <a:pt x="125" y="0"/>
                    </a:lnTo>
                    <a:close/>
                  </a:path>
                </a:pathLst>
              </a:custGeom>
              <a:solidFill>
                <a:srgbClr val="E9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56"/>
              <p:cNvSpPr>
                <a:spLocks/>
              </p:cNvSpPr>
              <p:nvPr/>
            </p:nvSpPr>
            <p:spPr bwMode="auto">
              <a:xfrm>
                <a:off x="3113088" y="2919413"/>
                <a:ext cx="358775" cy="455613"/>
              </a:xfrm>
              <a:custGeom>
                <a:avLst/>
                <a:gdLst>
                  <a:gd name="T0" fmla="*/ 125 w 226"/>
                  <a:gd name="T1" fmla="*/ 0 h 287"/>
                  <a:gd name="T2" fmla="*/ 125 w 226"/>
                  <a:gd name="T3" fmla="*/ 0 h 287"/>
                  <a:gd name="T4" fmla="*/ 0 w 226"/>
                  <a:gd name="T5" fmla="*/ 0 h 287"/>
                  <a:gd name="T6" fmla="*/ 68 w 226"/>
                  <a:gd name="T7" fmla="*/ 104 h 287"/>
                  <a:gd name="T8" fmla="*/ 189 w 226"/>
                  <a:gd name="T9" fmla="*/ 287 h 287"/>
                  <a:gd name="T10" fmla="*/ 226 w 226"/>
                  <a:gd name="T11" fmla="*/ 287 h 287"/>
                  <a:gd name="T12" fmla="*/ 125 w 226"/>
                  <a:gd name="T13" fmla="*/ 0 h 287"/>
                </a:gdLst>
                <a:ahLst/>
                <a:cxnLst>
                  <a:cxn ang="0">
                    <a:pos x="T0" y="T1"/>
                  </a:cxn>
                  <a:cxn ang="0">
                    <a:pos x="T2" y="T3"/>
                  </a:cxn>
                  <a:cxn ang="0">
                    <a:pos x="T4" y="T5"/>
                  </a:cxn>
                  <a:cxn ang="0">
                    <a:pos x="T6" y="T7"/>
                  </a:cxn>
                  <a:cxn ang="0">
                    <a:pos x="T8" y="T9"/>
                  </a:cxn>
                  <a:cxn ang="0">
                    <a:pos x="T10" y="T11"/>
                  </a:cxn>
                  <a:cxn ang="0">
                    <a:pos x="T12" y="T13"/>
                  </a:cxn>
                </a:cxnLst>
                <a:rect l="0" t="0" r="r" b="b"/>
                <a:pathLst>
                  <a:path w="226" h="287">
                    <a:moveTo>
                      <a:pt x="125" y="0"/>
                    </a:moveTo>
                    <a:lnTo>
                      <a:pt x="125" y="0"/>
                    </a:lnTo>
                    <a:lnTo>
                      <a:pt x="0" y="0"/>
                    </a:lnTo>
                    <a:lnTo>
                      <a:pt x="68" y="104"/>
                    </a:lnTo>
                    <a:lnTo>
                      <a:pt x="189" y="287"/>
                    </a:lnTo>
                    <a:lnTo>
                      <a:pt x="226" y="287"/>
                    </a:lnTo>
                    <a:lnTo>
                      <a:pt x="1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57"/>
              <p:cNvSpPr>
                <a:spLocks/>
              </p:cNvSpPr>
              <p:nvPr/>
            </p:nvSpPr>
            <p:spPr bwMode="auto">
              <a:xfrm>
                <a:off x="3905250" y="2919413"/>
                <a:ext cx="4763" cy="6350"/>
              </a:xfrm>
              <a:custGeom>
                <a:avLst/>
                <a:gdLst>
                  <a:gd name="T0" fmla="*/ 0 w 2"/>
                  <a:gd name="T1" fmla="*/ 3 h 3"/>
                  <a:gd name="T2" fmla="*/ 2 w 2"/>
                  <a:gd name="T3" fmla="*/ 0 h 3"/>
                  <a:gd name="T4" fmla="*/ 1 w 2"/>
                  <a:gd name="T5" fmla="*/ 0 h 3"/>
                  <a:gd name="T6" fmla="*/ 1 w 2"/>
                  <a:gd name="T7" fmla="*/ 0 h 3"/>
                  <a:gd name="T8" fmla="*/ 0 w 2"/>
                  <a:gd name="T9" fmla="*/ 3 h 3"/>
                </a:gdLst>
                <a:ahLst/>
                <a:cxnLst>
                  <a:cxn ang="0">
                    <a:pos x="T0" y="T1"/>
                  </a:cxn>
                  <a:cxn ang="0">
                    <a:pos x="T2" y="T3"/>
                  </a:cxn>
                  <a:cxn ang="0">
                    <a:pos x="T4" y="T5"/>
                  </a:cxn>
                  <a:cxn ang="0">
                    <a:pos x="T6" y="T7"/>
                  </a:cxn>
                  <a:cxn ang="0">
                    <a:pos x="T8" y="T9"/>
                  </a:cxn>
                </a:cxnLst>
                <a:rect l="0" t="0" r="r" b="b"/>
                <a:pathLst>
                  <a:path w="2" h="3">
                    <a:moveTo>
                      <a:pt x="0" y="3"/>
                    </a:moveTo>
                    <a:cubicBezTo>
                      <a:pt x="2" y="0"/>
                      <a:pt x="2" y="0"/>
                      <a:pt x="2" y="0"/>
                    </a:cubicBezTo>
                    <a:cubicBezTo>
                      <a:pt x="1" y="0"/>
                      <a:pt x="1" y="0"/>
                      <a:pt x="1" y="0"/>
                    </a:cubicBezTo>
                    <a:cubicBezTo>
                      <a:pt x="1" y="0"/>
                      <a:pt x="1" y="0"/>
                      <a:pt x="1" y="0"/>
                    </a:cubicBezTo>
                    <a:cubicBezTo>
                      <a:pt x="1" y="1"/>
                      <a:pt x="0" y="2"/>
                      <a:pt x="0"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58"/>
              <p:cNvSpPr>
                <a:spLocks/>
              </p:cNvSpPr>
              <p:nvPr/>
            </p:nvSpPr>
            <p:spPr bwMode="auto">
              <a:xfrm>
                <a:off x="3100388" y="2730500"/>
                <a:ext cx="822325" cy="17463"/>
              </a:xfrm>
              <a:custGeom>
                <a:avLst/>
                <a:gdLst>
                  <a:gd name="T0" fmla="*/ 366 w 370"/>
                  <a:gd name="T1" fmla="*/ 0 h 8"/>
                  <a:gd name="T2" fmla="*/ 365 w 370"/>
                  <a:gd name="T3" fmla="*/ 0 h 8"/>
                  <a:gd name="T4" fmla="*/ 4 w 370"/>
                  <a:gd name="T5" fmla="*/ 0 h 8"/>
                  <a:gd name="T6" fmla="*/ 3 w 370"/>
                  <a:gd name="T7" fmla="*/ 0 h 8"/>
                  <a:gd name="T8" fmla="*/ 0 w 370"/>
                  <a:gd name="T9" fmla="*/ 4 h 8"/>
                  <a:gd name="T10" fmla="*/ 3 w 370"/>
                  <a:gd name="T11" fmla="*/ 8 h 8"/>
                  <a:gd name="T12" fmla="*/ 4 w 370"/>
                  <a:gd name="T13" fmla="*/ 8 h 8"/>
                  <a:gd name="T14" fmla="*/ 365 w 370"/>
                  <a:gd name="T15" fmla="*/ 8 h 8"/>
                  <a:gd name="T16" fmla="*/ 366 w 370"/>
                  <a:gd name="T17" fmla="*/ 8 h 8"/>
                  <a:gd name="T18" fmla="*/ 370 w 370"/>
                  <a:gd name="T19" fmla="*/ 4 h 8"/>
                  <a:gd name="T20" fmla="*/ 366 w 370"/>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0" h="8">
                    <a:moveTo>
                      <a:pt x="366" y="0"/>
                    </a:moveTo>
                    <a:cubicBezTo>
                      <a:pt x="365" y="0"/>
                      <a:pt x="365" y="0"/>
                      <a:pt x="365" y="0"/>
                    </a:cubicBezTo>
                    <a:cubicBezTo>
                      <a:pt x="4" y="0"/>
                      <a:pt x="4" y="0"/>
                      <a:pt x="4" y="0"/>
                    </a:cubicBezTo>
                    <a:cubicBezTo>
                      <a:pt x="3" y="0"/>
                      <a:pt x="3" y="0"/>
                      <a:pt x="3" y="0"/>
                    </a:cubicBezTo>
                    <a:cubicBezTo>
                      <a:pt x="1" y="0"/>
                      <a:pt x="0" y="2"/>
                      <a:pt x="0" y="4"/>
                    </a:cubicBezTo>
                    <a:cubicBezTo>
                      <a:pt x="0" y="6"/>
                      <a:pt x="1" y="8"/>
                      <a:pt x="3" y="8"/>
                    </a:cubicBezTo>
                    <a:cubicBezTo>
                      <a:pt x="4" y="8"/>
                      <a:pt x="4" y="8"/>
                      <a:pt x="4" y="8"/>
                    </a:cubicBezTo>
                    <a:cubicBezTo>
                      <a:pt x="365" y="8"/>
                      <a:pt x="365" y="8"/>
                      <a:pt x="365" y="8"/>
                    </a:cubicBezTo>
                    <a:cubicBezTo>
                      <a:pt x="366" y="8"/>
                      <a:pt x="366" y="8"/>
                      <a:pt x="366" y="8"/>
                    </a:cubicBezTo>
                    <a:cubicBezTo>
                      <a:pt x="368" y="8"/>
                      <a:pt x="370" y="6"/>
                      <a:pt x="370" y="4"/>
                    </a:cubicBezTo>
                    <a:cubicBezTo>
                      <a:pt x="370" y="2"/>
                      <a:pt x="368" y="0"/>
                      <a:pt x="36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Rectangle 159"/>
              <p:cNvSpPr>
                <a:spLocks noChangeArrowheads="1"/>
              </p:cNvSpPr>
              <p:nvPr/>
            </p:nvSpPr>
            <p:spPr bwMode="auto">
              <a:xfrm>
                <a:off x="3298825" y="2924175"/>
                <a:ext cx="415925" cy="149225"/>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160"/>
              <p:cNvSpPr>
                <a:spLocks/>
              </p:cNvSpPr>
              <p:nvPr/>
            </p:nvSpPr>
            <p:spPr bwMode="auto">
              <a:xfrm>
                <a:off x="3313113" y="2941638"/>
                <a:ext cx="385763" cy="115888"/>
              </a:xfrm>
              <a:custGeom>
                <a:avLst/>
                <a:gdLst>
                  <a:gd name="T0" fmla="*/ 173 w 173"/>
                  <a:gd name="T1" fmla="*/ 0 h 52"/>
                  <a:gd name="T2" fmla="*/ 137 w 173"/>
                  <a:gd name="T3" fmla="*/ 0 h 52"/>
                  <a:gd name="T4" fmla="*/ 137 w 173"/>
                  <a:gd name="T5" fmla="*/ 22 h 52"/>
                  <a:gd name="T6" fmla="*/ 137 w 173"/>
                  <a:gd name="T7" fmla="*/ 24 h 52"/>
                  <a:gd name="T8" fmla="*/ 136 w 173"/>
                  <a:gd name="T9" fmla="*/ 26 h 52"/>
                  <a:gd name="T10" fmla="*/ 131 w 173"/>
                  <a:gd name="T11" fmla="*/ 28 h 52"/>
                  <a:gd name="T12" fmla="*/ 116 w 173"/>
                  <a:gd name="T13" fmla="*/ 31 h 52"/>
                  <a:gd name="T14" fmla="*/ 108 w 173"/>
                  <a:gd name="T15" fmla="*/ 30 h 52"/>
                  <a:gd name="T16" fmla="*/ 101 w 173"/>
                  <a:gd name="T17" fmla="*/ 28 h 52"/>
                  <a:gd name="T18" fmla="*/ 96 w 173"/>
                  <a:gd name="T19" fmla="*/ 26 h 52"/>
                  <a:gd name="T20" fmla="*/ 95 w 173"/>
                  <a:gd name="T21" fmla="*/ 24 h 52"/>
                  <a:gd name="T22" fmla="*/ 95 w 173"/>
                  <a:gd name="T23" fmla="*/ 22 h 52"/>
                  <a:gd name="T24" fmla="*/ 95 w 173"/>
                  <a:gd name="T25" fmla="*/ 0 h 52"/>
                  <a:gd name="T26" fmla="*/ 0 w 173"/>
                  <a:gd name="T27" fmla="*/ 0 h 52"/>
                  <a:gd name="T28" fmla="*/ 0 w 173"/>
                  <a:gd name="T29" fmla="*/ 52 h 52"/>
                  <a:gd name="T30" fmla="*/ 22 w 173"/>
                  <a:gd name="T31" fmla="*/ 52 h 52"/>
                  <a:gd name="T32" fmla="*/ 22 w 173"/>
                  <a:gd name="T33" fmla="*/ 23 h 52"/>
                  <a:gd name="T34" fmla="*/ 37 w 173"/>
                  <a:gd name="T35" fmla="*/ 8 h 52"/>
                  <a:gd name="T36" fmla="*/ 65 w 173"/>
                  <a:gd name="T37" fmla="*/ 8 h 52"/>
                  <a:gd name="T38" fmla="*/ 67 w 173"/>
                  <a:gd name="T39" fmla="*/ 9 h 52"/>
                  <a:gd name="T40" fmla="*/ 68 w 173"/>
                  <a:gd name="T41" fmla="*/ 10 h 52"/>
                  <a:gd name="T42" fmla="*/ 69 w 173"/>
                  <a:gd name="T43" fmla="*/ 11 h 52"/>
                  <a:gd name="T44" fmla="*/ 70 w 173"/>
                  <a:gd name="T45" fmla="*/ 13 h 52"/>
                  <a:gd name="T46" fmla="*/ 70 w 173"/>
                  <a:gd name="T47" fmla="*/ 52 h 52"/>
                  <a:gd name="T48" fmla="*/ 173 w 173"/>
                  <a:gd name="T49" fmla="*/ 52 h 52"/>
                  <a:gd name="T50" fmla="*/ 173 w 173"/>
                  <a:gd name="T5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52">
                    <a:moveTo>
                      <a:pt x="173" y="0"/>
                    </a:moveTo>
                    <a:cubicBezTo>
                      <a:pt x="137" y="0"/>
                      <a:pt x="137" y="0"/>
                      <a:pt x="137" y="0"/>
                    </a:cubicBezTo>
                    <a:cubicBezTo>
                      <a:pt x="137" y="22"/>
                      <a:pt x="137" y="22"/>
                      <a:pt x="137" y="22"/>
                    </a:cubicBezTo>
                    <a:cubicBezTo>
                      <a:pt x="137" y="23"/>
                      <a:pt x="137" y="24"/>
                      <a:pt x="137" y="24"/>
                    </a:cubicBezTo>
                    <a:cubicBezTo>
                      <a:pt x="136" y="25"/>
                      <a:pt x="136" y="25"/>
                      <a:pt x="136" y="26"/>
                    </a:cubicBezTo>
                    <a:cubicBezTo>
                      <a:pt x="134" y="27"/>
                      <a:pt x="133" y="28"/>
                      <a:pt x="131" y="28"/>
                    </a:cubicBezTo>
                    <a:cubicBezTo>
                      <a:pt x="127" y="30"/>
                      <a:pt x="122" y="31"/>
                      <a:pt x="116" y="31"/>
                    </a:cubicBezTo>
                    <a:cubicBezTo>
                      <a:pt x="113" y="31"/>
                      <a:pt x="110" y="31"/>
                      <a:pt x="108" y="30"/>
                    </a:cubicBezTo>
                    <a:cubicBezTo>
                      <a:pt x="101" y="28"/>
                      <a:pt x="101" y="28"/>
                      <a:pt x="101" y="28"/>
                    </a:cubicBezTo>
                    <a:cubicBezTo>
                      <a:pt x="96" y="26"/>
                      <a:pt x="96" y="26"/>
                      <a:pt x="96" y="26"/>
                    </a:cubicBezTo>
                    <a:cubicBezTo>
                      <a:pt x="95" y="24"/>
                      <a:pt x="95" y="24"/>
                      <a:pt x="95" y="24"/>
                    </a:cubicBezTo>
                    <a:cubicBezTo>
                      <a:pt x="95" y="22"/>
                      <a:pt x="95" y="22"/>
                      <a:pt x="95" y="22"/>
                    </a:cubicBezTo>
                    <a:cubicBezTo>
                      <a:pt x="95" y="0"/>
                      <a:pt x="95" y="0"/>
                      <a:pt x="95" y="0"/>
                    </a:cubicBezTo>
                    <a:cubicBezTo>
                      <a:pt x="0" y="0"/>
                      <a:pt x="0" y="0"/>
                      <a:pt x="0" y="0"/>
                    </a:cubicBezTo>
                    <a:cubicBezTo>
                      <a:pt x="0" y="52"/>
                      <a:pt x="0" y="52"/>
                      <a:pt x="0" y="52"/>
                    </a:cubicBezTo>
                    <a:cubicBezTo>
                      <a:pt x="22" y="52"/>
                      <a:pt x="22" y="52"/>
                      <a:pt x="22" y="52"/>
                    </a:cubicBezTo>
                    <a:cubicBezTo>
                      <a:pt x="22" y="23"/>
                      <a:pt x="22" y="23"/>
                      <a:pt x="22" y="23"/>
                    </a:cubicBezTo>
                    <a:cubicBezTo>
                      <a:pt x="37" y="8"/>
                      <a:pt x="37" y="8"/>
                      <a:pt x="37" y="8"/>
                    </a:cubicBezTo>
                    <a:cubicBezTo>
                      <a:pt x="65" y="8"/>
                      <a:pt x="65" y="8"/>
                      <a:pt x="65" y="8"/>
                    </a:cubicBezTo>
                    <a:cubicBezTo>
                      <a:pt x="67" y="9"/>
                      <a:pt x="67" y="9"/>
                      <a:pt x="67" y="9"/>
                    </a:cubicBezTo>
                    <a:cubicBezTo>
                      <a:pt x="68" y="10"/>
                      <a:pt x="68" y="10"/>
                      <a:pt x="68" y="10"/>
                    </a:cubicBezTo>
                    <a:cubicBezTo>
                      <a:pt x="69" y="11"/>
                      <a:pt x="69" y="11"/>
                      <a:pt x="69" y="11"/>
                    </a:cubicBezTo>
                    <a:cubicBezTo>
                      <a:pt x="70" y="13"/>
                      <a:pt x="70" y="13"/>
                      <a:pt x="70" y="13"/>
                    </a:cubicBezTo>
                    <a:cubicBezTo>
                      <a:pt x="70" y="52"/>
                      <a:pt x="70" y="52"/>
                      <a:pt x="70" y="52"/>
                    </a:cubicBezTo>
                    <a:cubicBezTo>
                      <a:pt x="173" y="52"/>
                      <a:pt x="173" y="52"/>
                      <a:pt x="173" y="52"/>
                    </a:cubicBezTo>
                    <a:lnTo>
                      <a:pt x="173"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161"/>
              <p:cNvSpPr>
                <a:spLocks noEditPoints="1"/>
              </p:cNvSpPr>
              <p:nvPr/>
            </p:nvSpPr>
            <p:spPr bwMode="auto">
              <a:xfrm>
                <a:off x="3371850" y="2968625"/>
                <a:ext cx="88900" cy="88900"/>
              </a:xfrm>
              <a:custGeom>
                <a:avLst/>
                <a:gdLst>
                  <a:gd name="T0" fmla="*/ 7 w 56"/>
                  <a:gd name="T1" fmla="*/ 55 h 56"/>
                  <a:gd name="T2" fmla="*/ 8 w 56"/>
                  <a:gd name="T3" fmla="*/ 52 h 56"/>
                  <a:gd name="T4" fmla="*/ 46 w 56"/>
                  <a:gd name="T5" fmla="*/ 52 h 56"/>
                  <a:gd name="T6" fmla="*/ 47 w 56"/>
                  <a:gd name="T7" fmla="*/ 52 h 56"/>
                  <a:gd name="T8" fmla="*/ 49 w 56"/>
                  <a:gd name="T9" fmla="*/ 55 h 56"/>
                  <a:gd name="T10" fmla="*/ 47 w 56"/>
                  <a:gd name="T11" fmla="*/ 56 h 56"/>
                  <a:gd name="T12" fmla="*/ 56 w 56"/>
                  <a:gd name="T13" fmla="*/ 4 h 56"/>
                  <a:gd name="T14" fmla="*/ 54 w 56"/>
                  <a:gd name="T15" fmla="*/ 1 h 56"/>
                  <a:gd name="T16" fmla="*/ 52 w 56"/>
                  <a:gd name="T17" fmla="*/ 0 h 56"/>
                  <a:gd name="T18" fmla="*/ 18 w 56"/>
                  <a:gd name="T19" fmla="*/ 13 h 56"/>
                  <a:gd name="T20" fmla="*/ 17 w 56"/>
                  <a:gd name="T21" fmla="*/ 17 h 56"/>
                  <a:gd name="T22" fmla="*/ 12 w 56"/>
                  <a:gd name="T23" fmla="*/ 18 h 56"/>
                  <a:gd name="T24" fmla="*/ 0 w 56"/>
                  <a:gd name="T25" fmla="*/ 56 h 56"/>
                  <a:gd name="T26" fmla="*/ 7 w 56"/>
                  <a:gd name="T27" fmla="*/ 56 h 56"/>
                  <a:gd name="T28" fmla="*/ 24 w 56"/>
                  <a:gd name="T29" fmla="*/ 18 h 56"/>
                  <a:gd name="T30" fmla="*/ 26 w 56"/>
                  <a:gd name="T31" fmla="*/ 17 h 56"/>
                  <a:gd name="T32" fmla="*/ 47 w 56"/>
                  <a:gd name="T33" fmla="*/ 17 h 56"/>
                  <a:gd name="T34" fmla="*/ 49 w 56"/>
                  <a:gd name="T35" fmla="*/ 18 h 56"/>
                  <a:gd name="T36" fmla="*/ 49 w 56"/>
                  <a:gd name="T37" fmla="*/ 21 h 56"/>
                  <a:gd name="T38" fmla="*/ 47 w 56"/>
                  <a:gd name="T39" fmla="*/ 22 h 56"/>
                  <a:gd name="T40" fmla="*/ 26 w 56"/>
                  <a:gd name="T41" fmla="*/ 22 h 56"/>
                  <a:gd name="T42" fmla="*/ 24 w 56"/>
                  <a:gd name="T43" fmla="*/ 22 h 56"/>
                  <a:gd name="T44" fmla="*/ 24 w 56"/>
                  <a:gd name="T45" fmla="*/ 20 h 56"/>
                  <a:gd name="T46" fmla="*/ 8 w 56"/>
                  <a:gd name="T47" fmla="*/ 29 h 56"/>
                  <a:gd name="T48" fmla="*/ 46 w 56"/>
                  <a:gd name="T49" fmla="*/ 28 h 56"/>
                  <a:gd name="T50" fmla="*/ 47 w 56"/>
                  <a:gd name="T51" fmla="*/ 29 h 56"/>
                  <a:gd name="T52" fmla="*/ 49 w 56"/>
                  <a:gd name="T53" fmla="*/ 32 h 56"/>
                  <a:gd name="T54" fmla="*/ 47 w 56"/>
                  <a:gd name="T55" fmla="*/ 34 h 56"/>
                  <a:gd name="T56" fmla="*/ 10 w 56"/>
                  <a:gd name="T57" fmla="*/ 34 h 56"/>
                  <a:gd name="T58" fmla="*/ 8 w 56"/>
                  <a:gd name="T59" fmla="*/ 34 h 56"/>
                  <a:gd name="T60" fmla="*/ 8 w 56"/>
                  <a:gd name="T61" fmla="*/ 29 h 56"/>
                  <a:gd name="T62" fmla="*/ 8 w 56"/>
                  <a:gd name="T63" fmla="*/ 41 h 56"/>
                  <a:gd name="T64" fmla="*/ 46 w 56"/>
                  <a:gd name="T65" fmla="*/ 41 h 56"/>
                  <a:gd name="T66" fmla="*/ 47 w 56"/>
                  <a:gd name="T67" fmla="*/ 41 h 56"/>
                  <a:gd name="T68" fmla="*/ 49 w 56"/>
                  <a:gd name="T69" fmla="*/ 43 h 56"/>
                  <a:gd name="T70" fmla="*/ 47 w 56"/>
                  <a:gd name="T71" fmla="*/ 45 h 56"/>
                  <a:gd name="T72" fmla="*/ 10 w 56"/>
                  <a:gd name="T73" fmla="*/ 46 h 56"/>
                  <a:gd name="T74" fmla="*/ 8 w 56"/>
                  <a:gd name="T75" fmla="*/ 45 h 56"/>
                  <a:gd name="T76" fmla="*/ 8 w 56"/>
                  <a:gd name="T77" fmla="*/ 4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 h="56">
                    <a:moveTo>
                      <a:pt x="7" y="56"/>
                    </a:moveTo>
                    <a:lnTo>
                      <a:pt x="7" y="55"/>
                    </a:lnTo>
                    <a:lnTo>
                      <a:pt x="8" y="52"/>
                    </a:lnTo>
                    <a:lnTo>
                      <a:pt x="8" y="52"/>
                    </a:lnTo>
                    <a:lnTo>
                      <a:pt x="10" y="52"/>
                    </a:lnTo>
                    <a:lnTo>
                      <a:pt x="46" y="52"/>
                    </a:lnTo>
                    <a:lnTo>
                      <a:pt x="47" y="52"/>
                    </a:lnTo>
                    <a:lnTo>
                      <a:pt x="47" y="52"/>
                    </a:lnTo>
                    <a:lnTo>
                      <a:pt x="49" y="53"/>
                    </a:lnTo>
                    <a:lnTo>
                      <a:pt x="49" y="55"/>
                    </a:lnTo>
                    <a:lnTo>
                      <a:pt x="49" y="56"/>
                    </a:lnTo>
                    <a:lnTo>
                      <a:pt x="47" y="56"/>
                    </a:lnTo>
                    <a:lnTo>
                      <a:pt x="56" y="56"/>
                    </a:lnTo>
                    <a:lnTo>
                      <a:pt x="56" y="4"/>
                    </a:lnTo>
                    <a:lnTo>
                      <a:pt x="56" y="3"/>
                    </a:lnTo>
                    <a:lnTo>
                      <a:pt x="54" y="1"/>
                    </a:lnTo>
                    <a:lnTo>
                      <a:pt x="53" y="0"/>
                    </a:lnTo>
                    <a:lnTo>
                      <a:pt x="52" y="0"/>
                    </a:lnTo>
                    <a:lnTo>
                      <a:pt x="18" y="0"/>
                    </a:lnTo>
                    <a:lnTo>
                      <a:pt x="18" y="13"/>
                    </a:lnTo>
                    <a:lnTo>
                      <a:pt x="18" y="15"/>
                    </a:lnTo>
                    <a:lnTo>
                      <a:pt x="17" y="17"/>
                    </a:lnTo>
                    <a:lnTo>
                      <a:pt x="14" y="18"/>
                    </a:lnTo>
                    <a:lnTo>
                      <a:pt x="12" y="18"/>
                    </a:lnTo>
                    <a:lnTo>
                      <a:pt x="0" y="18"/>
                    </a:lnTo>
                    <a:lnTo>
                      <a:pt x="0" y="56"/>
                    </a:lnTo>
                    <a:lnTo>
                      <a:pt x="7" y="56"/>
                    </a:lnTo>
                    <a:lnTo>
                      <a:pt x="7" y="56"/>
                    </a:lnTo>
                    <a:close/>
                    <a:moveTo>
                      <a:pt x="24" y="20"/>
                    </a:moveTo>
                    <a:lnTo>
                      <a:pt x="24" y="18"/>
                    </a:lnTo>
                    <a:lnTo>
                      <a:pt x="24" y="18"/>
                    </a:lnTo>
                    <a:lnTo>
                      <a:pt x="26" y="17"/>
                    </a:lnTo>
                    <a:lnTo>
                      <a:pt x="46" y="17"/>
                    </a:lnTo>
                    <a:lnTo>
                      <a:pt x="47" y="17"/>
                    </a:lnTo>
                    <a:lnTo>
                      <a:pt x="47" y="18"/>
                    </a:lnTo>
                    <a:lnTo>
                      <a:pt x="49" y="18"/>
                    </a:lnTo>
                    <a:lnTo>
                      <a:pt x="49" y="20"/>
                    </a:lnTo>
                    <a:lnTo>
                      <a:pt x="49" y="21"/>
                    </a:lnTo>
                    <a:lnTo>
                      <a:pt x="47" y="22"/>
                    </a:lnTo>
                    <a:lnTo>
                      <a:pt x="47" y="22"/>
                    </a:lnTo>
                    <a:lnTo>
                      <a:pt x="46" y="22"/>
                    </a:lnTo>
                    <a:lnTo>
                      <a:pt x="26" y="22"/>
                    </a:lnTo>
                    <a:lnTo>
                      <a:pt x="25" y="22"/>
                    </a:lnTo>
                    <a:lnTo>
                      <a:pt x="24" y="22"/>
                    </a:lnTo>
                    <a:lnTo>
                      <a:pt x="24" y="21"/>
                    </a:lnTo>
                    <a:lnTo>
                      <a:pt x="24" y="20"/>
                    </a:lnTo>
                    <a:close/>
                    <a:moveTo>
                      <a:pt x="8" y="29"/>
                    </a:moveTo>
                    <a:lnTo>
                      <a:pt x="8" y="29"/>
                    </a:lnTo>
                    <a:lnTo>
                      <a:pt x="10" y="28"/>
                    </a:lnTo>
                    <a:lnTo>
                      <a:pt x="46" y="28"/>
                    </a:lnTo>
                    <a:lnTo>
                      <a:pt x="47" y="29"/>
                    </a:lnTo>
                    <a:lnTo>
                      <a:pt x="47" y="29"/>
                    </a:lnTo>
                    <a:lnTo>
                      <a:pt x="49" y="31"/>
                    </a:lnTo>
                    <a:lnTo>
                      <a:pt x="49" y="32"/>
                    </a:lnTo>
                    <a:lnTo>
                      <a:pt x="47" y="34"/>
                    </a:lnTo>
                    <a:lnTo>
                      <a:pt x="47" y="34"/>
                    </a:lnTo>
                    <a:lnTo>
                      <a:pt x="46" y="34"/>
                    </a:lnTo>
                    <a:lnTo>
                      <a:pt x="10" y="34"/>
                    </a:lnTo>
                    <a:lnTo>
                      <a:pt x="8" y="34"/>
                    </a:lnTo>
                    <a:lnTo>
                      <a:pt x="8" y="34"/>
                    </a:lnTo>
                    <a:lnTo>
                      <a:pt x="7" y="31"/>
                    </a:lnTo>
                    <a:lnTo>
                      <a:pt x="8" y="29"/>
                    </a:lnTo>
                    <a:close/>
                    <a:moveTo>
                      <a:pt x="8" y="41"/>
                    </a:moveTo>
                    <a:lnTo>
                      <a:pt x="8" y="41"/>
                    </a:lnTo>
                    <a:lnTo>
                      <a:pt x="10" y="41"/>
                    </a:lnTo>
                    <a:lnTo>
                      <a:pt x="46" y="41"/>
                    </a:lnTo>
                    <a:lnTo>
                      <a:pt x="47" y="41"/>
                    </a:lnTo>
                    <a:lnTo>
                      <a:pt x="47" y="41"/>
                    </a:lnTo>
                    <a:lnTo>
                      <a:pt x="49" y="42"/>
                    </a:lnTo>
                    <a:lnTo>
                      <a:pt x="49" y="43"/>
                    </a:lnTo>
                    <a:lnTo>
                      <a:pt x="47" y="45"/>
                    </a:lnTo>
                    <a:lnTo>
                      <a:pt x="47" y="45"/>
                    </a:lnTo>
                    <a:lnTo>
                      <a:pt x="46" y="46"/>
                    </a:lnTo>
                    <a:lnTo>
                      <a:pt x="10" y="46"/>
                    </a:lnTo>
                    <a:lnTo>
                      <a:pt x="8" y="45"/>
                    </a:lnTo>
                    <a:lnTo>
                      <a:pt x="8" y="45"/>
                    </a:lnTo>
                    <a:lnTo>
                      <a:pt x="7" y="43"/>
                    </a:lnTo>
                    <a:lnTo>
                      <a:pt x="8" y="41"/>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162"/>
              <p:cNvSpPr>
                <a:spLocks/>
              </p:cNvSpPr>
              <p:nvPr/>
            </p:nvSpPr>
            <p:spPr bwMode="auto">
              <a:xfrm>
                <a:off x="3525838" y="2941638"/>
                <a:ext cx="92075" cy="69850"/>
              </a:xfrm>
              <a:custGeom>
                <a:avLst/>
                <a:gdLst>
                  <a:gd name="T0" fmla="*/ 0 w 42"/>
                  <a:gd name="T1" fmla="*/ 24 h 31"/>
                  <a:gd name="T2" fmla="*/ 1 w 42"/>
                  <a:gd name="T3" fmla="*/ 26 h 31"/>
                  <a:gd name="T4" fmla="*/ 6 w 42"/>
                  <a:gd name="T5" fmla="*/ 28 h 31"/>
                  <a:gd name="T6" fmla="*/ 13 w 42"/>
                  <a:gd name="T7" fmla="*/ 30 h 31"/>
                  <a:gd name="T8" fmla="*/ 21 w 42"/>
                  <a:gd name="T9" fmla="*/ 31 h 31"/>
                  <a:gd name="T10" fmla="*/ 36 w 42"/>
                  <a:gd name="T11" fmla="*/ 28 h 31"/>
                  <a:gd name="T12" fmla="*/ 41 w 42"/>
                  <a:gd name="T13" fmla="*/ 26 h 31"/>
                  <a:gd name="T14" fmla="*/ 42 w 42"/>
                  <a:gd name="T15" fmla="*/ 24 h 31"/>
                  <a:gd name="T16" fmla="*/ 42 w 42"/>
                  <a:gd name="T17" fmla="*/ 22 h 31"/>
                  <a:gd name="T18" fmla="*/ 42 w 42"/>
                  <a:gd name="T19" fmla="*/ 0 h 31"/>
                  <a:gd name="T20" fmla="*/ 0 w 42"/>
                  <a:gd name="T21" fmla="*/ 0 h 31"/>
                  <a:gd name="T22" fmla="*/ 0 w 42"/>
                  <a:gd name="T23" fmla="*/ 22 h 31"/>
                  <a:gd name="T24" fmla="*/ 0 w 42"/>
                  <a:gd name="T25" fmla="*/ 2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31">
                    <a:moveTo>
                      <a:pt x="0" y="24"/>
                    </a:moveTo>
                    <a:cubicBezTo>
                      <a:pt x="1" y="26"/>
                      <a:pt x="1" y="26"/>
                      <a:pt x="1" y="26"/>
                    </a:cubicBezTo>
                    <a:cubicBezTo>
                      <a:pt x="6" y="28"/>
                      <a:pt x="6" y="28"/>
                      <a:pt x="6" y="28"/>
                    </a:cubicBezTo>
                    <a:cubicBezTo>
                      <a:pt x="13" y="30"/>
                      <a:pt x="13" y="30"/>
                      <a:pt x="13" y="30"/>
                    </a:cubicBezTo>
                    <a:cubicBezTo>
                      <a:pt x="15" y="31"/>
                      <a:pt x="18" y="31"/>
                      <a:pt x="21" y="31"/>
                    </a:cubicBezTo>
                    <a:cubicBezTo>
                      <a:pt x="27" y="31"/>
                      <a:pt x="32" y="30"/>
                      <a:pt x="36" y="28"/>
                    </a:cubicBezTo>
                    <a:cubicBezTo>
                      <a:pt x="38" y="28"/>
                      <a:pt x="39" y="27"/>
                      <a:pt x="41" y="26"/>
                    </a:cubicBezTo>
                    <a:cubicBezTo>
                      <a:pt x="41" y="25"/>
                      <a:pt x="41" y="25"/>
                      <a:pt x="42" y="24"/>
                    </a:cubicBezTo>
                    <a:cubicBezTo>
                      <a:pt x="42" y="24"/>
                      <a:pt x="42" y="23"/>
                      <a:pt x="42" y="22"/>
                    </a:cubicBezTo>
                    <a:cubicBezTo>
                      <a:pt x="42" y="0"/>
                      <a:pt x="42" y="0"/>
                      <a:pt x="42" y="0"/>
                    </a:cubicBezTo>
                    <a:cubicBezTo>
                      <a:pt x="0" y="0"/>
                      <a:pt x="0" y="0"/>
                      <a:pt x="0" y="0"/>
                    </a:cubicBezTo>
                    <a:cubicBezTo>
                      <a:pt x="0" y="22"/>
                      <a:pt x="0" y="22"/>
                      <a:pt x="0" y="22"/>
                    </a:cubicBezTo>
                    <a:lnTo>
                      <a:pt x="0" y="24"/>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163"/>
              <p:cNvSpPr>
                <a:spLocks/>
              </p:cNvSpPr>
              <p:nvPr/>
            </p:nvSpPr>
            <p:spPr bwMode="auto">
              <a:xfrm>
                <a:off x="3382963" y="3013075"/>
                <a:ext cx="66675" cy="9525"/>
              </a:xfrm>
              <a:custGeom>
                <a:avLst/>
                <a:gdLst>
                  <a:gd name="T0" fmla="*/ 1 w 42"/>
                  <a:gd name="T1" fmla="*/ 6 h 6"/>
                  <a:gd name="T2" fmla="*/ 3 w 42"/>
                  <a:gd name="T3" fmla="*/ 6 h 6"/>
                  <a:gd name="T4" fmla="*/ 39 w 42"/>
                  <a:gd name="T5" fmla="*/ 6 h 6"/>
                  <a:gd name="T6" fmla="*/ 40 w 42"/>
                  <a:gd name="T7" fmla="*/ 6 h 6"/>
                  <a:gd name="T8" fmla="*/ 40 w 42"/>
                  <a:gd name="T9" fmla="*/ 6 h 6"/>
                  <a:gd name="T10" fmla="*/ 42 w 42"/>
                  <a:gd name="T11" fmla="*/ 4 h 6"/>
                  <a:gd name="T12" fmla="*/ 42 w 42"/>
                  <a:gd name="T13" fmla="*/ 3 h 6"/>
                  <a:gd name="T14" fmla="*/ 40 w 42"/>
                  <a:gd name="T15" fmla="*/ 1 h 6"/>
                  <a:gd name="T16" fmla="*/ 40 w 42"/>
                  <a:gd name="T17" fmla="*/ 1 h 6"/>
                  <a:gd name="T18" fmla="*/ 39 w 42"/>
                  <a:gd name="T19" fmla="*/ 0 h 6"/>
                  <a:gd name="T20" fmla="*/ 3 w 42"/>
                  <a:gd name="T21" fmla="*/ 0 h 6"/>
                  <a:gd name="T22" fmla="*/ 1 w 42"/>
                  <a:gd name="T23" fmla="*/ 1 h 6"/>
                  <a:gd name="T24" fmla="*/ 1 w 42"/>
                  <a:gd name="T25" fmla="*/ 1 h 6"/>
                  <a:gd name="T26" fmla="*/ 0 w 42"/>
                  <a:gd name="T27" fmla="*/ 3 h 6"/>
                  <a:gd name="T28" fmla="*/ 1 w 42"/>
                  <a:gd name="T29" fmla="*/ 6 h 6"/>
                  <a:gd name="T30" fmla="*/ 1 w 42"/>
                  <a:gd name="T3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6">
                    <a:moveTo>
                      <a:pt x="1" y="6"/>
                    </a:moveTo>
                    <a:lnTo>
                      <a:pt x="3" y="6"/>
                    </a:lnTo>
                    <a:lnTo>
                      <a:pt x="39" y="6"/>
                    </a:lnTo>
                    <a:lnTo>
                      <a:pt x="40" y="6"/>
                    </a:lnTo>
                    <a:lnTo>
                      <a:pt x="40" y="6"/>
                    </a:lnTo>
                    <a:lnTo>
                      <a:pt x="42" y="4"/>
                    </a:lnTo>
                    <a:lnTo>
                      <a:pt x="42" y="3"/>
                    </a:lnTo>
                    <a:lnTo>
                      <a:pt x="40" y="1"/>
                    </a:lnTo>
                    <a:lnTo>
                      <a:pt x="40" y="1"/>
                    </a:lnTo>
                    <a:lnTo>
                      <a:pt x="39" y="0"/>
                    </a:lnTo>
                    <a:lnTo>
                      <a:pt x="3" y="0"/>
                    </a:lnTo>
                    <a:lnTo>
                      <a:pt x="1" y="1"/>
                    </a:lnTo>
                    <a:lnTo>
                      <a:pt x="1" y="1"/>
                    </a:lnTo>
                    <a:lnTo>
                      <a:pt x="0" y="3"/>
                    </a:lnTo>
                    <a:lnTo>
                      <a:pt x="1" y="6"/>
                    </a:lnTo>
                    <a:lnTo>
                      <a:pt x="1" y="6"/>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164"/>
              <p:cNvSpPr>
                <a:spLocks/>
              </p:cNvSpPr>
              <p:nvPr/>
            </p:nvSpPr>
            <p:spPr bwMode="auto">
              <a:xfrm>
                <a:off x="3409950" y="2995613"/>
                <a:ext cx="39688" cy="7938"/>
              </a:xfrm>
              <a:custGeom>
                <a:avLst/>
                <a:gdLst>
                  <a:gd name="T0" fmla="*/ 1 w 25"/>
                  <a:gd name="T1" fmla="*/ 5 h 5"/>
                  <a:gd name="T2" fmla="*/ 2 w 25"/>
                  <a:gd name="T3" fmla="*/ 5 h 5"/>
                  <a:gd name="T4" fmla="*/ 22 w 25"/>
                  <a:gd name="T5" fmla="*/ 5 h 5"/>
                  <a:gd name="T6" fmla="*/ 23 w 25"/>
                  <a:gd name="T7" fmla="*/ 5 h 5"/>
                  <a:gd name="T8" fmla="*/ 23 w 25"/>
                  <a:gd name="T9" fmla="*/ 5 h 5"/>
                  <a:gd name="T10" fmla="*/ 25 w 25"/>
                  <a:gd name="T11" fmla="*/ 4 h 5"/>
                  <a:gd name="T12" fmla="*/ 25 w 25"/>
                  <a:gd name="T13" fmla="*/ 3 h 5"/>
                  <a:gd name="T14" fmla="*/ 25 w 25"/>
                  <a:gd name="T15" fmla="*/ 1 h 5"/>
                  <a:gd name="T16" fmla="*/ 23 w 25"/>
                  <a:gd name="T17" fmla="*/ 1 h 5"/>
                  <a:gd name="T18" fmla="*/ 23 w 25"/>
                  <a:gd name="T19" fmla="*/ 0 h 5"/>
                  <a:gd name="T20" fmla="*/ 22 w 25"/>
                  <a:gd name="T21" fmla="*/ 0 h 5"/>
                  <a:gd name="T22" fmla="*/ 2 w 25"/>
                  <a:gd name="T23" fmla="*/ 0 h 5"/>
                  <a:gd name="T24" fmla="*/ 0 w 25"/>
                  <a:gd name="T25" fmla="*/ 1 h 5"/>
                  <a:gd name="T26" fmla="*/ 0 w 25"/>
                  <a:gd name="T27" fmla="*/ 1 h 5"/>
                  <a:gd name="T28" fmla="*/ 0 w 25"/>
                  <a:gd name="T29" fmla="*/ 3 h 5"/>
                  <a:gd name="T30" fmla="*/ 0 w 25"/>
                  <a:gd name="T31" fmla="*/ 4 h 5"/>
                  <a:gd name="T32" fmla="*/ 0 w 25"/>
                  <a:gd name="T33" fmla="*/ 5 h 5"/>
                  <a:gd name="T34" fmla="*/ 1 w 25"/>
                  <a:gd name="T3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1" y="5"/>
                    </a:moveTo>
                    <a:lnTo>
                      <a:pt x="2" y="5"/>
                    </a:lnTo>
                    <a:lnTo>
                      <a:pt x="22" y="5"/>
                    </a:lnTo>
                    <a:lnTo>
                      <a:pt x="23" y="5"/>
                    </a:lnTo>
                    <a:lnTo>
                      <a:pt x="23" y="5"/>
                    </a:lnTo>
                    <a:lnTo>
                      <a:pt x="25" y="4"/>
                    </a:lnTo>
                    <a:lnTo>
                      <a:pt x="25" y="3"/>
                    </a:lnTo>
                    <a:lnTo>
                      <a:pt x="25" y="1"/>
                    </a:lnTo>
                    <a:lnTo>
                      <a:pt x="23" y="1"/>
                    </a:lnTo>
                    <a:lnTo>
                      <a:pt x="23" y="0"/>
                    </a:lnTo>
                    <a:lnTo>
                      <a:pt x="22" y="0"/>
                    </a:lnTo>
                    <a:lnTo>
                      <a:pt x="2" y="0"/>
                    </a:lnTo>
                    <a:lnTo>
                      <a:pt x="0" y="1"/>
                    </a:lnTo>
                    <a:lnTo>
                      <a:pt x="0" y="1"/>
                    </a:lnTo>
                    <a:lnTo>
                      <a:pt x="0" y="3"/>
                    </a:lnTo>
                    <a:lnTo>
                      <a:pt x="0" y="4"/>
                    </a:lnTo>
                    <a:lnTo>
                      <a:pt x="0" y="5"/>
                    </a:lnTo>
                    <a:lnTo>
                      <a:pt x="1" y="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165"/>
              <p:cNvSpPr>
                <a:spLocks/>
              </p:cNvSpPr>
              <p:nvPr/>
            </p:nvSpPr>
            <p:spPr bwMode="auto">
              <a:xfrm>
                <a:off x="3382963" y="3033713"/>
                <a:ext cx="66675" cy="7938"/>
              </a:xfrm>
              <a:custGeom>
                <a:avLst/>
                <a:gdLst>
                  <a:gd name="T0" fmla="*/ 1 w 42"/>
                  <a:gd name="T1" fmla="*/ 4 h 5"/>
                  <a:gd name="T2" fmla="*/ 3 w 42"/>
                  <a:gd name="T3" fmla="*/ 5 h 5"/>
                  <a:gd name="T4" fmla="*/ 39 w 42"/>
                  <a:gd name="T5" fmla="*/ 5 h 5"/>
                  <a:gd name="T6" fmla="*/ 40 w 42"/>
                  <a:gd name="T7" fmla="*/ 4 h 5"/>
                  <a:gd name="T8" fmla="*/ 40 w 42"/>
                  <a:gd name="T9" fmla="*/ 4 h 5"/>
                  <a:gd name="T10" fmla="*/ 42 w 42"/>
                  <a:gd name="T11" fmla="*/ 2 h 5"/>
                  <a:gd name="T12" fmla="*/ 42 w 42"/>
                  <a:gd name="T13" fmla="*/ 1 h 5"/>
                  <a:gd name="T14" fmla="*/ 40 w 42"/>
                  <a:gd name="T15" fmla="*/ 0 h 5"/>
                  <a:gd name="T16" fmla="*/ 40 w 42"/>
                  <a:gd name="T17" fmla="*/ 0 h 5"/>
                  <a:gd name="T18" fmla="*/ 39 w 42"/>
                  <a:gd name="T19" fmla="*/ 0 h 5"/>
                  <a:gd name="T20" fmla="*/ 3 w 42"/>
                  <a:gd name="T21" fmla="*/ 0 h 5"/>
                  <a:gd name="T22" fmla="*/ 1 w 42"/>
                  <a:gd name="T23" fmla="*/ 0 h 5"/>
                  <a:gd name="T24" fmla="*/ 1 w 42"/>
                  <a:gd name="T25" fmla="*/ 0 h 5"/>
                  <a:gd name="T26" fmla="*/ 0 w 42"/>
                  <a:gd name="T27" fmla="*/ 2 h 5"/>
                  <a:gd name="T28" fmla="*/ 1 w 42"/>
                  <a:gd name="T29" fmla="*/ 4 h 5"/>
                  <a:gd name="T30" fmla="*/ 1 w 42"/>
                  <a:gd name="T31"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5">
                    <a:moveTo>
                      <a:pt x="1" y="4"/>
                    </a:moveTo>
                    <a:lnTo>
                      <a:pt x="3" y="5"/>
                    </a:lnTo>
                    <a:lnTo>
                      <a:pt x="39" y="5"/>
                    </a:lnTo>
                    <a:lnTo>
                      <a:pt x="40" y="4"/>
                    </a:lnTo>
                    <a:lnTo>
                      <a:pt x="40" y="4"/>
                    </a:lnTo>
                    <a:lnTo>
                      <a:pt x="42" y="2"/>
                    </a:lnTo>
                    <a:lnTo>
                      <a:pt x="42" y="1"/>
                    </a:lnTo>
                    <a:lnTo>
                      <a:pt x="40" y="0"/>
                    </a:lnTo>
                    <a:lnTo>
                      <a:pt x="40" y="0"/>
                    </a:lnTo>
                    <a:lnTo>
                      <a:pt x="39" y="0"/>
                    </a:lnTo>
                    <a:lnTo>
                      <a:pt x="3" y="0"/>
                    </a:lnTo>
                    <a:lnTo>
                      <a:pt x="1" y="0"/>
                    </a:lnTo>
                    <a:lnTo>
                      <a:pt x="1" y="0"/>
                    </a:lnTo>
                    <a:lnTo>
                      <a:pt x="0" y="2"/>
                    </a:lnTo>
                    <a:lnTo>
                      <a:pt x="1" y="4"/>
                    </a:lnTo>
                    <a:lnTo>
                      <a:pt x="1"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166"/>
              <p:cNvSpPr>
                <a:spLocks/>
              </p:cNvSpPr>
              <p:nvPr/>
            </p:nvSpPr>
            <p:spPr bwMode="auto">
              <a:xfrm>
                <a:off x="3382963" y="3057525"/>
                <a:ext cx="63500" cy="1588"/>
              </a:xfrm>
              <a:custGeom>
                <a:avLst/>
                <a:gdLst>
                  <a:gd name="T0" fmla="*/ 1 w 40"/>
                  <a:gd name="T1" fmla="*/ 0 h 1"/>
                  <a:gd name="T2" fmla="*/ 1 w 40"/>
                  <a:gd name="T3" fmla="*/ 1 h 1"/>
                  <a:gd name="T4" fmla="*/ 3 w 40"/>
                  <a:gd name="T5" fmla="*/ 1 h 1"/>
                  <a:gd name="T6" fmla="*/ 39 w 40"/>
                  <a:gd name="T7" fmla="*/ 1 h 1"/>
                  <a:gd name="T8" fmla="*/ 40 w 40"/>
                  <a:gd name="T9" fmla="*/ 1 h 1"/>
                  <a:gd name="T10" fmla="*/ 40 w 40"/>
                  <a:gd name="T11" fmla="*/ 0 h 1"/>
                  <a:gd name="T12" fmla="*/ 40 w 40"/>
                  <a:gd name="T13" fmla="*/ 0 h 1"/>
                  <a:gd name="T14" fmla="*/ 0 w 40"/>
                  <a:gd name="T15" fmla="*/ 0 h 1"/>
                  <a:gd name="T16" fmla="*/ 1 w 40"/>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
                    <a:moveTo>
                      <a:pt x="1" y="0"/>
                    </a:moveTo>
                    <a:lnTo>
                      <a:pt x="1" y="1"/>
                    </a:lnTo>
                    <a:lnTo>
                      <a:pt x="3" y="1"/>
                    </a:lnTo>
                    <a:lnTo>
                      <a:pt x="39" y="1"/>
                    </a:lnTo>
                    <a:lnTo>
                      <a:pt x="40" y="1"/>
                    </a:lnTo>
                    <a:lnTo>
                      <a:pt x="40" y="0"/>
                    </a:lnTo>
                    <a:lnTo>
                      <a:pt x="40" y="0"/>
                    </a:lnTo>
                    <a:lnTo>
                      <a:pt x="0" y="0"/>
                    </a:lnTo>
                    <a:lnTo>
                      <a:pt x="1"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167"/>
              <p:cNvSpPr>
                <a:spLocks/>
              </p:cNvSpPr>
              <p:nvPr/>
            </p:nvSpPr>
            <p:spPr bwMode="auto">
              <a:xfrm>
                <a:off x="3382963" y="3051175"/>
                <a:ext cx="66675" cy="6350"/>
              </a:xfrm>
              <a:custGeom>
                <a:avLst/>
                <a:gdLst>
                  <a:gd name="T0" fmla="*/ 42 w 42"/>
                  <a:gd name="T1" fmla="*/ 3 h 4"/>
                  <a:gd name="T2" fmla="*/ 42 w 42"/>
                  <a:gd name="T3" fmla="*/ 1 h 4"/>
                  <a:gd name="T4" fmla="*/ 40 w 42"/>
                  <a:gd name="T5" fmla="*/ 0 h 4"/>
                  <a:gd name="T6" fmla="*/ 40 w 42"/>
                  <a:gd name="T7" fmla="*/ 0 h 4"/>
                  <a:gd name="T8" fmla="*/ 39 w 42"/>
                  <a:gd name="T9" fmla="*/ 0 h 4"/>
                  <a:gd name="T10" fmla="*/ 3 w 42"/>
                  <a:gd name="T11" fmla="*/ 0 h 4"/>
                  <a:gd name="T12" fmla="*/ 1 w 42"/>
                  <a:gd name="T13" fmla="*/ 0 h 4"/>
                  <a:gd name="T14" fmla="*/ 1 w 42"/>
                  <a:gd name="T15" fmla="*/ 0 h 4"/>
                  <a:gd name="T16" fmla="*/ 0 w 42"/>
                  <a:gd name="T17" fmla="*/ 3 h 4"/>
                  <a:gd name="T18" fmla="*/ 0 w 42"/>
                  <a:gd name="T19" fmla="*/ 4 h 4"/>
                  <a:gd name="T20" fmla="*/ 0 w 42"/>
                  <a:gd name="T21" fmla="*/ 4 h 4"/>
                  <a:gd name="T22" fmla="*/ 40 w 42"/>
                  <a:gd name="T23" fmla="*/ 4 h 4"/>
                  <a:gd name="T24" fmla="*/ 42 w 42"/>
                  <a:gd name="T25" fmla="*/ 4 h 4"/>
                  <a:gd name="T26" fmla="*/ 42 w 42"/>
                  <a:gd name="T2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4">
                    <a:moveTo>
                      <a:pt x="42" y="3"/>
                    </a:moveTo>
                    <a:lnTo>
                      <a:pt x="42" y="1"/>
                    </a:lnTo>
                    <a:lnTo>
                      <a:pt x="40" y="0"/>
                    </a:lnTo>
                    <a:lnTo>
                      <a:pt x="40" y="0"/>
                    </a:lnTo>
                    <a:lnTo>
                      <a:pt x="39" y="0"/>
                    </a:lnTo>
                    <a:lnTo>
                      <a:pt x="3" y="0"/>
                    </a:lnTo>
                    <a:lnTo>
                      <a:pt x="1" y="0"/>
                    </a:lnTo>
                    <a:lnTo>
                      <a:pt x="1" y="0"/>
                    </a:lnTo>
                    <a:lnTo>
                      <a:pt x="0" y="3"/>
                    </a:lnTo>
                    <a:lnTo>
                      <a:pt x="0" y="4"/>
                    </a:lnTo>
                    <a:lnTo>
                      <a:pt x="0" y="4"/>
                    </a:lnTo>
                    <a:lnTo>
                      <a:pt x="40" y="4"/>
                    </a:lnTo>
                    <a:lnTo>
                      <a:pt x="42" y="4"/>
                    </a:lnTo>
                    <a:lnTo>
                      <a:pt x="42" y="3"/>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168"/>
              <p:cNvSpPr>
                <a:spLocks/>
              </p:cNvSpPr>
              <p:nvPr/>
            </p:nvSpPr>
            <p:spPr bwMode="auto">
              <a:xfrm>
                <a:off x="3362325" y="2959100"/>
                <a:ext cx="106363" cy="98425"/>
              </a:xfrm>
              <a:custGeom>
                <a:avLst/>
                <a:gdLst>
                  <a:gd name="T0" fmla="*/ 66 w 67"/>
                  <a:gd name="T1" fmla="*/ 5 h 62"/>
                  <a:gd name="T2" fmla="*/ 65 w 67"/>
                  <a:gd name="T3" fmla="*/ 3 h 62"/>
                  <a:gd name="T4" fmla="*/ 63 w 67"/>
                  <a:gd name="T5" fmla="*/ 2 h 62"/>
                  <a:gd name="T6" fmla="*/ 60 w 67"/>
                  <a:gd name="T7" fmla="*/ 0 h 62"/>
                  <a:gd name="T8" fmla="*/ 21 w 67"/>
                  <a:gd name="T9" fmla="*/ 0 h 62"/>
                  <a:gd name="T10" fmla="*/ 0 w 67"/>
                  <a:gd name="T11" fmla="*/ 21 h 62"/>
                  <a:gd name="T12" fmla="*/ 0 w 67"/>
                  <a:gd name="T13" fmla="*/ 62 h 62"/>
                  <a:gd name="T14" fmla="*/ 6 w 67"/>
                  <a:gd name="T15" fmla="*/ 62 h 62"/>
                  <a:gd name="T16" fmla="*/ 6 w 67"/>
                  <a:gd name="T17" fmla="*/ 24 h 62"/>
                  <a:gd name="T18" fmla="*/ 18 w 67"/>
                  <a:gd name="T19" fmla="*/ 24 h 62"/>
                  <a:gd name="T20" fmla="*/ 20 w 67"/>
                  <a:gd name="T21" fmla="*/ 24 h 62"/>
                  <a:gd name="T22" fmla="*/ 23 w 67"/>
                  <a:gd name="T23" fmla="*/ 23 h 62"/>
                  <a:gd name="T24" fmla="*/ 24 w 67"/>
                  <a:gd name="T25" fmla="*/ 21 h 62"/>
                  <a:gd name="T26" fmla="*/ 24 w 67"/>
                  <a:gd name="T27" fmla="*/ 19 h 62"/>
                  <a:gd name="T28" fmla="*/ 24 w 67"/>
                  <a:gd name="T29" fmla="*/ 6 h 62"/>
                  <a:gd name="T30" fmla="*/ 58 w 67"/>
                  <a:gd name="T31" fmla="*/ 6 h 62"/>
                  <a:gd name="T32" fmla="*/ 59 w 67"/>
                  <a:gd name="T33" fmla="*/ 6 h 62"/>
                  <a:gd name="T34" fmla="*/ 60 w 67"/>
                  <a:gd name="T35" fmla="*/ 7 h 62"/>
                  <a:gd name="T36" fmla="*/ 62 w 67"/>
                  <a:gd name="T37" fmla="*/ 9 h 62"/>
                  <a:gd name="T38" fmla="*/ 62 w 67"/>
                  <a:gd name="T39" fmla="*/ 10 h 62"/>
                  <a:gd name="T40" fmla="*/ 62 w 67"/>
                  <a:gd name="T41" fmla="*/ 62 h 62"/>
                  <a:gd name="T42" fmla="*/ 67 w 67"/>
                  <a:gd name="T43" fmla="*/ 62 h 62"/>
                  <a:gd name="T44" fmla="*/ 67 w 67"/>
                  <a:gd name="T45" fmla="*/ 7 h 62"/>
                  <a:gd name="T46" fmla="*/ 66 w 67"/>
                  <a:gd name="T47"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 h="62">
                    <a:moveTo>
                      <a:pt x="66" y="5"/>
                    </a:moveTo>
                    <a:lnTo>
                      <a:pt x="65" y="3"/>
                    </a:lnTo>
                    <a:lnTo>
                      <a:pt x="63" y="2"/>
                    </a:lnTo>
                    <a:lnTo>
                      <a:pt x="60" y="0"/>
                    </a:lnTo>
                    <a:lnTo>
                      <a:pt x="21" y="0"/>
                    </a:lnTo>
                    <a:lnTo>
                      <a:pt x="0" y="21"/>
                    </a:lnTo>
                    <a:lnTo>
                      <a:pt x="0" y="62"/>
                    </a:lnTo>
                    <a:lnTo>
                      <a:pt x="6" y="62"/>
                    </a:lnTo>
                    <a:lnTo>
                      <a:pt x="6" y="24"/>
                    </a:lnTo>
                    <a:lnTo>
                      <a:pt x="18" y="24"/>
                    </a:lnTo>
                    <a:lnTo>
                      <a:pt x="20" y="24"/>
                    </a:lnTo>
                    <a:lnTo>
                      <a:pt x="23" y="23"/>
                    </a:lnTo>
                    <a:lnTo>
                      <a:pt x="24" y="21"/>
                    </a:lnTo>
                    <a:lnTo>
                      <a:pt x="24" y="19"/>
                    </a:lnTo>
                    <a:lnTo>
                      <a:pt x="24" y="6"/>
                    </a:lnTo>
                    <a:lnTo>
                      <a:pt x="58" y="6"/>
                    </a:lnTo>
                    <a:lnTo>
                      <a:pt x="59" y="6"/>
                    </a:lnTo>
                    <a:lnTo>
                      <a:pt x="60" y="7"/>
                    </a:lnTo>
                    <a:lnTo>
                      <a:pt x="62" y="9"/>
                    </a:lnTo>
                    <a:lnTo>
                      <a:pt x="62" y="10"/>
                    </a:lnTo>
                    <a:lnTo>
                      <a:pt x="62" y="62"/>
                    </a:lnTo>
                    <a:lnTo>
                      <a:pt x="67" y="62"/>
                    </a:lnTo>
                    <a:lnTo>
                      <a:pt x="67" y="7"/>
                    </a:lnTo>
                    <a:lnTo>
                      <a:pt x="66" y="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Rectangle 169"/>
              <p:cNvSpPr>
                <a:spLocks noChangeArrowheads="1"/>
              </p:cNvSpPr>
              <p:nvPr/>
            </p:nvSpPr>
            <p:spPr bwMode="auto">
              <a:xfrm>
                <a:off x="3411538" y="3375025"/>
                <a:ext cx="195263" cy="666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193"/>
              <p:cNvSpPr>
                <a:spLocks noEditPoints="1"/>
              </p:cNvSpPr>
              <p:nvPr/>
            </p:nvSpPr>
            <p:spPr bwMode="auto">
              <a:xfrm>
                <a:off x="3276600" y="2284413"/>
                <a:ext cx="155575" cy="182563"/>
              </a:xfrm>
              <a:custGeom>
                <a:avLst/>
                <a:gdLst>
                  <a:gd name="T0" fmla="*/ 35 w 70"/>
                  <a:gd name="T1" fmla="*/ 4 h 82"/>
                  <a:gd name="T2" fmla="*/ 64 w 70"/>
                  <a:gd name="T3" fmla="*/ 12 h 82"/>
                  <a:gd name="T4" fmla="*/ 35 w 70"/>
                  <a:gd name="T5" fmla="*/ 20 h 82"/>
                  <a:gd name="T6" fmla="*/ 6 w 70"/>
                  <a:gd name="T7" fmla="*/ 12 h 82"/>
                  <a:gd name="T8" fmla="*/ 35 w 70"/>
                  <a:gd name="T9" fmla="*/ 4 h 82"/>
                  <a:gd name="T10" fmla="*/ 35 w 70"/>
                  <a:gd name="T11" fmla="*/ 0 h 82"/>
                  <a:gd name="T12" fmla="*/ 21 w 70"/>
                  <a:gd name="T13" fmla="*/ 1 h 82"/>
                  <a:gd name="T14" fmla="*/ 10 w 70"/>
                  <a:gd name="T15" fmla="*/ 4 h 82"/>
                  <a:gd name="T16" fmla="*/ 3 w 70"/>
                  <a:gd name="T17" fmla="*/ 8 h 82"/>
                  <a:gd name="T18" fmla="*/ 1 w 70"/>
                  <a:gd name="T19" fmla="*/ 11 h 82"/>
                  <a:gd name="T20" fmla="*/ 0 w 70"/>
                  <a:gd name="T21" fmla="*/ 14 h 82"/>
                  <a:gd name="T22" fmla="*/ 0 w 70"/>
                  <a:gd name="T23" fmla="*/ 69 h 82"/>
                  <a:gd name="T24" fmla="*/ 1 w 70"/>
                  <a:gd name="T25" fmla="*/ 71 h 82"/>
                  <a:gd name="T26" fmla="*/ 3 w 70"/>
                  <a:gd name="T27" fmla="*/ 74 h 82"/>
                  <a:gd name="T28" fmla="*/ 10 w 70"/>
                  <a:gd name="T29" fmla="*/ 78 h 82"/>
                  <a:gd name="T30" fmla="*/ 21 w 70"/>
                  <a:gd name="T31" fmla="*/ 81 h 82"/>
                  <a:gd name="T32" fmla="*/ 35 w 70"/>
                  <a:gd name="T33" fmla="*/ 82 h 82"/>
                  <a:gd name="T34" fmla="*/ 60 w 70"/>
                  <a:gd name="T35" fmla="*/ 78 h 82"/>
                  <a:gd name="T36" fmla="*/ 67 w 70"/>
                  <a:gd name="T37" fmla="*/ 74 h 82"/>
                  <a:gd name="T38" fmla="*/ 69 w 70"/>
                  <a:gd name="T39" fmla="*/ 71 h 82"/>
                  <a:gd name="T40" fmla="*/ 70 w 70"/>
                  <a:gd name="T41" fmla="*/ 69 h 82"/>
                  <a:gd name="T42" fmla="*/ 70 w 70"/>
                  <a:gd name="T43" fmla="*/ 14 h 82"/>
                  <a:gd name="T44" fmla="*/ 67 w 70"/>
                  <a:gd name="T45" fmla="*/ 8 h 82"/>
                  <a:gd name="T46" fmla="*/ 60 w 70"/>
                  <a:gd name="T47" fmla="*/ 4 h 82"/>
                  <a:gd name="T48" fmla="*/ 49 w 70"/>
                  <a:gd name="T49" fmla="*/ 1 h 82"/>
                  <a:gd name="T50" fmla="*/ 35 w 70"/>
                  <a:gd name="T5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82">
                    <a:moveTo>
                      <a:pt x="35" y="4"/>
                    </a:moveTo>
                    <a:cubicBezTo>
                      <a:pt x="51" y="4"/>
                      <a:pt x="64" y="8"/>
                      <a:pt x="64" y="12"/>
                    </a:cubicBezTo>
                    <a:cubicBezTo>
                      <a:pt x="64" y="17"/>
                      <a:pt x="51" y="20"/>
                      <a:pt x="35" y="20"/>
                    </a:cubicBezTo>
                    <a:cubicBezTo>
                      <a:pt x="19" y="20"/>
                      <a:pt x="6" y="17"/>
                      <a:pt x="6" y="12"/>
                    </a:cubicBezTo>
                    <a:cubicBezTo>
                      <a:pt x="6" y="8"/>
                      <a:pt x="19" y="4"/>
                      <a:pt x="35" y="4"/>
                    </a:cubicBezTo>
                    <a:close/>
                    <a:moveTo>
                      <a:pt x="35" y="0"/>
                    </a:moveTo>
                    <a:cubicBezTo>
                      <a:pt x="21" y="1"/>
                      <a:pt x="21" y="1"/>
                      <a:pt x="21" y="1"/>
                    </a:cubicBezTo>
                    <a:cubicBezTo>
                      <a:pt x="10" y="4"/>
                      <a:pt x="10" y="4"/>
                      <a:pt x="10" y="4"/>
                    </a:cubicBezTo>
                    <a:cubicBezTo>
                      <a:pt x="3" y="8"/>
                      <a:pt x="3" y="8"/>
                      <a:pt x="3" y="8"/>
                    </a:cubicBezTo>
                    <a:cubicBezTo>
                      <a:pt x="1" y="11"/>
                      <a:pt x="1" y="11"/>
                      <a:pt x="1" y="11"/>
                    </a:cubicBezTo>
                    <a:cubicBezTo>
                      <a:pt x="0" y="14"/>
                      <a:pt x="0" y="14"/>
                      <a:pt x="0" y="14"/>
                    </a:cubicBezTo>
                    <a:cubicBezTo>
                      <a:pt x="0" y="69"/>
                      <a:pt x="0" y="69"/>
                      <a:pt x="0" y="69"/>
                    </a:cubicBezTo>
                    <a:cubicBezTo>
                      <a:pt x="1" y="71"/>
                      <a:pt x="1" y="71"/>
                      <a:pt x="1" y="71"/>
                    </a:cubicBezTo>
                    <a:cubicBezTo>
                      <a:pt x="3" y="74"/>
                      <a:pt x="3" y="74"/>
                      <a:pt x="3" y="74"/>
                    </a:cubicBezTo>
                    <a:cubicBezTo>
                      <a:pt x="10" y="78"/>
                      <a:pt x="10" y="78"/>
                      <a:pt x="10" y="78"/>
                    </a:cubicBezTo>
                    <a:cubicBezTo>
                      <a:pt x="21" y="81"/>
                      <a:pt x="21" y="81"/>
                      <a:pt x="21" y="81"/>
                    </a:cubicBezTo>
                    <a:cubicBezTo>
                      <a:pt x="26" y="82"/>
                      <a:pt x="30" y="82"/>
                      <a:pt x="35" y="82"/>
                    </a:cubicBezTo>
                    <a:cubicBezTo>
                      <a:pt x="45" y="82"/>
                      <a:pt x="53" y="81"/>
                      <a:pt x="60" y="78"/>
                    </a:cubicBezTo>
                    <a:cubicBezTo>
                      <a:pt x="63" y="77"/>
                      <a:pt x="66" y="76"/>
                      <a:pt x="67" y="74"/>
                    </a:cubicBezTo>
                    <a:cubicBezTo>
                      <a:pt x="68" y="73"/>
                      <a:pt x="69" y="72"/>
                      <a:pt x="69" y="71"/>
                    </a:cubicBezTo>
                    <a:cubicBezTo>
                      <a:pt x="70" y="71"/>
                      <a:pt x="70" y="70"/>
                      <a:pt x="70" y="69"/>
                    </a:cubicBezTo>
                    <a:cubicBezTo>
                      <a:pt x="70" y="14"/>
                      <a:pt x="70" y="14"/>
                      <a:pt x="70" y="14"/>
                    </a:cubicBezTo>
                    <a:cubicBezTo>
                      <a:pt x="70" y="12"/>
                      <a:pt x="69" y="10"/>
                      <a:pt x="67" y="8"/>
                    </a:cubicBezTo>
                    <a:cubicBezTo>
                      <a:pt x="66" y="7"/>
                      <a:pt x="63" y="5"/>
                      <a:pt x="60" y="4"/>
                    </a:cubicBezTo>
                    <a:cubicBezTo>
                      <a:pt x="57" y="3"/>
                      <a:pt x="53" y="2"/>
                      <a:pt x="49" y="1"/>
                    </a:cubicBezTo>
                    <a:cubicBezTo>
                      <a:pt x="45" y="0"/>
                      <a:pt x="40" y="0"/>
                      <a:pt x="35"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94" name="Rectangle 212"/>
            <p:cNvSpPr>
              <a:spLocks noChangeArrowheads="1"/>
            </p:cNvSpPr>
            <p:nvPr/>
          </p:nvSpPr>
          <p:spPr bwMode="auto">
            <a:xfrm>
              <a:off x="1731071" y="3236788"/>
              <a:ext cx="746125" cy="4810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214"/>
            <p:cNvSpPr>
              <a:spLocks noEditPoints="1"/>
            </p:cNvSpPr>
            <p:nvPr/>
          </p:nvSpPr>
          <p:spPr bwMode="auto">
            <a:xfrm>
              <a:off x="1702496" y="3209801"/>
              <a:ext cx="796925" cy="612775"/>
            </a:xfrm>
            <a:custGeom>
              <a:avLst/>
              <a:gdLst>
                <a:gd name="T0" fmla="*/ 348 w 359"/>
                <a:gd name="T1" fmla="*/ 0 h 276"/>
                <a:gd name="T2" fmla="*/ 12 w 359"/>
                <a:gd name="T3" fmla="*/ 0 h 276"/>
                <a:gd name="T4" fmla="*/ 0 w 359"/>
                <a:gd name="T5" fmla="*/ 10 h 276"/>
                <a:gd name="T6" fmla="*/ 0 w 359"/>
                <a:gd name="T7" fmla="*/ 229 h 276"/>
                <a:gd name="T8" fmla="*/ 12 w 359"/>
                <a:gd name="T9" fmla="*/ 239 h 276"/>
                <a:gd name="T10" fmla="*/ 123 w 359"/>
                <a:gd name="T11" fmla="*/ 239 h 276"/>
                <a:gd name="T12" fmla="*/ 123 w 359"/>
                <a:gd name="T13" fmla="*/ 255 h 276"/>
                <a:gd name="T14" fmla="*/ 98 w 359"/>
                <a:gd name="T15" fmla="*/ 276 h 276"/>
                <a:gd name="T16" fmla="*/ 268 w 359"/>
                <a:gd name="T17" fmla="*/ 276 h 276"/>
                <a:gd name="T18" fmla="*/ 244 w 359"/>
                <a:gd name="T19" fmla="*/ 255 h 276"/>
                <a:gd name="T20" fmla="*/ 244 w 359"/>
                <a:gd name="T21" fmla="*/ 239 h 276"/>
                <a:gd name="T22" fmla="*/ 348 w 359"/>
                <a:gd name="T23" fmla="*/ 239 h 276"/>
                <a:gd name="T24" fmla="*/ 359 w 359"/>
                <a:gd name="T25" fmla="*/ 229 h 276"/>
                <a:gd name="T26" fmla="*/ 359 w 359"/>
                <a:gd name="T27" fmla="*/ 10 h 276"/>
                <a:gd name="T28" fmla="*/ 348 w 359"/>
                <a:gd name="T29" fmla="*/ 0 h 276"/>
                <a:gd name="T30" fmla="*/ 339 w 359"/>
                <a:gd name="T31" fmla="*/ 212 h 276"/>
                <a:gd name="T32" fmla="*/ 329 w 359"/>
                <a:gd name="T33" fmla="*/ 221 h 276"/>
                <a:gd name="T34" fmla="*/ 31 w 359"/>
                <a:gd name="T35" fmla="*/ 221 h 276"/>
                <a:gd name="T36" fmla="*/ 21 w 359"/>
                <a:gd name="T37" fmla="*/ 212 h 276"/>
                <a:gd name="T38" fmla="*/ 21 w 359"/>
                <a:gd name="T39" fmla="*/ 27 h 276"/>
                <a:gd name="T40" fmla="*/ 31 w 359"/>
                <a:gd name="T41" fmla="*/ 18 h 276"/>
                <a:gd name="T42" fmla="*/ 329 w 359"/>
                <a:gd name="T43" fmla="*/ 18 h 276"/>
                <a:gd name="T44" fmla="*/ 339 w 359"/>
                <a:gd name="T45" fmla="*/ 27 h 276"/>
                <a:gd name="T46" fmla="*/ 339 w 359"/>
                <a:gd name="T47" fmla="*/ 212 h 276"/>
                <a:gd name="T48" fmla="*/ 339 w 359"/>
                <a:gd name="T49" fmla="*/ 21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9" h="276">
                  <a:moveTo>
                    <a:pt x="348" y="0"/>
                  </a:moveTo>
                  <a:cubicBezTo>
                    <a:pt x="12" y="0"/>
                    <a:pt x="12" y="0"/>
                    <a:pt x="12" y="0"/>
                  </a:cubicBezTo>
                  <a:cubicBezTo>
                    <a:pt x="6" y="0"/>
                    <a:pt x="0" y="4"/>
                    <a:pt x="0" y="10"/>
                  </a:cubicBezTo>
                  <a:cubicBezTo>
                    <a:pt x="0" y="229"/>
                    <a:pt x="0" y="229"/>
                    <a:pt x="0" y="229"/>
                  </a:cubicBezTo>
                  <a:cubicBezTo>
                    <a:pt x="0" y="234"/>
                    <a:pt x="6" y="239"/>
                    <a:pt x="12" y="239"/>
                  </a:cubicBezTo>
                  <a:cubicBezTo>
                    <a:pt x="123" y="239"/>
                    <a:pt x="123" y="239"/>
                    <a:pt x="123" y="239"/>
                  </a:cubicBezTo>
                  <a:cubicBezTo>
                    <a:pt x="123" y="255"/>
                    <a:pt x="123" y="255"/>
                    <a:pt x="123" y="255"/>
                  </a:cubicBezTo>
                  <a:cubicBezTo>
                    <a:pt x="98" y="276"/>
                    <a:pt x="98" y="276"/>
                    <a:pt x="98" y="276"/>
                  </a:cubicBezTo>
                  <a:cubicBezTo>
                    <a:pt x="268" y="276"/>
                    <a:pt x="268" y="276"/>
                    <a:pt x="268" y="276"/>
                  </a:cubicBezTo>
                  <a:cubicBezTo>
                    <a:pt x="244" y="255"/>
                    <a:pt x="244" y="255"/>
                    <a:pt x="244" y="255"/>
                  </a:cubicBezTo>
                  <a:cubicBezTo>
                    <a:pt x="244" y="239"/>
                    <a:pt x="244" y="239"/>
                    <a:pt x="244" y="239"/>
                  </a:cubicBezTo>
                  <a:cubicBezTo>
                    <a:pt x="348" y="239"/>
                    <a:pt x="348" y="239"/>
                    <a:pt x="348" y="239"/>
                  </a:cubicBezTo>
                  <a:cubicBezTo>
                    <a:pt x="354" y="239"/>
                    <a:pt x="359" y="234"/>
                    <a:pt x="359" y="229"/>
                  </a:cubicBezTo>
                  <a:cubicBezTo>
                    <a:pt x="359" y="10"/>
                    <a:pt x="359" y="10"/>
                    <a:pt x="359" y="10"/>
                  </a:cubicBezTo>
                  <a:cubicBezTo>
                    <a:pt x="359" y="4"/>
                    <a:pt x="354" y="0"/>
                    <a:pt x="348" y="0"/>
                  </a:cubicBezTo>
                  <a:close/>
                  <a:moveTo>
                    <a:pt x="339" y="212"/>
                  </a:moveTo>
                  <a:cubicBezTo>
                    <a:pt x="339" y="217"/>
                    <a:pt x="335" y="221"/>
                    <a:pt x="329" y="221"/>
                  </a:cubicBezTo>
                  <a:cubicBezTo>
                    <a:pt x="31" y="221"/>
                    <a:pt x="31" y="221"/>
                    <a:pt x="31" y="221"/>
                  </a:cubicBezTo>
                  <a:cubicBezTo>
                    <a:pt x="25" y="221"/>
                    <a:pt x="21" y="217"/>
                    <a:pt x="21" y="212"/>
                  </a:cubicBezTo>
                  <a:cubicBezTo>
                    <a:pt x="21" y="27"/>
                    <a:pt x="21" y="27"/>
                    <a:pt x="21" y="27"/>
                  </a:cubicBezTo>
                  <a:cubicBezTo>
                    <a:pt x="21" y="22"/>
                    <a:pt x="25" y="18"/>
                    <a:pt x="31" y="18"/>
                  </a:cubicBezTo>
                  <a:cubicBezTo>
                    <a:pt x="329" y="18"/>
                    <a:pt x="329" y="18"/>
                    <a:pt x="329" y="18"/>
                  </a:cubicBezTo>
                  <a:cubicBezTo>
                    <a:pt x="335" y="18"/>
                    <a:pt x="339" y="22"/>
                    <a:pt x="339" y="27"/>
                  </a:cubicBezTo>
                  <a:cubicBezTo>
                    <a:pt x="339" y="212"/>
                    <a:pt x="339" y="212"/>
                    <a:pt x="339" y="212"/>
                  </a:cubicBezTo>
                  <a:cubicBezTo>
                    <a:pt x="339" y="212"/>
                    <a:pt x="339" y="212"/>
                    <a:pt x="339" y="212"/>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89" name="Group 388"/>
          <p:cNvGrpSpPr/>
          <p:nvPr/>
        </p:nvGrpSpPr>
        <p:grpSpPr>
          <a:xfrm>
            <a:off x="1300172" y="3927350"/>
            <a:ext cx="1828800" cy="2728674"/>
            <a:chOff x="1300172" y="3927350"/>
            <a:chExt cx="1828800" cy="2728674"/>
          </a:xfrm>
        </p:grpSpPr>
        <p:sp>
          <p:nvSpPr>
            <p:cNvPr id="6" name="TextBox 5"/>
            <p:cNvSpPr txBox="1"/>
            <p:nvPr/>
          </p:nvSpPr>
          <p:spPr>
            <a:xfrm>
              <a:off x="1300172" y="5446462"/>
              <a:ext cx="1828800" cy="1209562"/>
            </a:xfrm>
            <a:prstGeom prst="rect">
              <a:avLst/>
            </a:prstGeom>
            <a:noFill/>
          </p:spPr>
          <p:txBody>
            <a:bodyPr wrap="square" lIns="91440" tIns="146304" rIns="182880" bIns="146304" rtlCol="0">
              <a:spAutoFit/>
            </a:bodyPr>
            <a:lstStyle/>
            <a:p>
              <a:pPr algn="ctr">
                <a:lnSpc>
                  <a:spcPct val="90000"/>
                </a:lnSpc>
                <a:spcAft>
                  <a:spcPts val="1200"/>
                </a:spcAft>
              </a:pPr>
              <a:r>
                <a:rPr lang="en-US" sz="2200" dirty="0">
                  <a:solidFill>
                    <a:schemeClr val="tx2"/>
                  </a:solidFill>
                  <a:latin typeface="+mj-lt"/>
                  <a:cs typeface="Segoe UI"/>
                </a:rPr>
                <a:t>Loosely coupled components</a:t>
              </a:r>
            </a:p>
          </p:txBody>
        </p:sp>
        <p:cxnSp>
          <p:nvCxnSpPr>
            <p:cNvPr id="3" name="Straight Arrow Connector 2"/>
            <p:cNvCxnSpPr/>
            <p:nvPr/>
          </p:nvCxnSpPr>
          <p:spPr>
            <a:xfrm>
              <a:off x="2107309" y="3927350"/>
              <a:ext cx="26077" cy="389227"/>
            </a:xfrm>
            <a:prstGeom prst="straightConnector1">
              <a:avLst/>
            </a:prstGeom>
            <a:ln w="5715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21" name="Freeform 109"/>
            <p:cNvSpPr>
              <a:spLocks noEditPoints="1"/>
            </p:cNvSpPr>
            <p:nvPr/>
          </p:nvSpPr>
          <p:spPr bwMode="auto">
            <a:xfrm>
              <a:off x="2381328" y="4611742"/>
              <a:ext cx="82550" cy="95250"/>
            </a:xfrm>
            <a:custGeom>
              <a:avLst/>
              <a:gdLst>
                <a:gd name="T0" fmla="*/ 19 w 37"/>
                <a:gd name="T1" fmla="*/ 2 h 43"/>
                <a:gd name="T2" fmla="*/ 34 w 37"/>
                <a:gd name="T3" fmla="*/ 6 h 43"/>
                <a:gd name="T4" fmla="*/ 19 w 37"/>
                <a:gd name="T5" fmla="*/ 11 h 43"/>
                <a:gd name="T6" fmla="*/ 3 w 37"/>
                <a:gd name="T7" fmla="*/ 6 h 43"/>
                <a:gd name="T8" fmla="*/ 19 w 37"/>
                <a:gd name="T9" fmla="*/ 2 h 43"/>
                <a:gd name="T10" fmla="*/ 19 w 37"/>
                <a:gd name="T11" fmla="*/ 0 h 43"/>
                <a:gd name="T12" fmla="*/ 12 w 37"/>
                <a:gd name="T13" fmla="*/ 0 h 43"/>
                <a:gd name="T14" fmla="*/ 6 w 37"/>
                <a:gd name="T15" fmla="*/ 2 h 43"/>
                <a:gd name="T16" fmla="*/ 2 w 37"/>
                <a:gd name="T17" fmla="*/ 4 h 43"/>
                <a:gd name="T18" fmla="*/ 1 w 37"/>
                <a:gd name="T19" fmla="*/ 6 h 43"/>
                <a:gd name="T20" fmla="*/ 0 w 37"/>
                <a:gd name="T21" fmla="*/ 7 h 43"/>
                <a:gd name="T22" fmla="*/ 0 w 37"/>
                <a:gd name="T23" fmla="*/ 36 h 43"/>
                <a:gd name="T24" fmla="*/ 1 w 37"/>
                <a:gd name="T25" fmla="*/ 37 h 43"/>
                <a:gd name="T26" fmla="*/ 2 w 37"/>
                <a:gd name="T27" fmla="*/ 39 h 43"/>
                <a:gd name="T28" fmla="*/ 6 w 37"/>
                <a:gd name="T29" fmla="*/ 41 h 43"/>
                <a:gd name="T30" fmla="*/ 12 w 37"/>
                <a:gd name="T31" fmla="*/ 42 h 43"/>
                <a:gd name="T32" fmla="*/ 19 w 37"/>
                <a:gd name="T33" fmla="*/ 43 h 43"/>
                <a:gd name="T34" fmla="*/ 32 w 37"/>
                <a:gd name="T35" fmla="*/ 41 h 43"/>
                <a:gd name="T36" fmla="*/ 35 w 37"/>
                <a:gd name="T37" fmla="*/ 39 h 43"/>
                <a:gd name="T38" fmla="*/ 36 w 37"/>
                <a:gd name="T39" fmla="*/ 37 h 43"/>
                <a:gd name="T40" fmla="*/ 37 w 37"/>
                <a:gd name="T41" fmla="*/ 36 h 43"/>
                <a:gd name="T42" fmla="*/ 37 w 37"/>
                <a:gd name="T43" fmla="*/ 7 h 43"/>
                <a:gd name="T44" fmla="*/ 35 w 37"/>
                <a:gd name="T45" fmla="*/ 4 h 43"/>
                <a:gd name="T46" fmla="*/ 32 w 37"/>
                <a:gd name="T47" fmla="*/ 2 h 43"/>
                <a:gd name="T48" fmla="*/ 26 w 37"/>
                <a:gd name="T49" fmla="*/ 0 h 43"/>
                <a:gd name="T50" fmla="*/ 19 w 37"/>
                <a:gd name="T5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43">
                  <a:moveTo>
                    <a:pt x="19" y="2"/>
                  </a:moveTo>
                  <a:cubicBezTo>
                    <a:pt x="27" y="2"/>
                    <a:pt x="34" y="4"/>
                    <a:pt x="34" y="6"/>
                  </a:cubicBezTo>
                  <a:cubicBezTo>
                    <a:pt x="34" y="9"/>
                    <a:pt x="27" y="11"/>
                    <a:pt x="19" y="11"/>
                  </a:cubicBezTo>
                  <a:cubicBezTo>
                    <a:pt x="10" y="11"/>
                    <a:pt x="3" y="9"/>
                    <a:pt x="3" y="6"/>
                  </a:cubicBezTo>
                  <a:cubicBezTo>
                    <a:pt x="3" y="4"/>
                    <a:pt x="10" y="2"/>
                    <a:pt x="19" y="2"/>
                  </a:cubicBezTo>
                  <a:close/>
                  <a:moveTo>
                    <a:pt x="19" y="0"/>
                  </a:moveTo>
                  <a:cubicBezTo>
                    <a:pt x="12" y="0"/>
                    <a:pt x="12" y="0"/>
                    <a:pt x="12" y="0"/>
                  </a:cubicBezTo>
                  <a:cubicBezTo>
                    <a:pt x="6" y="2"/>
                    <a:pt x="6" y="2"/>
                    <a:pt x="6" y="2"/>
                  </a:cubicBezTo>
                  <a:cubicBezTo>
                    <a:pt x="2" y="4"/>
                    <a:pt x="2" y="4"/>
                    <a:pt x="2" y="4"/>
                  </a:cubicBezTo>
                  <a:cubicBezTo>
                    <a:pt x="1" y="6"/>
                    <a:pt x="1" y="6"/>
                    <a:pt x="1" y="6"/>
                  </a:cubicBezTo>
                  <a:cubicBezTo>
                    <a:pt x="0" y="7"/>
                    <a:pt x="0" y="7"/>
                    <a:pt x="0" y="7"/>
                  </a:cubicBezTo>
                  <a:cubicBezTo>
                    <a:pt x="0" y="36"/>
                    <a:pt x="0" y="36"/>
                    <a:pt x="0" y="36"/>
                  </a:cubicBezTo>
                  <a:cubicBezTo>
                    <a:pt x="1" y="37"/>
                    <a:pt x="1" y="37"/>
                    <a:pt x="1" y="37"/>
                  </a:cubicBezTo>
                  <a:cubicBezTo>
                    <a:pt x="2" y="39"/>
                    <a:pt x="2" y="39"/>
                    <a:pt x="2" y="39"/>
                  </a:cubicBezTo>
                  <a:cubicBezTo>
                    <a:pt x="6" y="41"/>
                    <a:pt x="6" y="41"/>
                    <a:pt x="6" y="41"/>
                  </a:cubicBezTo>
                  <a:cubicBezTo>
                    <a:pt x="12" y="42"/>
                    <a:pt x="12" y="42"/>
                    <a:pt x="12" y="42"/>
                  </a:cubicBezTo>
                  <a:cubicBezTo>
                    <a:pt x="14" y="43"/>
                    <a:pt x="16" y="43"/>
                    <a:pt x="19" y="43"/>
                  </a:cubicBezTo>
                  <a:cubicBezTo>
                    <a:pt x="24" y="43"/>
                    <a:pt x="28" y="42"/>
                    <a:pt x="32" y="41"/>
                  </a:cubicBezTo>
                  <a:cubicBezTo>
                    <a:pt x="33" y="40"/>
                    <a:pt x="35" y="39"/>
                    <a:pt x="35" y="39"/>
                  </a:cubicBezTo>
                  <a:cubicBezTo>
                    <a:pt x="36" y="38"/>
                    <a:pt x="36" y="38"/>
                    <a:pt x="36" y="37"/>
                  </a:cubicBezTo>
                  <a:cubicBezTo>
                    <a:pt x="37" y="37"/>
                    <a:pt x="37" y="36"/>
                    <a:pt x="37" y="36"/>
                  </a:cubicBezTo>
                  <a:cubicBezTo>
                    <a:pt x="37" y="7"/>
                    <a:pt x="37" y="7"/>
                    <a:pt x="37" y="7"/>
                  </a:cubicBezTo>
                  <a:cubicBezTo>
                    <a:pt x="37" y="6"/>
                    <a:pt x="36" y="5"/>
                    <a:pt x="35" y="4"/>
                  </a:cubicBezTo>
                  <a:cubicBezTo>
                    <a:pt x="35" y="3"/>
                    <a:pt x="33" y="3"/>
                    <a:pt x="32" y="2"/>
                  </a:cubicBezTo>
                  <a:cubicBezTo>
                    <a:pt x="30" y="1"/>
                    <a:pt x="28" y="1"/>
                    <a:pt x="26" y="0"/>
                  </a:cubicBezTo>
                  <a:cubicBezTo>
                    <a:pt x="24" y="0"/>
                    <a:pt x="21" y="0"/>
                    <a:pt x="19" y="0"/>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Freeform 110"/>
            <p:cNvSpPr>
              <a:spLocks noEditPoints="1"/>
            </p:cNvSpPr>
            <p:nvPr/>
          </p:nvSpPr>
          <p:spPr bwMode="auto">
            <a:xfrm>
              <a:off x="2497595" y="4771259"/>
              <a:ext cx="92075" cy="106363"/>
            </a:xfrm>
            <a:custGeom>
              <a:avLst/>
              <a:gdLst>
                <a:gd name="T0" fmla="*/ 21 w 41"/>
                <a:gd name="T1" fmla="*/ 3 h 48"/>
                <a:gd name="T2" fmla="*/ 38 w 41"/>
                <a:gd name="T3" fmla="*/ 7 h 48"/>
                <a:gd name="T4" fmla="*/ 21 w 41"/>
                <a:gd name="T5" fmla="*/ 12 h 48"/>
                <a:gd name="T6" fmla="*/ 4 w 41"/>
                <a:gd name="T7" fmla="*/ 7 h 48"/>
                <a:gd name="T8" fmla="*/ 21 w 41"/>
                <a:gd name="T9" fmla="*/ 3 h 48"/>
                <a:gd name="T10" fmla="*/ 21 w 41"/>
                <a:gd name="T11" fmla="*/ 0 h 48"/>
                <a:gd name="T12" fmla="*/ 13 w 41"/>
                <a:gd name="T13" fmla="*/ 1 h 48"/>
                <a:gd name="T14" fmla="*/ 6 w 41"/>
                <a:gd name="T15" fmla="*/ 2 h 48"/>
                <a:gd name="T16" fmla="*/ 2 w 41"/>
                <a:gd name="T17" fmla="*/ 5 h 48"/>
                <a:gd name="T18" fmla="*/ 1 w 41"/>
                <a:gd name="T19" fmla="*/ 7 h 48"/>
                <a:gd name="T20" fmla="*/ 0 w 41"/>
                <a:gd name="T21" fmla="*/ 8 h 48"/>
                <a:gd name="T22" fmla="*/ 0 w 41"/>
                <a:gd name="T23" fmla="*/ 40 h 48"/>
                <a:gd name="T24" fmla="*/ 1 w 41"/>
                <a:gd name="T25" fmla="*/ 42 h 48"/>
                <a:gd name="T26" fmla="*/ 2 w 41"/>
                <a:gd name="T27" fmla="*/ 43 h 48"/>
                <a:gd name="T28" fmla="*/ 6 w 41"/>
                <a:gd name="T29" fmla="*/ 46 h 48"/>
                <a:gd name="T30" fmla="*/ 13 w 41"/>
                <a:gd name="T31" fmla="*/ 48 h 48"/>
                <a:gd name="T32" fmla="*/ 21 w 41"/>
                <a:gd name="T33" fmla="*/ 48 h 48"/>
                <a:gd name="T34" fmla="*/ 35 w 41"/>
                <a:gd name="T35" fmla="*/ 46 h 48"/>
                <a:gd name="T36" fmla="*/ 40 w 41"/>
                <a:gd name="T37" fmla="*/ 43 h 48"/>
                <a:gd name="T38" fmla="*/ 41 w 41"/>
                <a:gd name="T39" fmla="*/ 42 h 48"/>
                <a:gd name="T40" fmla="*/ 41 w 41"/>
                <a:gd name="T41" fmla="*/ 40 h 48"/>
                <a:gd name="T42" fmla="*/ 41 w 41"/>
                <a:gd name="T43" fmla="*/ 8 h 48"/>
                <a:gd name="T44" fmla="*/ 40 w 41"/>
                <a:gd name="T45" fmla="*/ 5 h 48"/>
                <a:gd name="T46" fmla="*/ 35 w 41"/>
                <a:gd name="T47" fmla="*/ 2 h 48"/>
                <a:gd name="T48" fmla="*/ 29 w 41"/>
                <a:gd name="T49" fmla="*/ 1 h 48"/>
                <a:gd name="T50" fmla="*/ 21 w 41"/>
                <a:gd name="T5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 h="48">
                  <a:moveTo>
                    <a:pt x="21" y="3"/>
                  </a:moveTo>
                  <a:cubicBezTo>
                    <a:pt x="30" y="3"/>
                    <a:pt x="38" y="5"/>
                    <a:pt x="38" y="7"/>
                  </a:cubicBezTo>
                  <a:cubicBezTo>
                    <a:pt x="38" y="10"/>
                    <a:pt x="30" y="12"/>
                    <a:pt x="21" y="12"/>
                  </a:cubicBezTo>
                  <a:cubicBezTo>
                    <a:pt x="11" y="12"/>
                    <a:pt x="4" y="10"/>
                    <a:pt x="4" y="7"/>
                  </a:cubicBezTo>
                  <a:cubicBezTo>
                    <a:pt x="4" y="5"/>
                    <a:pt x="11" y="3"/>
                    <a:pt x="21" y="3"/>
                  </a:cubicBezTo>
                  <a:close/>
                  <a:moveTo>
                    <a:pt x="21" y="0"/>
                  </a:moveTo>
                  <a:cubicBezTo>
                    <a:pt x="13" y="1"/>
                    <a:pt x="13" y="1"/>
                    <a:pt x="13" y="1"/>
                  </a:cubicBezTo>
                  <a:cubicBezTo>
                    <a:pt x="6" y="2"/>
                    <a:pt x="6" y="2"/>
                    <a:pt x="6" y="2"/>
                  </a:cubicBezTo>
                  <a:cubicBezTo>
                    <a:pt x="2" y="5"/>
                    <a:pt x="2" y="5"/>
                    <a:pt x="2" y="5"/>
                  </a:cubicBezTo>
                  <a:cubicBezTo>
                    <a:pt x="1" y="7"/>
                    <a:pt x="1" y="7"/>
                    <a:pt x="1" y="7"/>
                  </a:cubicBezTo>
                  <a:cubicBezTo>
                    <a:pt x="0" y="8"/>
                    <a:pt x="0" y="8"/>
                    <a:pt x="0" y="8"/>
                  </a:cubicBezTo>
                  <a:cubicBezTo>
                    <a:pt x="0" y="40"/>
                    <a:pt x="0" y="40"/>
                    <a:pt x="0" y="40"/>
                  </a:cubicBezTo>
                  <a:cubicBezTo>
                    <a:pt x="1" y="42"/>
                    <a:pt x="1" y="42"/>
                    <a:pt x="1" y="42"/>
                  </a:cubicBezTo>
                  <a:cubicBezTo>
                    <a:pt x="2" y="43"/>
                    <a:pt x="2" y="43"/>
                    <a:pt x="2" y="43"/>
                  </a:cubicBezTo>
                  <a:cubicBezTo>
                    <a:pt x="6" y="46"/>
                    <a:pt x="6" y="46"/>
                    <a:pt x="6" y="46"/>
                  </a:cubicBezTo>
                  <a:cubicBezTo>
                    <a:pt x="13" y="48"/>
                    <a:pt x="13" y="48"/>
                    <a:pt x="13" y="48"/>
                  </a:cubicBezTo>
                  <a:cubicBezTo>
                    <a:pt x="15" y="48"/>
                    <a:pt x="18" y="48"/>
                    <a:pt x="21" y="48"/>
                  </a:cubicBezTo>
                  <a:cubicBezTo>
                    <a:pt x="26" y="48"/>
                    <a:pt x="31" y="47"/>
                    <a:pt x="35" y="46"/>
                  </a:cubicBezTo>
                  <a:cubicBezTo>
                    <a:pt x="37" y="45"/>
                    <a:pt x="38" y="44"/>
                    <a:pt x="40" y="43"/>
                  </a:cubicBezTo>
                  <a:cubicBezTo>
                    <a:pt x="40" y="43"/>
                    <a:pt x="40" y="42"/>
                    <a:pt x="41" y="42"/>
                  </a:cubicBezTo>
                  <a:cubicBezTo>
                    <a:pt x="41" y="41"/>
                    <a:pt x="41" y="41"/>
                    <a:pt x="41" y="40"/>
                  </a:cubicBezTo>
                  <a:cubicBezTo>
                    <a:pt x="41" y="8"/>
                    <a:pt x="41" y="8"/>
                    <a:pt x="41" y="8"/>
                  </a:cubicBezTo>
                  <a:cubicBezTo>
                    <a:pt x="41" y="7"/>
                    <a:pt x="41" y="6"/>
                    <a:pt x="40" y="5"/>
                  </a:cubicBezTo>
                  <a:cubicBezTo>
                    <a:pt x="38" y="4"/>
                    <a:pt x="37" y="3"/>
                    <a:pt x="35" y="2"/>
                  </a:cubicBezTo>
                  <a:cubicBezTo>
                    <a:pt x="33" y="2"/>
                    <a:pt x="31" y="1"/>
                    <a:pt x="29" y="1"/>
                  </a:cubicBezTo>
                  <a:cubicBezTo>
                    <a:pt x="26" y="0"/>
                    <a:pt x="24" y="0"/>
                    <a:pt x="21" y="0"/>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Freeform 111"/>
            <p:cNvSpPr>
              <a:spLocks noEditPoints="1"/>
            </p:cNvSpPr>
            <p:nvPr/>
          </p:nvSpPr>
          <p:spPr bwMode="auto">
            <a:xfrm>
              <a:off x="2375357" y="5212056"/>
              <a:ext cx="122238" cy="142875"/>
            </a:xfrm>
            <a:custGeom>
              <a:avLst/>
              <a:gdLst>
                <a:gd name="T0" fmla="*/ 27 w 55"/>
                <a:gd name="T1" fmla="*/ 4 h 64"/>
                <a:gd name="T2" fmla="*/ 50 w 55"/>
                <a:gd name="T3" fmla="*/ 10 h 64"/>
                <a:gd name="T4" fmla="*/ 27 w 55"/>
                <a:gd name="T5" fmla="*/ 16 h 64"/>
                <a:gd name="T6" fmla="*/ 5 w 55"/>
                <a:gd name="T7" fmla="*/ 10 h 64"/>
                <a:gd name="T8" fmla="*/ 27 w 55"/>
                <a:gd name="T9" fmla="*/ 4 h 64"/>
                <a:gd name="T10" fmla="*/ 28 w 55"/>
                <a:gd name="T11" fmla="*/ 0 h 64"/>
                <a:gd name="T12" fmla="*/ 17 w 55"/>
                <a:gd name="T13" fmla="*/ 1 h 64"/>
                <a:gd name="T14" fmla="*/ 8 w 55"/>
                <a:gd name="T15" fmla="*/ 3 h 64"/>
                <a:gd name="T16" fmla="*/ 3 w 55"/>
                <a:gd name="T17" fmla="*/ 7 h 64"/>
                <a:gd name="T18" fmla="*/ 1 w 55"/>
                <a:gd name="T19" fmla="*/ 9 h 64"/>
                <a:gd name="T20" fmla="*/ 0 w 55"/>
                <a:gd name="T21" fmla="*/ 11 h 64"/>
                <a:gd name="T22" fmla="*/ 0 w 55"/>
                <a:gd name="T23" fmla="*/ 54 h 64"/>
                <a:gd name="T24" fmla="*/ 1 w 55"/>
                <a:gd name="T25" fmla="*/ 56 h 64"/>
                <a:gd name="T26" fmla="*/ 3 w 55"/>
                <a:gd name="T27" fmla="*/ 58 h 64"/>
                <a:gd name="T28" fmla="*/ 8 w 55"/>
                <a:gd name="T29" fmla="*/ 61 h 64"/>
                <a:gd name="T30" fmla="*/ 17 w 55"/>
                <a:gd name="T31" fmla="*/ 64 h 64"/>
                <a:gd name="T32" fmla="*/ 28 w 55"/>
                <a:gd name="T33" fmla="*/ 64 h 64"/>
                <a:gd name="T34" fmla="*/ 47 w 55"/>
                <a:gd name="T35" fmla="*/ 61 h 64"/>
                <a:gd name="T36" fmla="*/ 53 w 55"/>
                <a:gd name="T37" fmla="*/ 58 h 64"/>
                <a:gd name="T38" fmla="*/ 54 w 55"/>
                <a:gd name="T39" fmla="*/ 56 h 64"/>
                <a:gd name="T40" fmla="*/ 55 w 55"/>
                <a:gd name="T41" fmla="*/ 54 h 64"/>
                <a:gd name="T42" fmla="*/ 55 w 55"/>
                <a:gd name="T43" fmla="*/ 11 h 64"/>
                <a:gd name="T44" fmla="*/ 53 w 55"/>
                <a:gd name="T45" fmla="*/ 7 h 64"/>
                <a:gd name="T46" fmla="*/ 47 w 55"/>
                <a:gd name="T47" fmla="*/ 3 h 64"/>
                <a:gd name="T48" fmla="*/ 38 w 55"/>
                <a:gd name="T49" fmla="*/ 1 h 64"/>
                <a:gd name="T50" fmla="*/ 28 w 55"/>
                <a:gd name="T5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4">
                  <a:moveTo>
                    <a:pt x="27" y="4"/>
                  </a:moveTo>
                  <a:cubicBezTo>
                    <a:pt x="40" y="4"/>
                    <a:pt x="50" y="6"/>
                    <a:pt x="50" y="10"/>
                  </a:cubicBezTo>
                  <a:cubicBezTo>
                    <a:pt x="50" y="13"/>
                    <a:pt x="40" y="16"/>
                    <a:pt x="27" y="16"/>
                  </a:cubicBezTo>
                  <a:cubicBezTo>
                    <a:pt x="15" y="16"/>
                    <a:pt x="5" y="13"/>
                    <a:pt x="5" y="10"/>
                  </a:cubicBezTo>
                  <a:cubicBezTo>
                    <a:pt x="5" y="6"/>
                    <a:pt x="15" y="4"/>
                    <a:pt x="27" y="4"/>
                  </a:cubicBezTo>
                  <a:close/>
                  <a:moveTo>
                    <a:pt x="28" y="0"/>
                  </a:moveTo>
                  <a:cubicBezTo>
                    <a:pt x="17" y="1"/>
                    <a:pt x="17" y="1"/>
                    <a:pt x="17" y="1"/>
                  </a:cubicBezTo>
                  <a:cubicBezTo>
                    <a:pt x="8" y="3"/>
                    <a:pt x="8" y="3"/>
                    <a:pt x="8" y="3"/>
                  </a:cubicBezTo>
                  <a:cubicBezTo>
                    <a:pt x="3" y="7"/>
                    <a:pt x="3" y="7"/>
                    <a:pt x="3" y="7"/>
                  </a:cubicBezTo>
                  <a:cubicBezTo>
                    <a:pt x="1" y="9"/>
                    <a:pt x="1" y="9"/>
                    <a:pt x="1" y="9"/>
                  </a:cubicBezTo>
                  <a:cubicBezTo>
                    <a:pt x="0" y="11"/>
                    <a:pt x="0" y="11"/>
                    <a:pt x="0" y="11"/>
                  </a:cubicBezTo>
                  <a:cubicBezTo>
                    <a:pt x="0" y="54"/>
                    <a:pt x="0" y="54"/>
                    <a:pt x="0" y="54"/>
                  </a:cubicBezTo>
                  <a:cubicBezTo>
                    <a:pt x="1" y="56"/>
                    <a:pt x="1" y="56"/>
                    <a:pt x="1" y="56"/>
                  </a:cubicBezTo>
                  <a:cubicBezTo>
                    <a:pt x="3" y="58"/>
                    <a:pt x="3" y="58"/>
                    <a:pt x="3" y="58"/>
                  </a:cubicBezTo>
                  <a:cubicBezTo>
                    <a:pt x="8" y="61"/>
                    <a:pt x="8" y="61"/>
                    <a:pt x="8" y="61"/>
                  </a:cubicBezTo>
                  <a:cubicBezTo>
                    <a:pt x="17" y="64"/>
                    <a:pt x="17" y="64"/>
                    <a:pt x="17" y="64"/>
                  </a:cubicBezTo>
                  <a:cubicBezTo>
                    <a:pt x="20" y="64"/>
                    <a:pt x="24" y="64"/>
                    <a:pt x="28" y="64"/>
                  </a:cubicBezTo>
                  <a:cubicBezTo>
                    <a:pt x="35" y="64"/>
                    <a:pt x="42" y="63"/>
                    <a:pt x="47" y="61"/>
                  </a:cubicBezTo>
                  <a:cubicBezTo>
                    <a:pt x="49" y="60"/>
                    <a:pt x="51" y="59"/>
                    <a:pt x="53" y="58"/>
                  </a:cubicBezTo>
                  <a:cubicBezTo>
                    <a:pt x="53" y="57"/>
                    <a:pt x="54" y="57"/>
                    <a:pt x="54" y="56"/>
                  </a:cubicBezTo>
                  <a:cubicBezTo>
                    <a:pt x="54" y="55"/>
                    <a:pt x="55" y="54"/>
                    <a:pt x="55" y="54"/>
                  </a:cubicBezTo>
                  <a:cubicBezTo>
                    <a:pt x="55" y="11"/>
                    <a:pt x="55" y="11"/>
                    <a:pt x="55" y="11"/>
                  </a:cubicBezTo>
                  <a:cubicBezTo>
                    <a:pt x="55" y="10"/>
                    <a:pt x="54" y="8"/>
                    <a:pt x="53" y="7"/>
                  </a:cubicBezTo>
                  <a:cubicBezTo>
                    <a:pt x="51" y="6"/>
                    <a:pt x="49" y="4"/>
                    <a:pt x="47" y="3"/>
                  </a:cubicBezTo>
                  <a:cubicBezTo>
                    <a:pt x="44" y="2"/>
                    <a:pt x="41" y="2"/>
                    <a:pt x="38" y="1"/>
                  </a:cubicBezTo>
                  <a:cubicBezTo>
                    <a:pt x="35" y="1"/>
                    <a:pt x="31" y="0"/>
                    <a:pt x="28"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Freeform 112"/>
            <p:cNvSpPr>
              <a:spLocks noEditPoints="1"/>
            </p:cNvSpPr>
            <p:nvPr/>
          </p:nvSpPr>
          <p:spPr bwMode="auto">
            <a:xfrm>
              <a:off x="2452856" y="4941888"/>
              <a:ext cx="109538" cy="128588"/>
            </a:xfrm>
            <a:custGeom>
              <a:avLst/>
              <a:gdLst>
                <a:gd name="T0" fmla="*/ 24 w 49"/>
                <a:gd name="T1" fmla="*/ 3 h 58"/>
                <a:gd name="T2" fmla="*/ 45 w 49"/>
                <a:gd name="T3" fmla="*/ 9 h 58"/>
                <a:gd name="T4" fmla="*/ 24 w 49"/>
                <a:gd name="T5" fmla="*/ 15 h 58"/>
                <a:gd name="T6" fmla="*/ 4 w 49"/>
                <a:gd name="T7" fmla="*/ 9 h 58"/>
                <a:gd name="T8" fmla="*/ 24 w 49"/>
                <a:gd name="T9" fmla="*/ 3 h 58"/>
                <a:gd name="T10" fmla="*/ 24 w 49"/>
                <a:gd name="T11" fmla="*/ 0 h 58"/>
                <a:gd name="T12" fmla="*/ 15 w 49"/>
                <a:gd name="T13" fmla="*/ 1 h 58"/>
                <a:gd name="T14" fmla="*/ 7 w 49"/>
                <a:gd name="T15" fmla="*/ 3 h 58"/>
                <a:gd name="T16" fmla="*/ 2 w 49"/>
                <a:gd name="T17" fmla="*/ 6 h 58"/>
                <a:gd name="T18" fmla="*/ 0 w 49"/>
                <a:gd name="T19" fmla="*/ 8 h 58"/>
                <a:gd name="T20" fmla="*/ 0 w 49"/>
                <a:gd name="T21" fmla="*/ 10 h 58"/>
                <a:gd name="T22" fmla="*/ 0 w 49"/>
                <a:gd name="T23" fmla="*/ 48 h 58"/>
                <a:gd name="T24" fmla="*/ 0 w 49"/>
                <a:gd name="T25" fmla="*/ 50 h 58"/>
                <a:gd name="T26" fmla="*/ 2 w 49"/>
                <a:gd name="T27" fmla="*/ 52 h 58"/>
                <a:gd name="T28" fmla="*/ 7 w 49"/>
                <a:gd name="T29" fmla="*/ 55 h 58"/>
                <a:gd name="T30" fmla="*/ 15 w 49"/>
                <a:gd name="T31" fmla="*/ 57 h 58"/>
                <a:gd name="T32" fmla="*/ 24 w 49"/>
                <a:gd name="T33" fmla="*/ 58 h 58"/>
                <a:gd name="T34" fmla="*/ 42 w 49"/>
                <a:gd name="T35" fmla="*/ 55 h 58"/>
                <a:gd name="T36" fmla="*/ 47 w 49"/>
                <a:gd name="T37" fmla="*/ 52 h 58"/>
                <a:gd name="T38" fmla="*/ 48 w 49"/>
                <a:gd name="T39" fmla="*/ 50 h 58"/>
                <a:gd name="T40" fmla="*/ 49 w 49"/>
                <a:gd name="T41" fmla="*/ 48 h 58"/>
                <a:gd name="T42" fmla="*/ 49 w 49"/>
                <a:gd name="T43" fmla="*/ 10 h 58"/>
                <a:gd name="T44" fmla="*/ 47 w 49"/>
                <a:gd name="T45" fmla="*/ 6 h 58"/>
                <a:gd name="T46" fmla="*/ 42 w 49"/>
                <a:gd name="T47" fmla="*/ 3 h 58"/>
                <a:gd name="T48" fmla="*/ 34 w 49"/>
                <a:gd name="T49" fmla="*/ 1 h 58"/>
                <a:gd name="T50" fmla="*/ 24 w 49"/>
                <a:gd name="T5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8">
                  <a:moveTo>
                    <a:pt x="24" y="3"/>
                  </a:moveTo>
                  <a:cubicBezTo>
                    <a:pt x="36" y="3"/>
                    <a:pt x="45" y="6"/>
                    <a:pt x="45" y="9"/>
                  </a:cubicBezTo>
                  <a:cubicBezTo>
                    <a:pt x="45" y="12"/>
                    <a:pt x="36" y="15"/>
                    <a:pt x="24" y="15"/>
                  </a:cubicBezTo>
                  <a:cubicBezTo>
                    <a:pt x="13" y="15"/>
                    <a:pt x="4" y="12"/>
                    <a:pt x="4" y="9"/>
                  </a:cubicBezTo>
                  <a:cubicBezTo>
                    <a:pt x="4" y="6"/>
                    <a:pt x="13" y="3"/>
                    <a:pt x="24" y="3"/>
                  </a:cubicBezTo>
                  <a:close/>
                  <a:moveTo>
                    <a:pt x="24" y="0"/>
                  </a:moveTo>
                  <a:cubicBezTo>
                    <a:pt x="15" y="1"/>
                    <a:pt x="15" y="1"/>
                    <a:pt x="15" y="1"/>
                  </a:cubicBezTo>
                  <a:cubicBezTo>
                    <a:pt x="7" y="3"/>
                    <a:pt x="7" y="3"/>
                    <a:pt x="7" y="3"/>
                  </a:cubicBezTo>
                  <a:cubicBezTo>
                    <a:pt x="2" y="6"/>
                    <a:pt x="2" y="6"/>
                    <a:pt x="2" y="6"/>
                  </a:cubicBezTo>
                  <a:cubicBezTo>
                    <a:pt x="0" y="8"/>
                    <a:pt x="0" y="8"/>
                    <a:pt x="0" y="8"/>
                  </a:cubicBezTo>
                  <a:cubicBezTo>
                    <a:pt x="0" y="10"/>
                    <a:pt x="0" y="10"/>
                    <a:pt x="0" y="10"/>
                  </a:cubicBezTo>
                  <a:cubicBezTo>
                    <a:pt x="0" y="48"/>
                    <a:pt x="0" y="48"/>
                    <a:pt x="0" y="48"/>
                  </a:cubicBezTo>
                  <a:cubicBezTo>
                    <a:pt x="0" y="50"/>
                    <a:pt x="0" y="50"/>
                    <a:pt x="0" y="50"/>
                  </a:cubicBezTo>
                  <a:cubicBezTo>
                    <a:pt x="2" y="52"/>
                    <a:pt x="2" y="52"/>
                    <a:pt x="2" y="52"/>
                  </a:cubicBezTo>
                  <a:cubicBezTo>
                    <a:pt x="7" y="55"/>
                    <a:pt x="7" y="55"/>
                    <a:pt x="7" y="55"/>
                  </a:cubicBezTo>
                  <a:cubicBezTo>
                    <a:pt x="15" y="57"/>
                    <a:pt x="15" y="57"/>
                    <a:pt x="15" y="57"/>
                  </a:cubicBezTo>
                  <a:cubicBezTo>
                    <a:pt x="18" y="58"/>
                    <a:pt x="21" y="58"/>
                    <a:pt x="24" y="58"/>
                  </a:cubicBezTo>
                  <a:cubicBezTo>
                    <a:pt x="31" y="58"/>
                    <a:pt x="37" y="57"/>
                    <a:pt x="42" y="55"/>
                  </a:cubicBezTo>
                  <a:cubicBezTo>
                    <a:pt x="44" y="54"/>
                    <a:pt x="46" y="53"/>
                    <a:pt x="47" y="52"/>
                  </a:cubicBezTo>
                  <a:cubicBezTo>
                    <a:pt x="48" y="52"/>
                    <a:pt x="48" y="51"/>
                    <a:pt x="48" y="50"/>
                  </a:cubicBezTo>
                  <a:cubicBezTo>
                    <a:pt x="49" y="50"/>
                    <a:pt x="49" y="49"/>
                    <a:pt x="49" y="48"/>
                  </a:cubicBezTo>
                  <a:cubicBezTo>
                    <a:pt x="49" y="10"/>
                    <a:pt x="49" y="10"/>
                    <a:pt x="49" y="10"/>
                  </a:cubicBezTo>
                  <a:cubicBezTo>
                    <a:pt x="49" y="8"/>
                    <a:pt x="48" y="7"/>
                    <a:pt x="47" y="6"/>
                  </a:cubicBezTo>
                  <a:cubicBezTo>
                    <a:pt x="46" y="5"/>
                    <a:pt x="44" y="4"/>
                    <a:pt x="42" y="3"/>
                  </a:cubicBezTo>
                  <a:cubicBezTo>
                    <a:pt x="40" y="2"/>
                    <a:pt x="37" y="1"/>
                    <a:pt x="34" y="1"/>
                  </a:cubicBezTo>
                  <a:cubicBezTo>
                    <a:pt x="31" y="0"/>
                    <a:pt x="28" y="0"/>
                    <a:pt x="24"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83" name="Group 382"/>
            <p:cNvGrpSpPr/>
            <p:nvPr/>
          </p:nvGrpSpPr>
          <p:grpSpPr>
            <a:xfrm>
              <a:off x="1766902" y="4991182"/>
              <a:ext cx="155575" cy="190500"/>
              <a:chOff x="2833697" y="4784581"/>
              <a:chExt cx="155575" cy="190500"/>
            </a:xfrm>
          </p:grpSpPr>
          <p:sp>
            <p:nvSpPr>
              <p:cNvPr id="326" name="Freeform 114"/>
              <p:cNvSpPr>
                <a:spLocks/>
              </p:cNvSpPr>
              <p:nvPr/>
            </p:nvSpPr>
            <p:spPr bwMode="auto">
              <a:xfrm>
                <a:off x="2862272" y="4862369"/>
                <a:ext cx="96838" cy="12700"/>
              </a:xfrm>
              <a:custGeom>
                <a:avLst/>
                <a:gdLst>
                  <a:gd name="T0" fmla="*/ 57 w 61"/>
                  <a:gd name="T1" fmla="*/ 8 h 8"/>
                  <a:gd name="T2" fmla="*/ 4 w 61"/>
                  <a:gd name="T3" fmla="*/ 8 h 8"/>
                  <a:gd name="T4" fmla="*/ 3 w 61"/>
                  <a:gd name="T5" fmla="*/ 8 h 8"/>
                  <a:gd name="T6" fmla="*/ 3 w 61"/>
                  <a:gd name="T7" fmla="*/ 8 h 8"/>
                  <a:gd name="T8" fmla="*/ 0 w 61"/>
                  <a:gd name="T9" fmla="*/ 4 h 8"/>
                  <a:gd name="T10" fmla="*/ 3 w 61"/>
                  <a:gd name="T11" fmla="*/ 2 h 8"/>
                  <a:gd name="T12" fmla="*/ 3 w 61"/>
                  <a:gd name="T13" fmla="*/ 1 h 8"/>
                  <a:gd name="T14" fmla="*/ 4 w 61"/>
                  <a:gd name="T15" fmla="*/ 0 h 8"/>
                  <a:gd name="T16" fmla="*/ 57 w 61"/>
                  <a:gd name="T17" fmla="*/ 0 h 8"/>
                  <a:gd name="T18" fmla="*/ 59 w 61"/>
                  <a:gd name="T19" fmla="*/ 1 h 8"/>
                  <a:gd name="T20" fmla="*/ 60 w 61"/>
                  <a:gd name="T21" fmla="*/ 2 h 8"/>
                  <a:gd name="T22" fmla="*/ 61 w 61"/>
                  <a:gd name="T23" fmla="*/ 4 h 8"/>
                  <a:gd name="T24" fmla="*/ 61 w 61"/>
                  <a:gd name="T25" fmla="*/ 7 h 8"/>
                  <a:gd name="T26" fmla="*/ 60 w 61"/>
                  <a:gd name="T27" fmla="*/ 8 h 8"/>
                  <a:gd name="T28" fmla="*/ 59 w 61"/>
                  <a:gd name="T29" fmla="*/ 8 h 8"/>
                  <a:gd name="T30" fmla="*/ 57 w 61"/>
                  <a:gd name="T3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8">
                    <a:moveTo>
                      <a:pt x="57" y="8"/>
                    </a:moveTo>
                    <a:lnTo>
                      <a:pt x="4" y="8"/>
                    </a:lnTo>
                    <a:lnTo>
                      <a:pt x="3" y="8"/>
                    </a:lnTo>
                    <a:lnTo>
                      <a:pt x="3" y="8"/>
                    </a:lnTo>
                    <a:lnTo>
                      <a:pt x="0" y="4"/>
                    </a:lnTo>
                    <a:lnTo>
                      <a:pt x="3" y="2"/>
                    </a:lnTo>
                    <a:lnTo>
                      <a:pt x="3" y="1"/>
                    </a:lnTo>
                    <a:lnTo>
                      <a:pt x="4" y="0"/>
                    </a:lnTo>
                    <a:lnTo>
                      <a:pt x="57" y="0"/>
                    </a:lnTo>
                    <a:lnTo>
                      <a:pt x="59" y="1"/>
                    </a:lnTo>
                    <a:lnTo>
                      <a:pt x="60" y="2"/>
                    </a:lnTo>
                    <a:lnTo>
                      <a:pt x="61" y="4"/>
                    </a:lnTo>
                    <a:lnTo>
                      <a:pt x="61" y="7"/>
                    </a:lnTo>
                    <a:lnTo>
                      <a:pt x="60" y="8"/>
                    </a:lnTo>
                    <a:lnTo>
                      <a:pt x="59" y="8"/>
                    </a:lnTo>
                    <a:lnTo>
                      <a:pt x="57" y="8"/>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Freeform 115"/>
              <p:cNvSpPr>
                <a:spLocks/>
              </p:cNvSpPr>
              <p:nvPr/>
            </p:nvSpPr>
            <p:spPr bwMode="auto">
              <a:xfrm>
                <a:off x="2901959" y="4836969"/>
                <a:ext cx="57150" cy="14288"/>
              </a:xfrm>
              <a:custGeom>
                <a:avLst/>
                <a:gdLst>
                  <a:gd name="T0" fmla="*/ 32 w 36"/>
                  <a:gd name="T1" fmla="*/ 9 h 9"/>
                  <a:gd name="T2" fmla="*/ 3 w 36"/>
                  <a:gd name="T3" fmla="*/ 9 h 9"/>
                  <a:gd name="T4" fmla="*/ 1 w 36"/>
                  <a:gd name="T5" fmla="*/ 7 h 9"/>
                  <a:gd name="T6" fmla="*/ 0 w 36"/>
                  <a:gd name="T7" fmla="*/ 7 h 9"/>
                  <a:gd name="T8" fmla="*/ 0 w 36"/>
                  <a:gd name="T9" fmla="*/ 4 h 9"/>
                  <a:gd name="T10" fmla="*/ 0 w 36"/>
                  <a:gd name="T11" fmla="*/ 4 h 9"/>
                  <a:gd name="T12" fmla="*/ 0 w 36"/>
                  <a:gd name="T13" fmla="*/ 2 h 9"/>
                  <a:gd name="T14" fmla="*/ 0 w 36"/>
                  <a:gd name="T15" fmla="*/ 0 h 9"/>
                  <a:gd name="T16" fmla="*/ 3 w 36"/>
                  <a:gd name="T17" fmla="*/ 0 h 9"/>
                  <a:gd name="T18" fmla="*/ 32 w 36"/>
                  <a:gd name="T19" fmla="*/ 0 h 9"/>
                  <a:gd name="T20" fmla="*/ 34 w 36"/>
                  <a:gd name="T21" fmla="*/ 0 h 9"/>
                  <a:gd name="T22" fmla="*/ 35 w 36"/>
                  <a:gd name="T23" fmla="*/ 0 h 9"/>
                  <a:gd name="T24" fmla="*/ 36 w 36"/>
                  <a:gd name="T25" fmla="*/ 2 h 9"/>
                  <a:gd name="T26" fmla="*/ 36 w 36"/>
                  <a:gd name="T27" fmla="*/ 4 h 9"/>
                  <a:gd name="T28" fmla="*/ 36 w 36"/>
                  <a:gd name="T29" fmla="*/ 4 h 9"/>
                  <a:gd name="T30" fmla="*/ 35 w 36"/>
                  <a:gd name="T31" fmla="*/ 7 h 9"/>
                  <a:gd name="T32" fmla="*/ 34 w 36"/>
                  <a:gd name="T33" fmla="*/ 7 h 9"/>
                  <a:gd name="T34" fmla="*/ 32 w 36"/>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9">
                    <a:moveTo>
                      <a:pt x="32" y="9"/>
                    </a:moveTo>
                    <a:lnTo>
                      <a:pt x="3" y="9"/>
                    </a:lnTo>
                    <a:lnTo>
                      <a:pt x="1" y="7"/>
                    </a:lnTo>
                    <a:lnTo>
                      <a:pt x="0" y="7"/>
                    </a:lnTo>
                    <a:lnTo>
                      <a:pt x="0" y="4"/>
                    </a:lnTo>
                    <a:lnTo>
                      <a:pt x="0" y="4"/>
                    </a:lnTo>
                    <a:lnTo>
                      <a:pt x="0" y="2"/>
                    </a:lnTo>
                    <a:lnTo>
                      <a:pt x="0" y="0"/>
                    </a:lnTo>
                    <a:lnTo>
                      <a:pt x="3" y="0"/>
                    </a:lnTo>
                    <a:lnTo>
                      <a:pt x="32" y="0"/>
                    </a:lnTo>
                    <a:lnTo>
                      <a:pt x="34" y="0"/>
                    </a:lnTo>
                    <a:lnTo>
                      <a:pt x="35" y="0"/>
                    </a:lnTo>
                    <a:lnTo>
                      <a:pt x="36" y="2"/>
                    </a:lnTo>
                    <a:lnTo>
                      <a:pt x="36" y="4"/>
                    </a:lnTo>
                    <a:lnTo>
                      <a:pt x="36" y="4"/>
                    </a:lnTo>
                    <a:lnTo>
                      <a:pt x="35" y="7"/>
                    </a:lnTo>
                    <a:lnTo>
                      <a:pt x="34" y="7"/>
                    </a:lnTo>
                    <a:lnTo>
                      <a:pt x="32" y="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Freeform 116"/>
              <p:cNvSpPr>
                <a:spLocks/>
              </p:cNvSpPr>
              <p:nvPr/>
            </p:nvSpPr>
            <p:spPr bwMode="auto">
              <a:xfrm>
                <a:off x="2862272" y="4890944"/>
                <a:ext cx="96838" cy="12700"/>
              </a:xfrm>
              <a:custGeom>
                <a:avLst/>
                <a:gdLst>
                  <a:gd name="T0" fmla="*/ 57 w 61"/>
                  <a:gd name="T1" fmla="*/ 8 h 8"/>
                  <a:gd name="T2" fmla="*/ 4 w 61"/>
                  <a:gd name="T3" fmla="*/ 8 h 8"/>
                  <a:gd name="T4" fmla="*/ 3 w 61"/>
                  <a:gd name="T5" fmla="*/ 7 h 8"/>
                  <a:gd name="T6" fmla="*/ 3 w 61"/>
                  <a:gd name="T7" fmla="*/ 5 h 8"/>
                  <a:gd name="T8" fmla="*/ 0 w 61"/>
                  <a:gd name="T9" fmla="*/ 4 h 8"/>
                  <a:gd name="T10" fmla="*/ 3 w 61"/>
                  <a:gd name="T11" fmla="*/ 1 h 8"/>
                  <a:gd name="T12" fmla="*/ 3 w 61"/>
                  <a:gd name="T13" fmla="*/ 0 h 8"/>
                  <a:gd name="T14" fmla="*/ 4 w 61"/>
                  <a:gd name="T15" fmla="*/ 0 h 8"/>
                  <a:gd name="T16" fmla="*/ 57 w 61"/>
                  <a:gd name="T17" fmla="*/ 0 h 8"/>
                  <a:gd name="T18" fmla="*/ 59 w 61"/>
                  <a:gd name="T19" fmla="*/ 0 h 8"/>
                  <a:gd name="T20" fmla="*/ 60 w 61"/>
                  <a:gd name="T21" fmla="*/ 1 h 8"/>
                  <a:gd name="T22" fmla="*/ 61 w 61"/>
                  <a:gd name="T23" fmla="*/ 1 h 8"/>
                  <a:gd name="T24" fmla="*/ 61 w 61"/>
                  <a:gd name="T25" fmla="*/ 4 h 8"/>
                  <a:gd name="T26" fmla="*/ 60 w 61"/>
                  <a:gd name="T27" fmla="*/ 5 h 8"/>
                  <a:gd name="T28" fmla="*/ 59 w 61"/>
                  <a:gd name="T29" fmla="*/ 7 h 8"/>
                  <a:gd name="T30" fmla="*/ 57 w 61"/>
                  <a:gd name="T3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8">
                    <a:moveTo>
                      <a:pt x="57" y="8"/>
                    </a:moveTo>
                    <a:lnTo>
                      <a:pt x="4" y="8"/>
                    </a:lnTo>
                    <a:lnTo>
                      <a:pt x="3" y="7"/>
                    </a:lnTo>
                    <a:lnTo>
                      <a:pt x="3" y="5"/>
                    </a:lnTo>
                    <a:lnTo>
                      <a:pt x="0" y="4"/>
                    </a:lnTo>
                    <a:lnTo>
                      <a:pt x="3" y="1"/>
                    </a:lnTo>
                    <a:lnTo>
                      <a:pt x="3" y="0"/>
                    </a:lnTo>
                    <a:lnTo>
                      <a:pt x="4" y="0"/>
                    </a:lnTo>
                    <a:lnTo>
                      <a:pt x="57" y="0"/>
                    </a:lnTo>
                    <a:lnTo>
                      <a:pt x="59" y="0"/>
                    </a:lnTo>
                    <a:lnTo>
                      <a:pt x="60" y="1"/>
                    </a:lnTo>
                    <a:lnTo>
                      <a:pt x="61" y="1"/>
                    </a:lnTo>
                    <a:lnTo>
                      <a:pt x="61" y="4"/>
                    </a:lnTo>
                    <a:lnTo>
                      <a:pt x="60" y="5"/>
                    </a:lnTo>
                    <a:lnTo>
                      <a:pt x="59" y="7"/>
                    </a:lnTo>
                    <a:lnTo>
                      <a:pt x="57" y="8"/>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Freeform 117"/>
              <p:cNvSpPr>
                <a:spLocks/>
              </p:cNvSpPr>
              <p:nvPr/>
            </p:nvSpPr>
            <p:spPr bwMode="auto">
              <a:xfrm>
                <a:off x="2862272" y="4917931"/>
                <a:ext cx="96838" cy="12700"/>
              </a:xfrm>
              <a:custGeom>
                <a:avLst/>
                <a:gdLst>
                  <a:gd name="T0" fmla="*/ 57 w 61"/>
                  <a:gd name="T1" fmla="*/ 8 h 8"/>
                  <a:gd name="T2" fmla="*/ 4 w 61"/>
                  <a:gd name="T3" fmla="*/ 8 h 8"/>
                  <a:gd name="T4" fmla="*/ 3 w 61"/>
                  <a:gd name="T5" fmla="*/ 8 h 8"/>
                  <a:gd name="T6" fmla="*/ 3 w 61"/>
                  <a:gd name="T7" fmla="*/ 7 h 8"/>
                  <a:gd name="T8" fmla="*/ 1 w 61"/>
                  <a:gd name="T9" fmla="*/ 5 h 8"/>
                  <a:gd name="T10" fmla="*/ 0 w 61"/>
                  <a:gd name="T11" fmla="*/ 4 h 8"/>
                  <a:gd name="T12" fmla="*/ 3 w 61"/>
                  <a:gd name="T13" fmla="*/ 0 h 8"/>
                  <a:gd name="T14" fmla="*/ 3 w 61"/>
                  <a:gd name="T15" fmla="*/ 0 h 8"/>
                  <a:gd name="T16" fmla="*/ 4 w 61"/>
                  <a:gd name="T17" fmla="*/ 0 h 8"/>
                  <a:gd name="T18" fmla="*/ 57 w 61"/>
                  <a:gd name="T19" fmla="*/ 0 h 8"/>
                  <a:gd name="T20" fmla="*/ 59 w 61"/>
                  <a:gd name="T21" fmla="*/ 0 h 8"/>
                  <a:gd name="T22" fmla="*/ 60 w 61"/>
                  <a:gd name="T23" fmla="*/ 0 h 8"/>
                  <a:gd name="T24" fmla="*/ 61 w 61"/>
                  <a:gd name="T25" fmla="*/ 2 h 8"/>
                  <a:gd name="T26" fmla="*/ 61 w 61"/>
                  <a:gd name="T27" fmla="*/ 4 h 8"/>
                  <a:gd name="T28" fmla="*/ 61 w 61"/>
                  <a:gd name="T29" fmla="*/ 5 h 8"/>
                  <a:gd name="T30" fmla="*/ 60 w 61"/>
                  <a:gd name="T31" fmla="*/ 7 h 8"/>
                  <a:gd name="T32" fmla="*/ 59 w 61"/>
                  <a:gd name="T33" fmla="*/ 8 h 8"/>
                  <a:gd name="T34" fmla="*/ 57 w 61"/>
                  <a:gd name="T3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8">
                    <a:moveTo>
                      <a:pt x="57" y="8"/>
                    </a:moveTo>
                    <a:lnTo>
                      <a:pt x="4" y="8"/>
                    </a:lnTo>
                    <a:lnTo>
                      <a:pt x="3" y="8"/>
                    </a:lnTo>
                    <a:lnTo>
                      <a:pt x="3" y="7"/>
                    </a:lnTo>
                    <a:lnTo>
                      <a:pt x="1" y="5"/>
                    </a:lnTo>
                    <a:lnTo>
                      <a:pt x="0" y="4"/>
                    </a:lnTo>
                    <a:lnTo>
                      <a:pt x="3" y="0"/>
                    </a:lnTo>
                    <a:lnTo>
                      <a:pt x="3" y="0"/>
                    </a:lnTo>
                    <a:lnTo>
                      <a:pt x="4" y="0"/>
                    </a:lnTo>
                    <a:lnTo>
                      <a:pt x="57" y="0"/>
                    </a:lnTo>
                    <a:lnTo>
                      <a:pt x="59" y="0"/>
                    </a:lnTo>
                    <a:lnTo>
                      <a:pt x="60" y="0"/>
                    </a:lnTo>
                    <a:lnTo>
                      <a:pt x="61" y="2"/>
                    </a:lnTo>
                    <a:lnTo>
                      <a:pt x="61" y="4"/>
                    </a:lnTo>
                    <a:lnTo>
                      <a:pt x="61" y="5"/>
                    </a:lnTo>
                    <a:lnTo>
                      <a:pt x="60" y="7"/>
                    </a:lnTo>
                    <a:lnTo>
                      <a:pt x="59" y="8"/>
                    </a:lnTo>
                    <a:lnTo>
                      <a:pt x="57" y="8"/>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118"/>
              <p:cNvSpPr>
                <a:spLocks noEditPoints="1"/>
              </p:cNvSpPr>
              <p:nvPr/>
            </p:nvSpPr>
            <p:spPr bwMode="auto">
              <a:xfrm>
                <a:off x="2833697" y="4784581"/>
                <a:ext cx="155575" cy="190500"/>
              </a:xfrm>
              <a:custGeom>
                <a:avLst/>
                <a:gdLst>
                  <a:gd name="T0" fmla="*/ 88 w 98"/>
                  <a:gd name="T1" fmla="*/ 0 h 120"/>
                  <a:gd name="T2" fmla="*/ 32 w 98"/>
                  <a:gd name="T3" fmla="*/ 0 h 120"/>
                  <a:gd name="T4" fmla="*/ 0 w 98"/>
                  <a:gd name="T5" fmla="*/ 30 h 120"/>
                  <a:gd name="T6" fmla="*/ 0 w 98"/>
                  <a:gd name="T7" fmla="*/ 110 h 120"/>
                  <a:gd name="T8" fmla="*/ 1 w 98"/>
                  <a:gd name="T9" fmla="*/ 114 h 120"/>
                  <a:gd name="T10" fmla="*/ 2 w 98"/>
                  <a:gd name="T11" fmla="*/ 117 h 120"/>
                  <a:gd name="T12" fmla="*/ 5 w 98"/>
                  <a:gd name="T13" fmla="*/ 119 h 120"/>
                  <a:gd name="T14" fmla="*/ 9 w 98"/>
                  <a:gd name="T15" fmla="*/ 120 h 120"/>
                  <a:gd name="T16" fmla="*/ 98 w 98"/>
                  <a:gd name="T17" fmla="*/ 120 h 120"/>
                  <a:gd name="T18" fmla="*/ 98 w 98"/>
                  <a:gd name="T19" fmla="*/ 11 h 120"/>
                  <a:gd name="T20" fmla="*/ 96 w 98"/>
                  <a:gd name="T21" fmla="*/ 7 h 120"/>
                  <a:gd name="T22" fmla="*/ 95 w 98"/>
                  <a:gd name="T23" fmla="*/ 4 h 120"/>
                  <a:gd name="T24" fmla="*/ 92 w 98"/>
                  <a:gd name="T25" fmla="*/ 1 h 120"/>
                  <a:gd name="T26" fmla="*/ 88 w 98"/>
                  <a:gd name="T27" fmla="*/ 0 h 120"/>
                  <a:gd name="T28" fmla="*/ 91 w 98"/>
                  <a:gd name="T29" fmla="*/ 112 h 120"/>
                  <a:gd name="T30" fmla="*/ 14 w 98"/>
                  <a:gd name="T31" fmla="*/ 112 h 120"/>
                  <a:gd name="T32" fmla="*/ 12 w 98"/>
                  <a:gd name="T33" fmla="*/ 112 h 120"/>
                  <a:gd name="T34" fmla="*/ 9 w 98"/>
                  <a:gd name="T35" fmla="*/ 110 h 120"/>
                  <a:gd name="T36" fmla="*/ 8 w 98"/>
                  <a:gd name="T37" fmla="*/ 107 h 120"/>
                  <a:gd name="T38" fmla="*/ 8 w 98"/>
                  <a:gd name="T39" fmla="*/ 106 h 120"/>
                  <a:gd name="T40" fmla="*/ 8 w 98"/>
                  <a:gd name="T41" fmla="*/ 35 h 120"/>
                  <a:gd name="T42" fmla="*/ 26 w 98"/>
                  <a:gd name="T43" fmla="*/ 35 h 120"/>
                  <a:gd name="T44" fmla="*/ 29 w 98"/>
                  <a:gd name="T45" fmla="*/ 35 h 120"/>
                  <a:gd name="T46" fmla="*/ 32 w 98"/>
                  <a:gd name="T47" fmla="*/ 33 h 120"/>
                  <a:gd name="T48" fmla="*/ 35 w 98"/>
                  <a:gd name="T49" fmla="*/ 30 h 120"/>
                  <a:gd name="T50" fmla="*/ 35 w 98"/>
                  <a:gd name="T51" fmla="*/ 26 h 120"/>
                  <a:gd name="T52" fmla="*/ 35 w 98"/>
                  <a:gd name="T53" fmla="*/ 8 h 120"/>
                  <a:gd name="T54" fmla="*/ 85 w 98"/>
                  <a:gd name="T55" fmla="*/ 8 h 120"/>
                  <a:gd name="T56" fmla="*/ 86 w 98"/>
                  <a:gd name="T57" fmla="*/ 8 h 120"/>
                  <a:gd name="T58" fmla="*/ 88 w 98"/>
                  <a:gd name="T59" fmla="*/ 9 h 120"/>
                  <a:gd name="T60" fmla="*/ 91 w 98"/>
                  <a:gd name="T61" fmla="*/ 12 h 120"/>
                  <a:gd name="T62" fmla="*/ 91 w 98"/>
                  <a:gd name="T63" fmla="*/ 15 h 120"/>
                  <a:gd name="T64" fmla="*/ 91 w 98"/>
                  <a:gd name="T65"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8" h="120">
                    <a:moveTo>
                      <a:pt x="88" y="0"/>
                    </a:moveTo>
                    <a:lnTo>
                      <a:pt x="32" y="0"/>
                    </a:lnTo>
                    <a:lnTo>
                      <a:pt x="0" y="30"/>
                    </a:lnTo>
                    <a:lnTo>
                      <a:pt x="0" y="110"/>
                    </a:lnTo>
                    <a:lnTo>
                      <a:pt x="1" y="114"/>
                    </a:lnTo>
                    <a:lnTo>
                      <a:pt x="2" y="117"/>
                    </a:lnTo>
                    <a:lnTo>
                      <a:pt x="5" y="119"/>
                    </a:lnTo>
                    <a:lnTo>
                      <a:pt x="9" y="120"/>
                    </a:lnTo>
                    <a:lnTo>
                      <a:pt x="98" y="120"/>
                    </a:lnTo>
                    <a:lnTo>
                      <a:pt x="98" y="11"/>
                    </a:lnTo>
                    <a:lnTo>
                      <a:pt x="96" y="7"/>
                    </a:lnTo>
                    <a:lnTo>
                      <a:pt x="95" y="4"/>
                    </a:lnTo>
                    <a:lnTo>
                      <a:pt x="92" y="1"/>
                    </a:lnTo>
                    <a:lnTo>
                      <a:pt x="88" y="0"/>
                    </a:lnTo>
                    <a:close/>
                    <a:moveTo>
                      <a:pt x="91" y="112"/>
                    </a:moveTo>
                    <a:lnTo>
                      <a:pt x="14" y="112"/>
                    </a:lnTo>
                    <a:lnTo>
                      <a:pt x="12" y="112"/>
                    </a:lnTo>
                    <a:lnTo>
                      <a:pt x="9" y="110"/>
                    </a:lnTo>
                    <a:lnTo>
                      <a:pt x="8" y="107"/>
                    </a:lnTo>
                    <a:lnTo>
                      <a:pt x="8" y="106"/>
                    </a:lnTo>
                    <a:lnTo>
                      <a:pt x="8" y="35"/>
                    </a:lnTo>
                    <a:lnTo>
                      <a:pt x="26" y="35"/>
                    </a:lnTo>
                    <a:lnTo>
                      <a:pt x="29" y="35"/>
                    </a:lnTo>
                    <a:lnTo>
                      <a:pt x="32" y="33"/>
                    </a:lnTo>
                    <a:lnTo>
                      <a:pt x="35" y="30"/>
                    </a:lnTo>
                    <a:lnTo>
                      <a:pt x="35" y="26"/>
                    </a:lnTo>
                    <a:lnTo>
                      <a:pt x="35" y="8"/>
                    </a:lnTo>
                    <a:lnTo>
                      <a:pt x="85" y="8"/>
                    </a:lnTo>
                    <a:lnTo>
                      <a:pt x="86" y="8"/>
                    </a:lnTo>
                    <a:lnTo>
                      <a:pt x="88" y="9"/>
                    </a:lnTo>
                    <a:lnTo>
                      <a:pt x="91" y="12"/>
                    </a:lnTo>
                    <a:lnTo>
                      <a:pt x="91" y="15"/>
                    </a:lnTo>
                    <a:lnTo>
                      <a:pt x="91" y="11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84" name="Group 383"/>
            <p:cNvGrpSpPr/>
            <p:nvPr/>
          </p:nvGrpSpPr>
          <p:grpSpPr>
            <a:xfrm>
              <a:off x="2127639" y="4556847"/>
              <a:ext cx="111125" cy="133350"/>
              <a:chOff x="3300422" y="4609956"/>
              <a:chExt cx="111125" cy="133350"/>
            </a:xfrm>
          </p:grpSpPr>
          <p:sp>
            <p:nvSpPr>
              <p:cNvPr id="331" name="Freeform 119"/>
              <p:cNvSpPr>
                <a:spLocks/>
              </p:cNvSpPr>
              <p:nvPr/>
            </p:nvSpPr>
            <p:spPr bwMode="auto">
              <a:xfrm>
                <a:off x="3322647" y="4663931"/>
                <a:ext cx="66675" cy="11113"/>
              </a:xfrm>
              <a:custGeom>
                <a:avLst/>
                <a:gdLst>
                  <a:gd name="T0" fmla="*/ 39 w 42"/>
                  <a:gd name="T1" fmla="*/ 7 h 7"/>
                  <a:gd name="T2" fmla="*/ 1 w 42"/>
                  <a:gd name="T3" fmla="*/ 7 h 7"/>
                  <a:gd name="T4" fmla="*/ 1 w 42"/>
                  <a:gd name="T5" fmla="*/ 7 h 7"/>
                  <a:gd name="T6" fmla="*/ 1 w 42"/>
                  <a:gd name="T7" fmla="*/ 6 h 7"/>
                  <a:gd name="T8" fmla="*/ 0 w 42"/>
                  <a:gd name="T9" fmla="*/ 4 h 7"/>
                  <a:gd name="T10" fmla="*/ 1 w 42"/>
                  <a:gd name="T11" fmla="*/ 3 h 7"/>
                  <a:gd name="T12" fmla="*/ 1 w 42"/>
                  <a:gd name="T13" fmla="*/ 1 h 7"/>
                  <a:gd name="T14" fmla="*/ 1 w 42"/>
                  <a:gd name="T15" fmla="*/ 0 h 7"/>
                  <a:gd name="T16" fmla="*/ 39 w 42"/>
                  <a:gd name="T17" fmla="*/ 0 h 7"/>
                  <a:gd name="T18" fmla="*/ 40 w 42"/>
                  <a:gd name="T19" fmla="*/ 1 h 7"/>
                  <a:gd name="T20" fmla="*/ 42 w 42"/>
                  <a:gd name="T21" fmla="*/ 3 h 7"/>
                  <a:gd name="T22" fmla="*/ 42 w 42"/>
                  <a:gd name="T23" fmla="*/ 4 h 7"/>
                  <a:gd name="T24" fmla="*/ 42 w 42"/>
                  <a:gd name="T25" fmla="*/ 6 h 7"/>
                  <a:gd name="T26" fmla="*/ 42 w 42"/>
                  <a:gd name="T27" fmla="*/ 6 h 7"/>
                  <a:gd name="T28" fmla="*/ 40 w 42"/>
                  <a:gd name="T29" fmla="*/ 7 h 7"/>
                  <a:gd name="T30" fmla="*/ 39 w 42"/>
                  <a:gd name="T3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7">
                    <a:moveTo>
                      <a:pt x="39" y="7"/>
                    </a:moveTo>
                    <a:lnTo>
                      <a:pt x="1" y="7"/>
                    </a:lnTo>
                    <a:lnTo>
                      <a:pt x="1" y="7"/>
                    </a:lnTo>
                    <a:lnTo>
                      <a:pt x="1" y="6"/>
                    </a:lnTo>
                    <a:lnTo>
                      <a:pt x="0" y="4"/>
                    </a:lnTo>
                    <a:lnTo>
                      <a:pt x="1" y="3"/>
                    </a:lnTo>
                    <a:lnTo>
                      <a:pt x="1" y="1"/>
                    </a:lnTo>
                    <a:lnTo>
                      <a:pt x="1" y="0"/>
                    </a:lnTo>
                    <a:lnTo>
                      <a:pt x="39" y="0"/>
                    </a:lnTo>
                    <a:lnTo>
                      <a:pt x="40" y="1"/>
                    </a:lnTo>
                    <a:lnTo>
                      <a:pt x="42" y="3"/>
                    </a:lnTo>
                    <a:lnTo>
                      <a:pt x="42" y="4"/>
                    </a:lnTo>
                    <a:lnTo>
                      <a:pt x="42" y="6"/>
                    </a:lnTo>
                    <a:lnTo>
                      <a:pt x="42" y="6"/>
                    </a:lnTo>
                    <a:lnTo>
                      <a:pt x="40" y="7"/>
                    </a:lnTo>
                    <a:lnTo>
                      <a:pt x="39" y="7"/>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Freeform 120"/>
              <p:cNvSpPr>
                <a:spLocks/>
              </p:cNvSpPr>
              <p:nvPr/>
            </p:nvSpPr>
            <p:spPr bwMode="auto">
              <a:xfrm>
                <a:off x="3349634" y="4646469"/>
                <a:ext cx="39688" cy="7938"/>
              </a:xfrm>
              <a:custGeom>
                <a:avLst/>
                <a:gdLst>
                  <a:gd name="T0" fmla="*/ 22 w 25"/>
                  <a:gd name="T1" fmla="*/ 5 h 5"/>
                  <a:gd name="T2" fmla="*/ 2 w 25"/>
                  <a:gd name="T3" fmla="*/ 5 h 5"/>
                  <a:gd name="T4" fmla="*/ 1 w 25"/>
                  <a:gd name="T5" fmla="*/ 5 h 5"/>
                  <a:gd name="T6" fmla="*/ 0 w 25"/>
                  <a:gd name="T7" fmla="*/ 5 h 5"/>
                  <a:gd name="T8" fmla="*/ 0 w 25"/>
                  <a:gd name="T9" fmla="*/ 4 h 5"/>
                  <a:gd name="T10" fmla="*/ 0 w 25"/>
                  <a:gd name="T11" fmla="*/ 3 h 5"/>
                  <a:gd name="T12" fmla="*/ 0 w 25"/>
                  <a:gd name="T13" fmla="*/ 1 h 5"/>
                  <a:gd name="T14" fmla="*/ 0 w 25"/>
                  <a:gd name="T15" fmla="*/ 1 h 5"/>
                  <a:gd name="T16" fmla="*/ 2 w 25"/>
                  <a:gd name="T17" fmla="*/ 0 h 5"/>
                  <a:gd name="T18" fmla="*/ 22 w 25"/>
                  <a:gd name="T19" fmla="*/ 0 h 5"/>
                  <a:gd name="T20" fmla="*/ 23 w 25"/>
                  <a:gd name="T21" fmla="*/ 0 h 5"/>
                  <a:gd name="T22" fmla="*/ 25 w 25"/>
                  <a:gd name="T23" fmla="*/ 1 h 5"/>
                  <a:gd name="T24" fmla="*/ 25 w 25"/>
                  <a:gd name="T25" fmla="*/ 1 h 5"/>
                  <a:gd name="T26" fmla="*/ 25 w 25"/>
                  <a:gd name="T27" fmla="*/ 3 h 5"/>
                  <a:gd name="T28" fmla="*/ 25 w 25"/>
                  <a:gd name="T29" fmla="*/ 4 h 5"/>
                  <a:gd name="T30" fmla="*/ 25 w 25"/>
                  <a:gd name="T31" fmla="*/ 5 h 5"/>
                  <a:gd name="T32" fmla="*/ 23 w 25"/>
                  <a:gd name="T33" fmla="*/ 5 h 5"/>
                  <a:gd name="T34" fmla="*/ 22 w 25"/>
                  <a:gd name="T3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2" y="5"/>
                    </a:moveTo>
                    <a:lnTo>
                      <a:pt x="2" y="5"/>
                    </a:lnTo>
                    <a:lnTo>
                      <a:pt x="1" y="5"/>
                    </a:lnTo>
                    <a:lnTo>
                      <a:pt x="0" y="5"/>
                    </a:lnTo>
                    <a:lnTo>
                      <a:pt x="0" y="4"/>
                    </a:lnTo>
                    <a:lnTo>
                      <a:pt x="0" y="3"/>
                    </a:lnTo>
                    <a:lnTo>
                      <a:pt x="0" y="1"/>
                    </a:lnTo>
                    <a:lnTo>
                      <a:pt x="0" y="1"/>
                    </a:lnTo>
                    <a:lnTo>
                      <a:pt x="2" y="0"/>
                    </a:lnTo>
                    <a:lnTo>
                      <a:pt x="22" y="0"/>
                    </a:lnTo>
                    <a:lnTo>
                      <a:pt x="23" y="0"/>
                    </a:lnTo>
                    <a:lnTo>
                      <a:pt x="25" y="1"/>
                    </a:lnTo>
                    <a:lnTo>
                      <a:pt x="25" y="1"/>
                    </a:lnTo>
                    <a:lnTo>
                      <a:pt x="25" y="3"/>
                    </a:lnTo>
                    <a:lnTo>
                      <a:pt x="25" y="4"/>
                    </a:lnTo>
                    <a:lnTo>
                      <a:pt x="25" y="5"/>
                    </a:lnTo>
                    <a:lnTo>
                      <a:pt x="23" y="5"/>
                    </a:lnTo>
                    <a:lnTo>
                      <a:pt x="22" y="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Freeform 121"/>
              <p:cNvSpPr>
                <a:spLocks/>
              </p:cNvSpPr>
              <p:nvPr/>
            </p:nvSpPr>
            <p:spPr bwMode="auto">
              <a:xfrm>
                <a:off x="3322647" y="4684569"/>
                <a:ext cx="66675" cy="7938"/>
              </a:xfrm>
              <a:custGeom>
                <a:avLst/>
                <a:gdLst>
                  <a:gd name="T0" fmla="*/ 39 w 42"/>
                  <a:gd name="T1" fmla="*/ 5 h 5"/>
                  <a:gd name="T2" fmla="*/ 1 w 42"/>
                  <a:gd name="T3" fmla="*/ 5 h 5"/>
                  <a:gd name="T4" fmla="*/ 1 w 42"/>
                  <a:gd name="T5" fmla="*/ 5 h 5"/>
                  <a:gd name="T6" fmla="*/ 1 w 42"/>
                  <a:gd name="T7" fmla="*/ 4 h 5"/>
                  <a:gd name="T8" fmla="*/ 0 w 42"/>
                  <a:gd name="T9" fmla="*/ 2 h 5"/>
                  <a:gd name="T10" fmla="*/ 1 w 42"/>
                  <a:gd name="T11" fmla="*/ 1 h 5"/>
                  <a:gd name="T12" fmla="*/ 1 w 42"/>
                  <a:gd name="T13" fmla="*/ 0 h 5"/>
                  <a:gd name="T14" fmla="*/ 1 w 42"/>
                  <a:gd name="T15" fmla="*/ 0 h 5"/>
                  <a:gd name="T16" fmla="*/ 39 w 42"/>
                  <a:gd name="T17" fmla="*/ 0 h 5"/>
                  <a:gd name="T18" fmla="*/ 40 w 42"/>
                  <a:gd name="T19" fmla="*/ 0 h 5"/>
                  <a:gd name="T20" fmla="*/ 42 w 42"/>
                  <a:gd name="T21" fmla="*/ 1 h 5"/>
                  <a:gd name="T22" fmla="*/ 42 w 42"/>
                  <a:gd name="T23" fmla="*/ 1 h 5"/>
                  <a:gd name="T24" fmla="*/ 42 w 42"/>
                  <a:gd name="T25" fmla="*/ 2 h 5"/>
                  <a:gd name="T26" fmla="*/ 42 w 42"/>
                  <a:gd name="T27" fmla="*/ 4 h 5"/>
                  <a:gd name="T28" fmla="*/ 40 w 42"/>
                  <a:gd name="T29" fmla="*/ 5 h 5"/>
                  <a:gd name="T30" fmla="*/ 39 w 42"/>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5">
                    <a:moveTo>
                      <a:pt x="39" y="5"/>
                    </a:moveTo>
                    <a:lnTo>
                      <a:pt x="1" y="5"/>
                    </a:lnTo>
                    <a:lnTo>
                      <a:pt x="1" y="5"/>
                    </a:lnTo>
                    <a:lnTo>
                      <a:pt x="1" y="4"/>
                    </a:lnTo>
                    <a:lnTo>
                      <a:pt x="0" y="2"/>
                    </a:lnTo>
                    <a:lnTo>
                      <a:pt x="1" y="1"/>
                    </a:lnTo>
                    <a:lnTo>
                      <a:pt x="1" y="0"/>
                    </a:lnTo>
                    <a:lnTo>
                      <a:pt x="1" y="0"/>
                    </a:lnTo>
                    <a:lnTo>
                      <a:pt x="39" y="0"/>
                    </a:lnTo>
                    <a:lnTo>
                      <a:pt x="40" y="0"/>
                    </a:lnTo>
                    <a:lnTo>
                      <a:pt x="42" y="1"/>
                    </a:lnTo>
                    <a:lnTo>
                      <a:pt x="42" y="1"/>
                    </a:lnTo>
                    <a:lnTo>
                      <a:pt x="42" y="2"/>
                    </a:lnTo>
                    <a:lnTo>
                      <a:pt x="42" y="4"/>
                    </a:lnTo>
                    <a:lnTo>
                      <a:pt x="40" y="5"/>
                    </a:lnTo>
                    <a:lnTo>
                      <a:pt x="39" y="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Freeform 122"/>
              <p:cNvSpPr>
                <a:spLocks/>
              </p:cNvSpPr>
              <p:nvPr/>
            </p:nvSpPr>
            <p:spPr bwMode="auto">
              <a:xfrm>
                <a:off x="3322647" y="4703619"/>
                <a:ext cx="66675" cy="9525"/>
              </a:xfrm>
              <a:custGeom>
                <a:avLst/>
                <a:gdLst>
                  <a:gd name="T0" fmla="*/ 39 w 42"/>
                  <a:gd name="T1" fmla="*/ 6 h 6"/>
                  <a:gd name="T2" fmla="*/ 1 w 42"/>
                  <a:gd name="T3" fmla="*/ 6 h 6"/>
                  <a:gd name="T4" fmla="*/ 1 w 42"/>
                  <a:gd name="T5" fmla="*/ 6 h 6"/>
                  <a:gd name="T6" fmla="*/ 1 w 42"/>
                  <a:gd name="T7" fmla="*/ 4 h 6"/>
                  <a:gd name="T8" fmla="*/ 0 w 42"/>
                  <a:gd name="T9" fmla="*/ 4 h 6"/>
                  <a:gd name="T10" fmla="*/ 0 w 42"/>
                  <a:gd name="T11" fmla="*/ 3 h 6"/>
                  <a:gd name="T12" fmla="*/ 1 w 42"/>
                  <a:gd name="T13" fmla="*/ 0 h 6"/>
                  <a:gd name="T14" fmla="*/ 1 w 42"/>
                  <a:gd name="T15" fmla="*/ 0 h 6"/>
                  <a:gd name="T16" fmla="*/ 1 w 42"/>
                  <a:gd name="T17" fmla="*/ 0 h 6"/>
                  <a:gd name="T18" fmla="*/ 39 w 42"/>
                  <a:gd name="T19" fmla="*/ 0 h 6"/>
                  <a:gd name="T20" fmla="*/ 40 w 42"/>
                  <a:gd name="T21" fmla="*/ 0 h 6"/>
                  <a:gd name="T22" fmla="*/ 42 w 42"/>
                  <a:gd name="T23" fmla="*/ 0 h 6"/>
                  <a:gd name="T24" fmla="*/ 42 w 42"/>
                  <a:gd name="T25" fmla="*/ 2 h 6"/>
                  <a:gd name="T26" fmla="*/ 42 w 42"/>
                  <a:gd name="T27" fmla="*/ 3 h 6"/>
                  <a:gd name="T28" fmla="*/ 42 w 42"/>
                  <a:gd name="T29" fmla="*/ 4 h 6"/>
                  <a:gd name="T30" fmla="*/ 42 w 42"/>
                  <a:gd name="T31" fmla="*/ 4 h 6"/>
                  <a:gd name="T32" fmla="*/ 40 w 42"/>
                  <a:gd name="T33" fmla="*/ 6 h 6"/>
                  <a:gd name="T34" fmla="*/ 39 w 42"/>
                  <a:gd name="T3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 h="6">
                    <a:moveTo>
                      <a:pt x="39" y="6"/>
                    </a:moveTo>
                    <a:lnTo>
                      <a:pt x="1" y="6"/>
                    </a:lnTo>
                    <a:lnTo>
                      <a:pt x="1" y="6"/>
                    </a:lnTo>
                    <a:lnTo>
                      <a:pt x="1" y="4"/>
                    </a:lnTo>
                    <a:lnTo>
                      <a:pt x="0" y="4"/>
                    </a:lnTo>
                    <a:lnTo>
                      <a:pt x="0" y="3"/>
                    </a:lnTo>
                    <a:lnTo>
                      <a:pt x="1" y="0"/>
                    </a:lnTo>
                    <a:lnTo>
                      <a:pt x="1" y="0"/>
                    </a:lnTo>
                    <a:lnTo>
                      <a:pt x="1" y="0"/>
                    </a:lnTo>
                    <a:lnTo>
                      <a:pt x="39" y="0"/>
                    </a:lnTo>
                    <a:lnTo>
                      <a:pt x="40" y="0"/>
                    </a:lnTo>
                    <a:lnTo>
                      <a:pt x="42" y="0"/>
                    </a:lnTo>
                    <a:lnTo>
                      <a:pt x="42" y="2"/>
                    </a:lnTo>
                    <a:lnTo>
                      <a:pt x="42" y="3"/>
                    </a:lnTo>
                    <a:lnTo>
                      <a:pt x="42" y="4"/>
                    </a:lnTo>
                    <a:lnTo>
                      <a:pt x="42" y="4"/>
                    </a:lnTo>
                    <a:lnTo>
                      <a:pt x="40" y="6"/>
                    </a:lnTo>
                    <a:lnTo>
                      <a:pt x="39" y="6"/>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Freeform 123"/>
              <p:cNvSpPr>
                <a:spLocks noEditPoints="1"/>
              </p:cNvSpPr>
              <p:nvPr/>
            </p:nvSpPr>
            <p:spPr bwMode="auto">
              <a:xfrm>
                <a:off x="3300422" y="4609956"/>
                <a:ext cx="111125" cy="133350"/>
              </a:xfrm>
              <a:custGeom>
                <a:avLst/>
                <a:gdLst>
                  <a:gd name="T0" fmla="*/ 63 w 70"/>
                  <a:gd name="T1" fmla="*/ 0 h 84"/>
                  <a:gd name="T2" fmla="*/ 22 w 70"/>
                  <a:gd name="T3" fmla="*/ 0 h 84"/>
                  <a:gd name="T4" fmla="*/ 0 w 70"/>
                  <a:gd name="T5" fmla="*/ 21 h 84"/>
                  <a:gd name="T6" fmla="*/ 0 w 70"/>
                  <a:gd name="T7" fmla="*/ 77 h 84"/>
                  <a:gd name="T8" fmla="*/ 1 w 70"/>
                  <a:gd name="T9" fmla="*/ 80 h 84"/>
                  <a:gd name="T10" fmla="*/ 3 w 70"/>
                  <a:gd name="T11" fmla="*/ 83 h 84"/>
                  <a:gd name="T12" fmla="*/ 4 w 70"/>
                  <a:gd name="T13" fmla="*/ 84 h 84"/>
                  <a:gd name="T14" fmla="*/ 7 w 70"/>
                  <a:gd name="T15" fmla="*/ 84 h 84"/>
                  <a:gd name="T16" fmla="*/ 70 w 70"/>
                  <a:gd name="T17" fmla="*/ 84 h 84"/>
                  <a:gd name="T18" fmla="*/ 70 w 70"/>
                  <a:gd name="T19" fmla="*/ 7 h 84"/>
                  <a:gd name="T20" fmla="*/ 68 w 70"/>
                  <a:gd name="T21" fmla="*/ 5 h 84"/>
                  <a:gd name="T22" fmla="*/ 67 w 70"/>
                  <a:gd name="T23" fmla="*/ 2 h 84"/>
                  <a:gd name="T24" fmla="*/ 66 w 70"/>
                  <a:gd name="T25" fmla="*/ 0 h 84"/>
                  <a:gd name="T26" fmla="*/ 63 w 70"/>
                  <a:gd name="T27" fmla="*/ 0 h 84"/>
                  <a:gd name="T28" fmla="*/ 64 w 70"/>
                  <a:gd name="T29" fmla="*/ 79 h 84"/>
                  <a:gd name="T30" fmla="*/ 10 w 70"/>
                  <a:gd name="T31" fmla="*/ 79 h 84"/>
                  <a:gd name="T32" fmla="*/ 8 w 70"/>
                  <a:gd name="T33" fmla="*/ 79 h 84"/>
                  <a:gd name="T34" fmla="*/ 7 w 70"/>
                  <a:gd name="T35" fmla="*/ 77 h 84"/>
                  <a:gd name="T36" fmla="*/ 5 w 70"/>
                  <a:gd name="T37" fmla="*/ 76 h 84"/>
                  <a:gd name="T38" fmla="*/ 5 w 70"/>
                  <a:gd name="T39" fmla="*/ 75 h 84"/>
                  <a:gd name="T40" fmla="*/ 5 w 70"/>
                  <a:gd name="T41" fmla="*/ 24 h 84"/>
                  <a:gd name="T42" fmla="*/ 19 w 70"/>
                  <a:gd name="T43" fmla="*/ 24 h 84"/>
                  <a:gd name="T44" fmla="*/ 21 w 70"/>
                  <a:gd name="T45" fmla="*/ 24 h 84"/>
                  <a:gd name="T46" fmla="*/ 24 w 70"/>
                  <a:gd name="T47" fmla="*/ 23 h 84"/>
                  <a:gd name="T48" fmla="*/ 25 w 70"/>
                  <a:gd name="T49" fmla="*/ 21 h 84"/>
                  <a:gd name="T50" fmla="*/ 25 w 70"/>
                  <a:gd name="T51" fmla="*/ 19 h 84"/>
                  <a:gd name="T52" fmla="*/ 25 w 70"/>
                  <a:gd name="T53" fmla="*/ 6 h 84"/>
                  <a:gd name="T54" fmla="*/ 60 w 70"/>
                  <a:gd name="T55" fmla="*/ 6 h 84"/>
                  <a:gd name="T56" fmla="*/ 61 w 70"/>
                  <a:gd name="T57" fmla="*/ 6 h 84"/>
                  <a:gd name="T58" fmla="*/ 63 w 70"/>
                  <a:gd name="T59" fmla="*/ 6 h 84"/>
                  <a:gd name="T60" fmla="*/ 64 w 70"/>
                  <a:gd name="T61" fmla="*/ 9 h 84"/>
                  <a:gd name="T62" fmla="*/ 64 w 70"/>
                  <a:gd name="T63" fmla="*/ 10 h 84"/>
                  <a:gd name="T64" fmla="*/ 64 w 70"/>
                  <a:gd name="T65" fmla="*/ 7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 h="84">
                    <a:moveTo>
                      <a:pt x="63" y="0"/>
                    </a:moveTo>
                    <a:lnTo>
                      <a:pt x="22" y="0"/>
                    </a:lnTo>
                    <a:lnTo>
                      <a:pt x="0" y="21"/>
                    </a:lnTo>
                    <a:lnTo>
                      <a:pt x="0" y="77"/>
                    </a:lnTo>
                    <a:lnTo>
                      <a:pt x="1" y="80"/>
                    </a:lnTo>
                    <a:lnTo>
                      <a:pt x="3" y="83"/>
                    </a:lnTo>
                    <a:lnTo>
                      <a:pt x="4" y="84"/>
                    </a:lnTo>
                    <a:lnTo>
                      <a:pt x="7" y="84"/>
                    </a:lnTo>
                    <a:lnTo>
                      <a:pt x="70" y="84"/>
                    </a:lnTo>
                    <a:lnTo>
                      <a:pt x="70" y="7"/>
                    </a:lnTo>
                    <a:lnTo>
                      <a:pt x="68" y="5"/>
                    </a:lnTo>
                    <a:lnTo>
                      <a:pt x="67" y="2"/>
                    </a:lnTo>
                    <a:lnTo>
                      <a:pt x="66" y="0"/>
                    </a:lnTo>
                    <a:lnTo>
                      <a:pt x="63" y="0"/>
                    </a:lnTo>
                    <a:close/>
                    <a:moveTo>
                      <a:pt x="64" y="79"/>
                    </a:moveTo>
                    <a:lnTo>
                      <a:pt x="10" y="79"/>
                    </a:lnTo>
                    <a:lnTo>
                      <a:pt x="8" y="79"/>
                    </a:lnTo>
                    <a:lnTo>
                      <a:pt x="7" y="77"/>
                    </a:lnTo>
                    <a:lnTo>
                      <a:pt x="5" y="76"/>
                    </a:lnTo>
                    <a:lnTo>
                      <a:pt x="5" y="75"/>
                    </a:lnTo>
                    <a:lnTo>
                      <a:pt x="5" y="24"/>
                    </a:lnTo>
                    <a:lnTo>
                      <a:pt x="19" y="24"/>
                    </a:lnTo>
                    <a:lnTo>
                      <a:pt x="21" y="24"/>
                    </a:lnTo>
                    <a:lnTo>
                      <a:pt x="24" y="23"/>
                    </a:lnTo>
                    <a:lnTo>
                      <a:pt x="25" y="21"/>
                    </a:lnTo>
                    <a:lnTo>
                      <a:pt x="25" y="19"/>
                    </a:lnTo>
                    <a:lnTo>
                      <a:pt x="25" y="6"/>
                    </a:lnTo>
                    <a:lnTo>
                      <a:pt x="60" y="6"/>
                    </a:lnTo>
                    <a:lnTo>
                      <a:pt x="61" y="6"/>
                    </a:lnTo>
                    <a:lnTo>
                      <a:pt x="63" y="6"/>
                    </a:lnTo>
                    <a:lnTo>
                      <a:pt x="64" y="9"/>
                    </a:lnTo>
                    <a:lnTo>
                      <a:pt x="64" y="10"/>
                    </a:lnTo>
                    <a:lnTo>
                      <a:pt x="64" y="79"/>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86" name="Group 385"/>
            <p:cNvGrpSpPr/>
            <p:nvPr/>
          </p:nvGrpSpPr>
          <p:grpSpPr>
            <a:xfrm>
              <a:off x="2042601" y="4857202"/>
              <a:ext cx="209550" cy="206375"/>
              <a:chOff x="3036897" y="4681394"/>
              <a:chExt cx="209550" cy="206375"/>
            </a:xfrm>
          </p:grpSpPr>
          <p:sp>
            <p:nvSpPr>
              <p:cNvPr id="336" name="Freeform 124"/>
              <p:cNvSpPr>
                <a:spLocks/>
              </p:cNvSpPr>
              <p:nvPr/>
            </p:nvSpPr>
            <p:spPr bwMode="auto">
              <a:xfrm>
                <a:off x="3036897" y="4714731"/>
                <a:ext cx="44450" cy="77788"/>
              </a:xfrm>
              <a:custGeom>
                <a:avLst/>
                <a:gdLst>
                  <a:gd name="T0" fmla="*/ 28 w 28"/>
                  <a:gd name="T1" fmla="*/ 17 h 49"/>
                  <a:gd name="T2" fmla="*/ 28 w 28"/>
                  <a:gd name="T3" fmla="*/ 49 h 49"/>
                  <a:gd name="T4" fmla="*/ 0 w 28"/>
                  <a:gd name="T5" fmla="*/ 32 h 49"/>
                  <a:gd name="T6" fmla="*/ 0 w 28"/>
                  <a:gd name="T7" fmla="*/ 0 h 49"/>
                  <a:gd name="T8" fmla="*/ 28 w 28"/>
                  <a:gd name="T9" fmla="*/ 17 h 49"/>
                </a:gdLst>
                <a:ahLst/>
                <a:cxnLst>
                  <a:cxn ang="0">
                    <a:pos x="T0" y="T1"/>
                  </a:cxn>
                  <a:cxn ang="0">
                    <a:pos x="T2" y="T3"/>
                  </a:cxn>
                  <a:cxn ang="0">
                    <a:pos x="T4" y="T5"/>
                  </a:cxn>
                  <a:cxn ang="0">
                    <a:pos x="T6" y="T7"/>
                  </a:cxn>
                  <a:cxn ang="0">
                    <a:pos x="T8" y="T9"/>
                  </a:cxn>
                </a:cxnLst>
                <a:rect l="0" t="0" r="r" b="b"/>
                <a:pathLst>
                  <a:path w="28" h="49">
                    <a:moveTo>
                      <a:pt x="28" y="17"/>
                    </a:moveTo>
                    <a:lnTo>
                      <a:pt x="28" y="49"/>
                    </a:lnTo>
                    <a:lnTo>
                      <a:pt x="0" y="32"/>
                    </a:lnTo>
                    <a:lnTo>
                      <a:pt x="0" y="0"/>
                    </a:lnTo>
                    <a:lnTo>
                      <a:pt x="28"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Freeform 125"/>
              <p:cNvSpPr>
                <a:spLocks/>
              </p:cNvSpPr>
              <p:nvPr/>
            </p:nvSpPr>
            <p:spPr bwMode="auto">
              <a:xfrm>
                <a:off x="3092459" y="4714731"/>
                <a:ext cx="46038" cy="77788"/>
              </a:xfrm>
              <a:custGeom>
                <a:avLst/>
                <a:gdLst>
                  <a:gd name="T0" fmla="*/ 0 w 29"/>
                  <a:gd name="T1" fmla="*/ 17 h 49"/>
                  <a:gd name="T2" fmla="*/ 0 w 29"/>
                  <a:gd name="T3" fmla="*/ 49 h 49"/>
                  <a:gd name="T4" fmla="*/ 29 w 29"/>
                  <a:gd name="T5" fmla="*/ 32 h 49"/>
                  <a:gd name="T6" fmla="*/ 29 w 29"/>
                  <a:gd name="T7" fmla="*/ 0 h 49"/>
                  <a:gd name="T8" fmla="*/ 0 w 29"/>
                  <a:gd name="T9" fmla="*/ 17 h 49"/>
                </a:gdLst>
                <a:ahLst/>
                <a:cxnLst>
                  <a:cxn ang="0">
                    <a:pos x="T0" y="T1"/>
                  </a:cxn>
                  <a:cxn ang="0">
                    <a:pos x="T2" y="T3"/>
                  </a:cxn>
                  <a:cxn ang="0">
                    <a:pos x="T4" y="T5"/>
                  </a:cxn>
                  <a:cxn ang="0">
                    <a:pos x="T6" y="T7"/>
                  </a:cxn>
                  <a:cxn ang="0">
                    <a:pos x="T8" y="T9"/>
                  </a:cxn>
                </a:cxnLst>
                <a:rect l="0" t="0" r="r" b="b"/>
                <a:pathLst>
                  <a:path w="29" h="49">
                    <a:moveTo>
                      <a:pt x="0" y="17"/>
                    </a:moveTo>
                    <a:lnTo>
                      <a:pt x="0" y="49"/>
                    </a:lnTo>
                    <a:lnTo>
                      <a:pt x="29" y="32"/>
                    </a:lnTo>
                    <a:lnTo>
                      <a:pt x="29" y="0"/>
                    </a:lnTo>
                    <a:lnTo>
                      <a:pt x="0"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Freeform 126"/>
              <p:cNvSpPr>
                <a:spLocks/>
              </p:cNvSpPr>
              <p:nvPr/>
            </p:nvSpPr>
            <p:spPr bwMode="auto">
              <a:xfrm>
                <a:off x="3041659" y="4681394"/>
                <a:ext cx="88900" cy="50800"/>
              </a:xfrm>
              <a:custGeom>
                <a:avLst/>
                <a:gdLst>
                  <a:gd name="T0" fmla="*/ 28 w 56"/>
                  <a:gd name="T1" fmla="*/ 32 h 32"/>
                  <a:gd name="T2" fmla="*/ 0 w 56"/>
                  <a:gd name="T3" fmla="*/ 16 h 32"/>
                  <a:gd name="T4" fmla="*/ 28 w 56"/>
                  <a:gd name="T5" fmla="*/ 0 h 32"/>
                  <a:gd name="T6" fmla="*/ 56 w 56"/>
                  <a:gd name="T7" fmla="*/ 16 h 32"/>
                  <a:gd name="T8" fmla="*/ 28 w 56"/>
                  <a:gd name="T9" fmla="*/ 32 h 32"/>
                </a:gdLst>
                <a:ahLst/>
                <a:cxnLst>
                  <a:cxn ang="0">
                    <a:pos x="T0" y="T1"/>
                  </a:cxn>
                  <a:cxn ang="0">
                    <a:pos x="T2" y="T3"/>
                  </a:cxn>
                  <a:cxn ang="0">
                    <a:pos x="T4" y="T5"/>
                  </a:cxn>
                  <a:cxn ang="0">
                    <a:pos x="T6" y="T7"/>
                  </a:cxn>
                  <a:cxn ang="0">
                    <a:pos x="T8" y="T9"/>
                  </a:cxn>
                </a:cxnLst>
                <a:rect l="0" t="0" r="r" b="b"/>
                <a:pathLst>
                  <a:path w="56" h="32">
                    <a:moveTo>
                      <a:pt x="28" y="32"/>
                    </a:moveTo>
                    <a:lnTo>
                      <a:pt x="0" y="16"/>
                    </a:lnTo>
                    <a:lnTo>
                      <a:pt x="28" y="0"/>
                    </a:lnTo>
                    <a:lnTo>
                      <a:pt x="56" y="16"/>
                    </a:lnTo>
                    <a:lnTo>
                      <a:pt x="28" y="3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Freeform 127"/>
              <p:cNvSpPr>
                <a:spLocks/>
              </p:cNvSpPr>
              <p:nvPr/>
            </p:nvSpPr>
            <p:spPr bwMode="auto">
              <a:xfrm>
                <a:off x="3149609" y="4714731"/>
                <a:ext cx="44450" cy="77788"/>
              </a:xfrm>
              <a:custGeom>
                <a:avLst/>
                <a:gdLst>
                  <a:gd name="T0" fmla="*/ 28 w 28"/>
                  <a:gd name="T1" fmla="*/ 17 h 49"/>
                  <a:gd name="T2" fmla="*/ 28 w 28"/>
                  <a:gd name="T3" fmla="*/ 49 h 49"/>
                  <a:gd name="T4" fmla="*/ 0 w 28"/>
                  <a:gd name="T5" fmla="*/ 32 h 49"/>
                  <a:gd name="T6" fmla="*/ 0 w 28"/>
                  <a:gd name="T7" fmla="*/ 0 h 49"/>
                  <a:gd name="T8" fmla="*/ 28 w 28"/>
                  <a:gd name="T9" fmla="*/ 17 h 49"/>
                </a:gdLst>
                <a:ahLst/>
                <a:cxnLst>
                  <a:cxn ang="0">
                    <a:pos x="T0" y="T1"/>
                  </a:cxn>
                  <a:cxn ang="0">
                    <a:pos x="T2" y="T3"/>
                  </a:cxn>
                  <a:cxn ang="0">
                    <a:pos x="T4" y="T5"/>
                  </a:cxn>
                  <a:cxn ang="0">
                    <a:pos x="T6" y="T7"/>
                  </a:cxn>
                  <a:cxn ang="0">
                    <a:pos x="T8" y="T9"/>
                  </a:cxn>
                </a:cxnLst>
                <a:rect l="0" t="0" r="r" b="b"/>
                <a:pathLst>
                  <a:path w="28" h="49">
                    <a:moveTo>
                      <a:pt x="28" y="17"/>
                    </a:moveTo>
                    <a:lnTo>
                      <a:pt x="28" y="49"/>
                    </a:lnTo>
                    <a:lnTo>
                      <a:pt x="0" y="32"/>
                    </a:lnTo>
                    <a:lnTo>
                      <a:pt x="0" y="0"/>
                    </a:lnTo>
                    <a:lnTo>
                      <a:pt x="28"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Freeform 128"/>
              <p:cNvSpPr>
                <a:spLocks/>
              </p:cNvSpPr>
              <p:nvPr/>
            </p:nvSpPr>
            <p:spPr bwMode="auto">
              <a:xfrm>
                <a:off x="3205172" y="4714731"/>
                <a:ext cx="41275" cy="77788"/>
              </a:xfrm>
              <a:custGeom>
                <a:avLst/>
                <a:gdLst>
                  <a:gd name="T0" fmla="*/ 0 w 26"/>
                  <a:gd name="T1" fmla="*/ 17 h 49"/>
                  <a:gd name="T2" fmla="*/ 0 w 26"/>
                  <a:gd name="T3" fmla="*/ 49 h 49"/>
                  <a:gd name="T4" fmla="*/ 26 w 26"/>
                  <a:gd name="T5" fmla="*/ 32 h 49"/>
                  <a:gd name="T6" fmla="*/ 26 w 26"/>
                  <a:gd name="T7" fmla="*/ 0 h 49"/>
                  <a:gd name="T8" fmla="*/ 0 w 26"/>
                  <a:gd name="T9" fmla="*/ 17 h 49"/>
                </a:gdLst>
                <a:ahLst/>
                <a:cxnLst>
                  <a:cxn ang="0">
                    <a:pos x="T0" y="T1"/>
                  </a:cxn>
                  <a:cxn ang="0">
                    <a:pos x="T2" y="T3"/>
                  </a:cxn>
                  <a:cxn ang="0">
                    <a:pos x="T4" y="T5"/>
                  </a:cxn>
                  <a:cxn ang="0">
                    <a:pos x="T6" y="T7"/>
                  </a:cxn>
                  <a:cxn ang="0">
                    <a:pos x="T8" y="T9"/>
                  </a:cxn>
                </a:cxnLst>
                <a:rect l="0" t="0" r="r" b="b"/>
                <a:pathLst>
                  <a:path w="26" h="49">
                    <a:moveTo>
                      <a:pt x="0" y="17"/>
                    </a:moveTo>
                    <a:lnTo>
                      <a:pt x="0" y="49"/>
                    </a:lnTo>
                    <a:lnTo>
                      <a:pt x="26" y="32"/>
                    </a:lnTo>
                    <a:lnTo>
                      <a:pt x="26" y="0"/>
                    </a:lnTo>
                    <a:lnTo>
                      <a:pt x="0"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Freeform 129"/>
              <p:cNvSpPr>
                <a:spLocks/>
              </p:cNvSpPr>
              <p:nvPr/>
            </p:nvSpPr>
            <p:spPr bwMode="auto">
              <a:xfrm>
                <a:off x="3152784" y="4681394"/>
                <a:ext cx="88900" cy="50800"/>
              </a:xfrm>
              <a:custGeom>
                <a:avLst/>
                <a:gdLst>
                  <a:gd name="T0" fmla="*/ 28 w 56"/>
                  <a:gd name="T1" fmla="*/ 32 h 32"/>
                  <a:gd name="T2" fmla="*/ 0 w 56"/>
                  <a:gd name="T3" fmla="*/ 16 h 32"/>
                  <a:gd name="T4" fmla="*/ 28 w 56"/>
                  <a:gd name="T5" fmla="*/ 0 h 32"/>
                  <a:gd name="T6" fmla="*/ 56 w 56"/>
                  <a:gd name="T7" fmla="*/ 16 h 32"/>
                  <a:gd name="T8" fmla="*/ 28 w 56"/>
                  <a:gd name="T9" fmla="*/ 32 h 32"/>
                </a:gdLst>
                <a:ahLst/>
                <a:cxnLst>
                  <a:cxn ang="0">
                    <a:pos x="T0" y="T1"/>
                  </a:cxn>
                  <a:cxn ang="0">
                    <a:pos x="T2" y="T3"/>
                  </a:cxn>
                  <a:cxn ang="0">
                    <a:pos x="T4" y="T5"/>
                  </a:cxn>
                  <a:cxn ang="0">
                    <a:pos x="T6" y="T7"/>
                  </a:cxn>
                  <a:cxn ang="0">
                    <a:pos x="T8" y="T9"/>
                  </a:cxn>
                </a:cxnLst>
                <a:rect l="0" t="0" r="r" b="b"/>
                <a:pathLst>
                  <a:path w="56" h="32">
                    <a:moveTo>
                      <a:pt x="28" y="32"/>
                    </a:moveTo>
                    <a:lnTo>
                      <a:pt x="0" y="16"/>
                    </a:lnTo>
                    <a:lnTo>
                      <a:pt x="28" y="0"/>
                    </a:lnTo>
                    <a:lnTo>
                      <a:pt x="56" y="16"/>
                    </a:lnTo>
                    <a:lnTo>
                      <a:pt x="28" y="3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Freeform 130"/>
              <p:cNvSpPr>
                <a:spLocks/>
              </p:cNvSpPr>
              <p:nvPr/>
            </p:nvSpPr>
            <p:spPr bwMode="auto">
              <a:xfrm>
                <a:off x="3092459" y="4813156"/>
                <a:ext cx="46038" cy="74613"/>
              </a:xfrm>
              <a:custGeom>
                <a:avLst/>
                <a:gdLst>
                  <a:gd name="T0" fmla="*/ 29 w 29"/>
                  <a:gd name="T1" fmla="*/ 15 h 47"/>
                  <a:gd name="T2" fmla="*/ 29 w 29"/>
                  <a:gd name="T3" fmla="*/ 47 h 47"/>
                  <a:gd name="T4" fmla="*/ 0 w 29"/>
                  <a:gd name="T5" fmla="*/ 31 h 47"/>
                  <a:gd name="T6" fmla="*/ 0 w 29"/>
                  <a:gd name="T7" fmla="*/ 0 h 47"/>
                  <a:gd name="T8" fmla="*/ 29 w 29"/>
                  <a:gd name="T9" fmla="*/ 15 h 47"/>
                </a:gdLst>
                <a:ahLst/>
                <a:cxnLst>
                  <a:cxn ang="0">
                    <a:pos x="T0" y="T1"/>
                  </a:cxn>
                  <a:cxn ang="0">
                    <a:pos x="T2" y="T3"/>
                  </a:cxn>
                  <a:cxn ang="0">
                    <a:pos x="T4" y="T5"/>
                  </a:cxn>
                  <a:cxn ang="0">
                    <a:pos x="T6" y="T7"/>
                  </a:cxn>
                  <a:cxn ang="0">
                    <a:pos x="T8" y="T9"/>
                  </a:cxn>
                </a:cxnLst>
                <a:rect l="0" t="0" r="r" b="b"/>
                <a:pathLst>
                  <a:path w="29" h="47">
                    <a:moveTo>
                      <a:pt x="29" y="15"/>
                    </a:moveTo>
                    <a:lnTo>
                      <a:pt x="29" y="47"/>
                    </a:lnTo>
                    <a:lnTo>
                      <a:pt x="0" y="31"/>
                    </a:lnTo>
                    <a:lnTo>
                      <a:pt x="0" y="0"/>
                    </a:lnTo>
                    <a:lnTo>
                      <a:pt x="29" y="1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Freeform 131"/>
              <p:cNvSpPr>
                <a:spLocks/>
              </p:cNvSpPr>
              <p:nvPr/>
            </p:nvSpPr>
            <p:spPr bwMode="auto">
              <a:xfrm>
                <a:off x="3149609" y="4813156"/>
                <a:ext cx="44450" cy="74613"/>
              </a:xfrm>
              <a:custGeom>
                <a:avLst/>
                <a:gdLst>
                  <a:gd name="T0" fmla="*/ 0 w 28"/>
                  <a:gd name="T1" fmla="*/ 15 h 47"/>
                  <a:gd name="T2" fmla="*/ 0 w 28"/>
                  <a:gd name="T3" fmla="*/ 47 h 47"/>
                  <a:gd name="T4" fmla="*/ 28 w 28"/>
                  <a:gd name="T5" fmla="*/ 31 h 47"/>
                  <a:gd name="T6" fmla="*/ 28 w 28"/>
                  <a:gd name="T7" fmla="*/ 0 h 47"/>
                  <a:gd name="T8" fmla="*/ 0 w 28"/>
                  <a:gd name="T9" fmla="*/ 15 h 47"/>
                </a:gdLst>
                <a:ahLst/>
                <a:cxnLst>
                  <a:cxn ang="0">
                    <a:pos x="T0" y="T1"/>
                  </a:cxn>
                  <a:cxn ang="0">
                    <a:pos x="T2" y="T3"/>
                  </a:cxn>
                  <a:cxn ang="0">
                    <a:pos x="T4" y="T5"/>
                  </a:cxn>
                  <a:cxn ang="0">
                    <a:pos x="T6" y="T7"/>
                  </a:cxn>
                  <a:cxn ang="0">
                    <a:pos x="T8" y="T9"/>
                  </a:cxn>
                </a:cxnLst>
                <a:rect l="0" t="0" r="r" b="b"/>
                <a:pathLst>
                  <a:path w="28" h="47">
                    <a:moveTo>
                      <a:pt x="0" y="15"/>
                    </a:moveTo>
                    <a:lnTo>
                      <a:pt x="0" y="47"/>
                    </a:lnTo>
                    <a:lnTo>
                      <a:pt x="28" y="31"/>
                    </a:lnTo>
                    <a:lnTo>
                      <a:pt x="28" y="0"/>
                    </a:lnTo>
                    <a:lnTo>
                      <a:pt x="0" y="1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Freeform 132"/>
              <p:cNvSpPr>
                <a:spLocks/>
              </p:cNvSpPr>
              <p:nvPr/>
            </p:nvSpPr>
            <p:spPr bwMode="auto">
              <a:xfrm>
                <a:off x="3097222" y="4776644"/>
                <a:ext cx="88900" cy="52388"/>
              </a:xfrm>
              <a:custGeom>
                <a:avLst/>
                <a:gdLst>
                  <a:gd name="T0" fmla="*/ 28 w 56"/>
                  <a:gd name="T1" fmla="*/ 33 h 33"/>
                  <a:gd name="T2" fmla="*/ 0 w 56"/>
                  <a:gd name="T3" fmla="*/ 16 h 33"/>
                  <a:gd name="T4" fmla="*/ 28 w 56"/>
                  <a:gd name="T5" fmla="*/ 0 h 33"/>
                  <a:gd name="T6" fmla="*/ 56 w 56"/>
                  <a:gd name="T7" fmla="*/ 16 h 33"/>
                  <a:gd name="T8" fmla="*/ 28 w 56"/>
                  <a:gd name="T9" fmla="*/ 33 h 33"/>
                </a:gdLst>
                <a:ahLst/>
                <a:cxnLst>
                  <a:cxn ang="0">
                    <a:pos x="T0" y="T1"/>
                  </a:cxn>
                  <a:cxn ang="0">
                    <a:pos x="T2" y="T3"/>
                  </a:cxn>
                  <a:cxn ang="0">
                    <a:pos x="T4" y="T5"/>
                  </a:cxn>
                  <a:cxn ang="0">
                    <a:pos x="T6" y="T7"/>
                  </a:cxn>
                  <a:cxn ang="0">
                    <a:pos x="T8" y="T9"/>
                  </a:cxn>
                </a:cxnLst>
                <a:rect l="0" t="0" r="r" b="b"/>
                <a:pathLst>
                  <a:path w="56" h="33">
                    <a:moveTo>
                      <a:pt x="28" y="33"/>
                    </a:moveTo>
                    <a:lnTo>
                      <a:pt x="0" y="16"/>
                    </a:lnTo>
                    <a:lnTo>
                      <a:pt x="28" y="0"/>
                    </a:lnTo>
                    <a:lnTo>
                      <a:pt x="56" y="16"/>
                    </a:lnTo>
                    <a:lnTo>
                      <a:pt x="28" y="33"/>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87" name="Group 386"/>
            <p:cNvGrpSpPr/>
            <p:nvPr/>
          </p:nvGrpSpPr>
          <p:grpSpPr>
            <a:xfrm>
              <a:off x="1980688" y="5301500"/>
              <a:ext cx="182563" cy="104775"/>
              <a:chOff x="3041659" y="4935394"/>
              <a:chExt cx="182563" cy="104775"/>
            </a:xfrm>
          </p:grpSpPr>
          <p:sp>
            <p:nvSpPr>
              <p:cNvPr id="345" name="Freeform 133"/>
              <p:cNvSpPr>
                <a:spLocks/>
              </p:cNvSpPr>
              <p:nvPr/>
            </p:nvSpPr>
            <p:spPr bwMode="auto">
              <a:xfrm>
                <a:off x="3046422" y="4935394"/>
                <a:ext cx="17463" cy="412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6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3" y="5"/>
                      <a:pt x="2" y="6"/>
                    </a:cubicBezTo>
                    <a:cubicBezTo>
                      <a:pt x="2" y="6"/>
                      <a:pt x="1" y="6"/>
                      <a:pt x="1" y="6"/>
                    </a:cubicBezTo>
                    <a:cubicBezTo>
                      <a:pt x="1" y="6"/>
                      <a:pt x="0" y="6"/>
                      <a:pt x="0" y="6"/>
                    </a:cubicBezTo>
                    <a:cubicBezTo>
                      <a:pt x="0" y="2"/>
                      <a:pt x="0" y="2"/>
                      <a:pt x="0" y="2"/>
                    </a:cubicBezTo>
                    <a:cubicBezTo>
                      <a:pt x="1" y="2"/>
                      <a:pt x="2" y="2"/>
                      <a:pt x="3" y="1"/>
                    </a:cubicBezTo>
                    <a:cubicBezTo>
                      <a:pt x="4" y="1"/>
                      <a:pt x="5" y="0"/>
                      <a:pt x="6"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134"/>
              <p:cNvSpPr>
                <a:spLocks noEditPoints="1"/>
              </p:cNvSpPr>
              <p:nvPr/>
            </p:nvSpPr>
            <p:spPr bwMode="auto">
              <a:xfrm>
                <a:off x="3079759" y="4935394"/>
                <a:ext cx="33338" cy="41275"/>
              </a:xfrm>
              <a:custGeom>
                <a:avLst/>
                <a:gdLst>
                  <a:gd name="T0" fmla="*/ 8 w 15"/>
                  <a:gd name="T1" fmla="*/ 19 h 19"/>
                  <a:gd name="T2" fmla="*/ 0 w 15"/>
                  <a:gd name="T3" fmla="*/ 10 h 19"/>
                  <a:gd name="T4" fmla="*/ 2 w 15"/>
                  <a:gd name="T5" fmla="*/ 2 h 19"/>
                  <a:gd name="T6" fmla="*/ 8 w 15"/>
                  <a:gd name="T7" fmla="*/ 0 h 19"/>
                  <a:gd name="T8" fmla="*/ 15 w 15"/>
                  <a:gd name="T9" fmla="*/ 10 h 19"/>
                  <a:gd name="T10" fmla="*/ 13 w 15"/>
                  <a:gd name="T11" fmla="*/ 17 h 19"/>
                  <a:gd name="T12" fmla="*/ 8 w 15"/>
                  <a:gd name="T13" fmla="*/ 19 h 19"/>
                  <a:gd name="T14" fmla="*/ 8 w 15"/>
                  <a:gd name="T15" fmla="*/ 3 h 19"/>
                  <a:gd name="T16" fmla="*/ 5 w 15"/>
                  <a:gd name="T17" fmla="*/ 10 h 19"/>
                  <a:gd name="T18" fmla="*/ 8 w 15"/>
                  <a:gd name="T19" fmla="*/ 16 h 19"/>
                  <a:gd name="T20" fmla="*/ 10 w 15"/>
                  <a:gd name="T21" fmla="*/ 10 h 19"/>
                  <a:gd name="T22" fmla="*/ 8 w 15"/>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9">
                    <a:moveTo>
                      <a:pt x="8" y="19"/>
                    </a:moveTo>
                    <a:cubicBezTo>
                      <a:pt x="2" y="19"/>
                      <a:pt x="0" y="17"/>
                      <a:pt x="0" y="10"/>
                    </a:cubicBezTo>
                    <a:cubicBezTo>
                      <a:pt x="0" y="6"/>
                      <a:pt x="1" y="4"/>
                      <a:pt x="2" y="2"/>
                    </a:cubicBezTo>
                    <a:cubicBezTo>
                      <a:pt x="3" y="1"/>
                      <a:pt x="5" y="0"/>
                      <a:pt x="8" y="0"/>
                    </a:cubicBezTo>
                    <a:cubicBezTo>
                      <a:pt x="12" y="0"/>
                      <a:pt x="15" y="3"/>
                      <a:pt x="15" y="10"/>
                    </a:cubicBezTo>
                    <a:cubicBezTo>
                      <a:pt x="15" y="13"/>
                      <a:pt x="14" y="15"/>
                      <a:pt x="13" y="17"/>
                    </a:cubicBezTo>
                    <a:cubicBezTo>
                      <a:pt x="11" y="19"/>
                      <a:pt x="10" y="19"/>
                      <a:pt x="8" y="19"/>
                    </a:cubicBezTo>
                    <a:close/>
                    <a:moveTo>
                      <a:pt x="8" y="3"/>
                    </a:moveTo>
                    <a:cubicBezTo>
                      <a:pt x="5" y="3"/>
                      <a:pt x="5" y="5"/>
                      <a:pt x="5" y="10"/>
                    </a:cubicBezTo>
                    <a:cubicBezTo>
                      <a:pt x="5" y="14"/>
                      <a:pt x="5" y="16"/>
                      <a:pt x="8" y="16"/>
                    </a:cubicBezTo>
                    <a:cubicBezTo>
                      <a:pt x="9" y="16"/>
                      <a:pt x="10" y="14"/>
                      <a:pt x="10" y="10"/>
                    </a:cubicBezTo>
                    <a:cubicBezTo>
                      <a:pt x="10" y="5"/>
                      <a:pt x="9" y="3"/>
                      <a:pt x="8"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Freeform 135"/>
              <p:cNvSpPr>
                <a:spLocks/>
              </p:cNvSpPr>
              <p:nvPr/>
            </p:nvSpPr>
            <p:spPr bwMode="auto">
              <a:xfrm>
                <a:off x="3122622" y="4935394"/>
                <a:ext cx="17463" cy="412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5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2" y="5"/>
                      <a:pt x="2" y="6"/>
                    </a:cubicBezTo>
                    <a:cubicBezTo>
                      <a:pt x="2" y="6"/>
                      <a:pt x="1" y="6"/>
                      <a:pt x="1" y="6"/>
                    </a:cubicBezTo>
                    <a:cubicBezTo>
                      <a:pt x="0" y="6"/>
                      <a:pt x="0" y="6"/>
                      <a:pt x="0" y="6"/>
                    </a:cubicBezTo>
                    <a:cubicBezTo>
                      <a:pt x="0" y="2"/>
                      <a:pt x="0" y="2"/>
                      <a:pt x="0" y="2"/>
                    </a:cubicBezTo>
                    <a:cubicBezTo>
                      <a:pt x="1" y="2"/>
                      <a:pt x="2" y="2"/>
                      <a:pt x="3" y="1"/>
                    </a:cubicBezTo>
                    <a:cubicBezTo>
                      <a:pt x="4" y="1"/>
                      <a:pt x="5" y="0"/>
                      <a:pt x="5"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Freeform 136"/>
              <p:cNvSpPr>
                <a:spLocks noEditPoints="1"/>
              </p:cNvSpPr>
              <p:nvPr/>
            </p:nvSpPr>
            <p:spPr bwMode="auto">
              <a:xfrm>
                <a:off x="3041659" y="4995719"/>
                <a:ext cx="31750" cy="4445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8 h 20"/>
                  <a:gd name="T12" fmla="*/ 7 w 14"/>
                  <a:gd name="T13" fmla="*/ 20 h 20"/>
                  <a:gd name="T14" fmla="*/ 7 w 14"/>
                  <a:gd name="T15" fmla="*/ 4 h 20"/>
                  <a:gd name="T16" fmla="*/ 4 w 14"/>
                  <a:gd name="T17" fmla="*/ 10 h 20"/>
                  <a:gd name="T18" fmla="*/ 7 w 14"/>
                  <a:gd name="T19" fmla="*/ 17 h 20"/>
                  <a:gd name="T20" fmla="*/ 10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4"/>
                      <a:pt x="14" y="10"/>
                    </a:cubicBezTo>
                    <a:cubicBezTo>
                      <a:pt x="14" y="13"/>
                      <a:pt x="14" y="16"/>
                      <a:pt x="13" y="18"/>
                    </a:cubicBezTo>
                    <a:cubicBezTo>
                      <a:pt x="11" y="19"/>
                      <a:pt x="9" y="20"/>
                      <a:pt x="7" y="20"/>
                    </a:cubicBezTo>
                    <a:close/>
                    <a:moveTo>
                      <a:pt x="7" y="4"/>
                    </a:moveTo>
                    <a:cubicBezTo>
                      <a:pt x="6" y="4"/>
                      <a:pt x="4" y="6"/>
                      <a:pt x="4" y="10"/>
                    </a:cubicBezTo>
                    <a:cubicBezTo>
                      <a:pt x="4" y="15"/>
                      <a:pt x="6" y="17"/>
                      <a:pt x="7" y="17"/>
                    </a:cubicBezTo>
                    <a:cubicBezTo>
                      <a:pt x="9" y="17"/>
                      <a:pt x="10" y="15"/>
                      <a:pt x="10" y="10"/>
                    </a:cubicBezTo>
                    <a:cubicBezTo>
                      <a:pt x="10" y="6"/>
                      <a:pt x="9"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Freeform 137"/>
              <p:cNvSpPr>
                <a:spLocks/>
              </p:cNvSpPr>
              <p:nvPr/>
            </p:nvSpPr>
            <p:spPr bwMode="auto">
              <a:xfrm>
                <a:off x="3084522" y="4995719"/>
                <a:ext cx="19050" cy="44450"/>
              </a:xfrm>
              <a:custGeom>
                <a:avLst/>
                <a:gdLst>
                  <a:gd name="T0" fmla="*/ 9 w 9"/>
                  <a:gd name="T1" fmla="*/ 0 h 20"/>
                  <a:gd name="T2" fmla="*/ 9 w 9"/>
                  <a:gd name="T3" fmla="*/ 20 h 20"/>
                  <a:gd name="T4" fmla="*/ 4 w 9"/>
                  <a:gd name="T5" fmla="*/ 20 h 20"/>
                  <a:gd name="T6" fmla="*/ 4 w 9"/>
                  <a:gd name="T7" fmla="*/ 5 h 20"/>
                  <a:gd name="T8" fmla="*/ 4 w 9"/>
                  <a:gd name="T9" fmla="*/ 6 h 20"/>
                  <a:gd name="T10" fmla="*/ 3 w 9"/>
                  <a:gd name="T11" fmla="*/ 6 h 20"/>
                  <a:gd name="T12" fmla="*/ 1 w 9"/>
                  <a:gd name="T13" fmla="*/ 6 h 20"/>
                  <a:gd name="T14" fmla="*/ 0 w 9"/>
                  <a:gd name="T15" fmla="*/ 7 h 20"/>
                  <a:gd name="T16" fmla="*/ 0 w 9"/>
                  <a:gd name="T17" fmla="*/ 3 h 20"/>
                  <a:gd name="T18" fmla="*/ 4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4" y="20"/>
                      <a:pt x="4" y="20"/>
                      <a:pt x="4" y="20"/>
                    </a:cubicBezTo>
                    <a:cubicBezTo>
                      <a:pt x="4" y="5"/>
                      <a:pt x="4" y="5"/>
                      <a:pt x="4" y="5"/>
                    </a:cubicBezTo>
                    <a:cubicBezTo>
                      <a:pt x="4" y="5"/>
                      <a:pt x="4" y="6"/>
                      <a:pt x="4" y="6"/>
                    </a:cubicBezTo>
                    <a:cubicBezTo>
                      <a:pt x="4" y="6"/>
                      <a:pt x="3" y="6"/>
                      <a:pt x="3" y="6"/>
                    </a:cubicBezTo>
                    <a:cubicBezTo>
                      <a:pt x="2" y="6"/>
                      <a:pt x="2" y="6"/>
                      <a:pt x="1" y="6"/>
                    </a:cubicBezTo>
                    <a:cubicBezTo>
                      <a:pt x="1" y="7"/>
                      <a:pt x="1" y="7"/>
                      <a:pt x="0" y="7"/>
                    </a:cubicBezTo>
                    <a:cubicBezTo>
                      <a:pt x="0" y="3"/>
                      <a:pt x="0" y="3"/>
                      <a:pt x="0" y="3"/>
                    </a:cubicBezTo>
                    <a:cubicBezTo>
                      <a:pt x="1" y="3"/>
                      <a:pt x="3" y="2"/>
                      <a:pt x="4" y="2"/>
                    </a:cubicBezTo>
                    <a:cubicBezTo>
                      <a:pt x="4" y="2"/>
                      <a:pt x="6" y="1"/>
                      <a:pt x="6" y="0"/>
                    </a:cubicBezTo>
                    <a:lnTo>
                      <a:pt x="9"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Freeform 138"/>
              <p:cNvSpPr>
                <a:spLocks noEditPoints="1"/>
              </p:cNvSpPr>
              <p:nvPr/>
            </p:nvSpPr>
            <p:spPr bwMode="auto">
              <a:xfrm>
                <a:off x="3117859" y="4995719"/>
                <a:ext cx="31750" cy="44450"/>
              </a:xfrm>
              <a:custGeom>
                <a:avLst/>
                <a:gdLst>
                  <a:gd name="T0" fmla="*/ 6 w 14"/>
                  <a:gd name="T1" fmla="*/ 20 h 20"/>
                  <a:gd name="T2" fmla="*/ 0 w 14"/>
                  <a:gd name="T3" fmla="*/ 10 h 20"/>
                  <a:gd name="T4" fmla="*/ 1 w 14"/>
                  <a:gd name="T5" fmla="*/ 3 h 20"/>
                  <a:gd name="T6" fmla="*/ 7 w 14"/>
                  <a:gd name="T7" fmla="*/ 0 h 20"/>
                  <a:gd name="T8" fmla="*/ 14 w 14"/>
                  <a:gd name="T9" fmla="*/ 10 h 20"/>
                  <a:gd name="T10" fmla="*/ 12 w 14"/>
                  <a:gd name="T11" fmla="*/ 18 h 20"/>
                  <a:gd name="T12" fmla="*/ 6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6" y="20"/>
                    </a:moveTo>
                    <a:cubicBezTo>
                      <a:pt x="2" y="20"/>
                      <a:pt x="0" y="17"/>
                      <a:pt x="0" y="10"/>
                    </a:cubicBezTo>
                    <a:cubicBezTo>
                      <a:pt x="0" y="7"/>
                      <a:pt x="0" y="5"/>
                      <a:pt x="1" y="3"/>
                    </a:cubicBezTo>
                    <a:cubicBezTo>
                      <a:pt x="3" y="1"/>
                      <a:pt x="5" y="0"/>
                      <a:pt x="7" y="0"/>
                    </a:cubicBezTo>
                    <a:cubicBezTo>
                      <a:pt x="11" y="0"/>
                      <a:pt x="14" y="4"/>
                      <a:pt x="14" y="10"/>
                    </a:cubicBezTo>
                    <a:cubicBezTo>
                      <a:pt x="14" y="13"/>
                      <a:pt x="13" y="16"/>
                      <a:pt x="12" y="18"/>
                    </a:cubicBezTo>
                    <a:cubicBezTo>
                      <a:pt x="10" y="19"/>
                      <a:pt x="9" y="20"/>
                      <a:pt x="6" y="20"/>
                    </a:cubicBezTo>
                    <a:close/>
                    <a:moveTo>
                      <a:pt x="7" y="4"/>
                    </a:moveTo>
                    <a:cubicBezTo>
                      <a:pt x="5" y="4"/>
                      <a:pt x="4" y="6"/>
                      <a:pt x="4" y="10"/>
                    </a:cubicBezTo>
                    <a:cubicBezTo>
                      <a:pt x="4" y="15"/>
                      <a:pt x="5" y="17"/>
                      <a:pt x="7" y="17"/>
                    </a:cubicBezTo>
                    <a:cubicBezTo>
                      <a:pt x="8" y="17"/>
                      <a:pt x="9" y="15"/>
                      <a:pt x="9" y="10"/>
                    </a:cubicBezTo>
                    <a:cubicBezTo>
                      <a:pt x="9" y="6"/>
                      <a:pt x="8"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142"/>
              <p:cNvSpPr>
                <a:spLocks/>
              </p:cNvSpPr>
              <p:nvPr/>
            </p:nvSpPr>
            <p:spPr bwMode="auto">
              <a:xfrm>
                <a:off x="3195647" y="4935394"/>
                <a:ext cx="22225" cy="41275"/>
              </a:xfrm>
              <a:custGeom>
                <a:avLst/>
                <a:gdLst>
                  <a:gd name="T0" fmla="*/ 10 w 10"/>
                  <a:gd name="T1" fmla="*/ 0 h 19"/>
                  <a:gd name="T2" fmla="*/ 10 w 10"/>
                  <a:gd name="T3" fmla="*/ 19 h 19"/>
                  <a:gd name="T4" fmla="*/ 5 w 10"/>
                  <a:gd name="T5" fmla="*/ 19 h 19"/>
                  <a:gd name="T6" fmla="*/ 5 w 10"/>
                  <a:gd name="T7" fmla="*/ 4 h 19"/>
                  <a:gd name="T8" fmla="*/ 4 w 10"/>
                  <a:gd name="T9" fmla="*/ 5 h 19"/>
                  <a:gd name="T10" fmla="*/ 3 w 10"/>
                  <a:gd name="T11" fmla="*/ 6 h 19"/>
                  <a:gd name="T12" fmla="*/ 2 w 10"/>
                  <a:gd name="T13" fmla="*/ 6 h 19"/>
                  <a:gd name="T14" fmla="*/ 0 w 10"/>
                  <a:gd name="T15" fmla="*/ 6 h 19"/>
                  <a:gd name="T16" fmla="*/ 0 w 10"/>
                  <a:gd name="T17" fmla="*/ 2 h 19"/>
                  <a:gd name="T18" fmla="*/ 4 w 10"/>
                  <a:gd name="T19" fmla="*/ 1 h 19"/>
                  <a:gd name="T20" fmla="*/ 7 w 10"/>
                  <a:gd name="T21" fmla="*/ 0 h 19"/>
                  <a:gd name="T22" fmla="*/ 10 w 10"/>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9">
                    <a:moveTo>
                      <a:pt x="10" y="0"/>
                    </a:moveTo>
                    <a:cubicBezTo>
                      <a:pt x="10" y="19"/>
                      <a:pt x="10" y="19"/>
                      <a:pt x="10" y="19"/>
                    </a:cubicBezTo>
                    <a:cubicBezTo>
                      <a:pt x="5" y="19"/>
                      <a:pt x="5" y="19"/>
                      <a:pt x="5" y="19"/>
                    </a:cubicBezTo>
                    <a:cubicBezTo>
                      <a:pt x="5" y="4"/>
                      <a:pt x="5" y="4"/>
                      <a:pt x="5" y="4"/>
                    </a:cubicBezTo>
                    <a:cubicBezTo>
                      <a:pt x="5" y="4"/>
                      <a:pt x="4" y="5"/>
                      <a:pt x="4" y="5"/>
                    </a:cubicBezTo>
                    <a:cubicBezTo>
                      <a:pt x="4" y="5"/>
                      <a:pt x="3" y="5"/>
                      <a:pt x="3" y="6"/>
                    </a:cubicBezTo>
                    <a:cubicBezTo>
                      <a:pt x="3" y="6"/>
                      <a:pt x="2" y="6"/>
                      <a:pt x="2" y="6"/>
                    </a:cubicBezTo>
                    <a:cubicBezTo>
                      <a:pt x="1" y="6"/>
                      <a:pt x="1" y="6"/>
                      <a:pt x="0" y="6"/>
                    </a:cubicBezTo>
                    <a:cubicBezTo>
                      <a:pt x="0" y="2"/>
                      <a:pt x="0" y="2"/>
                      <a:pt x="0" y="2"/>
                    </a:cubicBezTo>
                    <a:cubicBezTo>
                      <a:pt x="2" y="2"/>
                      <a:pt x="3" y="2"/>
                      <a:pt x="4" y="1"/>
                    </a:cubicBezTo>
                    <a:cubicBezTo>
                      <a:pt x="5" y="1"/>
                      <a:pt x="6" y="0"/>
                      <a:pt x="7" y="0"/>
                    </a:cubicBezTo>
                    <a:lnTo>
                      <a:pt x="10"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Freeform 143"/>
              <p:cNvSpPr>
                <a:spLocks noEditPoints="1"/>
              </p:cNvSpPr>
              <p:nvPr/>
            </p:nvSpPr>
            <p:spPr bwMode="auto">
              <a:xfrm>
                <a:off x="3194059" y="4995719"/>
                <a:ext cx="30163" cy="44450"/>
              </a:xfrm>
              <a:custGeom>
                <a:avLst/>
                <a:gdLst>
                  <a:gd name="T0" fmla="*/ 7 w 14"/>
                  <a:gd name="T1" fmla="*/ 20 h 20"/>
                  <a:gd name="T2" fmla="*/ 0 w 14"/>
                  <a:gd name="T3" fmla="*/ 10 h 20"/>
                  <a:gd name="T4" fmla="*/ 2 w 14"/>
                  <a:gd name="T5" fmla="*/ 3 h 20"/>
                  <a:gd name="T6" fmla="*/ 7 w 14"/>
                  <a:gd name="T7" fmla="*/ 0 h 20"/>
                  <a:gd name="T8" fmla="*/ 14 w 14"/>
                  <a:gd name="T9" fmla="*/ 10 h 20"/>
                  <a:gd name="T10" fmla="*/ 12 w 14"/>
                  <a:gd name="T11" fmla="*/ 18 h 20"/>
                  <a:gd name="T12" fmla="*/ 7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0" y="5"/>
                      <a:pt x="2" y="3"/>
                    </a:cubicBezTo>
                    <a:cubicBezTo>
                      <a:pt x="3" y="1"/>
                      <a:pt x="5" y="0"/>
                      <a:pt x="7" y="0"/>
                    </a:cubicBezTo>
                    <a:cubicBezTo>
                      <a:pt x="12" y="0"/>
                      <a:pt x="14" y="4"/>
                      <a:pt x="14" y="10"/>
                    </a:cubicBezTo>
                    <a:cubicBezTo>
                      <a:pt x="14" y="13"/>
                      <a:pt x="13" y="16"/>
                      <a:pt x="12" y="18"/>
                    </a:cubicBezTo>
                    <a:cubicBezTo>
                      <a:pt x="11" y="19"/>
                      <a:pt x="9" y="20"/>
                      <a:pt x="7" y="20"/>
                    </a:cubicBezTo>
                    <a:close/>
                    <a:moveTo>
                      <a:pt x="7" y="4"/>
                    </a:moveTo>
                    <a:cubicBezTo>
                      <a:pt x="5" y="4"/>
                      <a:pt x="4" y="6"/>
                      <a:pt x="4" y="10"/>
                    </a:cubicBezTo>
                    <a:cubicBezTo>
                      <a:pt x="4" y="15"/>
                      <a:pt x="5" y="17"/>
                      <a:pt x="7" y="17"/>
                    </a:cubicBezTo>
                    <a:cubicBezTo>
                      <a:pt x="9" y="17"/>
                      <a:pt x="9" y="15"/>
                      <a:pt x="9" y="10"/>
                    </a:cubicBezTo>
                    <a:cubicBezTo>
                      <a:pt x="9" y="6"/>
                      <a:pt x="9"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Freeform 145"/>
              <p:cNvSpPr>
                <a:spLocks noEditPoints="1"/>
              </p:cNvSpPr>
              <p:nvPr/>
            </p:nvSpPr>
            <p:spPr bwMode="auto">
              <a:xfrm>
                <a:off x="3152784" y="4935394"/>
                <a:ext cx="31750" cy="41275"/>
              </a:xfrm>
              <a:custGeom>
                <a:avLst/>
                <a:gdLst>
                  <a:gd name="T0" fmla="*/ 7 w 14"/>
                  <a:gd name="T1" fmla="*/ 19 h 19"/>
                  <a:gd name="T2" fmla="*/ 0 w 14"/>
                  <a:gd name="T3" fmla="*/ 10 h 19"/>
                  <a:gd name="T4" fmla="*/ 2 w 14"/>
                  <a:gd name="T5" fmla="*/ 2 h 19"/>
                  <a:gd name="T6" fmla="*/ 8 w 14"/>
                  <a:gd name="T7" fmla="*/ 0 h 19"/>
                  <a:gd name="T8" fmla="*/ 14 w 14"/>
                  <a:gd name="T9" fmla="*/ 10 h 19"/>
                  <a:gd name="T10" fmla="*/ 13 w 14"/>
                  <a:gd name="T11" fmla="*/ 17 h 19"/>
                  <a:gd name="T12" fmla="*/ 7 w 14"/>
                  <a:gd name="T13" fmla="*/ 19 h 19"/>
                  <a:gd name="T14" fmla="*/ 7 w 14"/>
                  <a:gd name="T15" fmla="*/ 3 h 19"/>
                  <a:gd name="T16" fmla="*/ 5 w 14"/>
                  <a:gd name="T17" fmla="*/ 10 h 19"/>
                  <a:gd name="T18" fmla="*/ 7 w 14"/>
                  <a:gd name="T19" fmla="*/ 16 h 19"/>
                  <a:gd name="T20" fmla="*/ 10 w 14"/>
                  <a:gd name="T21" fmla="*/ 10 h 19"/>
                  <a:gd name="T22" fmla="*/ 7 w 14"/>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9">
                    <a:moveTo>
                      <a:pt x="7" y="19"/>
                    </a:moveTo>
                    <a:cubicBezTo>
                      <a:pt x="2" y="19"/>
                      <a:pt x="0" y="17"/>
                      <a:pt x="0" y="10"/>
                    </a:cubicBezTo>
                    <a:cubicBezTo>
                      <a:pt x="0" y="6"/>
                      <a:pt x="1" y="4"/>
                      <a:pt x="2" y="2"/>
                    </a:cubicBezTo>
                    <a:cubicBezTo>
                      <a:pt x="3" y="1"/>
                      <a:pt x="5" y="0"/>
                      <a:pt x="8" y="0"/>
                    </a:cubicBezTo>
                    <a:cubicBezTo>
                      <a:pt x="12" y="0"/>
                      <a:pt x="14" y="3"/>
                      <a:pt x="14" y="10"/>
                    </a:cubicBezTo>
                    <a:cubicBezTo>
                      <a:pt x="14" y="13"/>
                      <a:pt x="14" y="15"/>
                      <a:pt x="13" y="17"/>
                    </a:cubicBezTo>
                    <a:cubicBezTo>
                      <a:pt x="12" y="19"/>
                      <a:pt x="10" y="19"/>
                      <a:pt x="7" y="19"/>
                    </a:cubicBezTo>
                    <a:close/>
                    <a:moveTo>
                      <a:pt x="7" y="3"/>
                    </a:moveTo>
                    <a:cubicBezTo>
                      <a:pt x="6" y="3"/>
                      <a:pt x="5" y="5"/>
                      <a:pt x="5" y="10"/>
                    </a:cubicBezTo>
                    <a:cubicBezTo>
                      <a:pt x="5" y="14"/>
                      <a:pt x="6" y="16"/>
                      <a:pt x="7" y="16"/>
                    </a:cubicBezTo>
                    <a:cubicBezTo>
                      <a:pt x="9" y="16"/>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Freeform 146"/>
              <p:cNvSpPr>
                <a:spLocks/>
              </p:cNvSpPr>
              <p:nvPr/>
            </p:nvSpPr>
            <p:spPr bwMode="auto">
              <a:xfrm>
                <a:off x="3157547" y="4995719"/>
                <a:ext cx="20638" cy="44450"/>
              </a:xfrm>
              <a:custGeom>
                <a:avLst/>
                <a:gdLst>
                  <a:gd name="T0" fmla="*/ 9 w 9"/>
                  <a:gd name="T1" fmla="*/ 0 h 20"/>
                  <a:gd name="T2" fmla="*/ 9 w 9"/>
                  <a:gd name="T3" fmla="*/ 20 h 20"/>
                  <a:gd name="T4" fmla="*/ 5 w 9"/>
                  <a:gd name="T5" fmla="*/ 20 h 20"/>
                  <a:gd name="T6" fmla="*/ 5 w 9"/>
                  <a:gd name="T7" fmla="*/ 5 h 20"/>
                  <a:gd name="T8" fmla="*/ 4 w 9"/>
                  <a:gd name="T9" fmla="*/ 6 h 20"/>
                  <a:gd name="T10" fmla="*/ 3 w 9"/>
                  <a:gd name="T11" fmla="*/ 6 h 20"/>
                  <a:gd name="T12" fmla="*/ 1 w 9"/>
                  <a:gd name="T13" fmla="*/ 6 h 20"/>
                  <a:gd name="T14" fmla="*/ 0 w 9"/>
                  <a:gd name="T15" fmla="*/ 7 h 20"/>
                  <a:gd name="T16" fmla="*/ 0 w 9"/>
                  <a:gd name="T17" fmla="*/ 3 h 20"/>
                  <a:gd name="T18" fmla="*/ 3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5" y="20"/>
                      <a:pt x="5" y="20"/>
                      <a:pt x="5" y="20"/>
                    </a:cubicBezTo>
                    <a:cubicBezTo>
                      <a:pt x="5" y="5"/>
                      <a:pt x="5" y="5"/>
                      <a:pt x="5" y="5"/>
                    </a:cubicBezTo>
                    <a:cubicBezTo>
                      <a:pt x="4" y="5"/>
                      <a:pt x="4" y="6"/>
                      <a:pt x="4" y="6"/>
                    </a:cubicBezTo>
                    <a:cubicBezTo>
                      <a:pt x="3" y="6"/>
                      <a:pt x="3" y="6"/>
                      <a:pt x="3" y="6"/>
                    </a:cubicBezTo>
                    <a:cubicBezTo>
                      <a:pt x="2" y="6"/>
                      <a:pt x="2" y="6"/>
                      <a:pt x="1" y="6"/>
                    </a:cubicBezTo>
                    <a:cubicBezTo>
                      <a:pt x="1" y="7"/>
                      <a:pt x="0" y="7"/>
                      <a:pt x="0" y="7"/>
                    </a:cubicBezTo>
                    <a:cubicBezTo>
                      <a:pt x="0" y="3"/>
                      <a:pt x="0" y="3"/>
                      <a:pt x="0" y="3"/>
                    </a:cubicBezTo>
                    <a:cubicBezTo>
                      <a:pt x="1" y="3"/>
                      <a:pt x="3" y="2"/>
                      <a:pt x="3" y="2"/>
                    </a:cubicBezTo>
                    <a:cubicBezTo>
                      <a:pt x="5" y="2"/>
                      <a:pt x="6" y="1"/>
                      <a:pt x="6" y="0"/>
                    </a:cubicBezTo>
                    <a:lnTo>
                      <a:pt x="9"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82" name="Freeform 193"/>
            <p:cNvSpPr>
              <a:spLocks noEditPoints="1"/>
            </p:cNvSpPr>
            <p:nvPr/>
          </p:nvSpPr>
          <p:spPr bwMode="auto">
            <a:xfrm>
              <a:off x="1767583" y="4589477"/>
              <a:ext cx="155575" cy="182563"/>
            </a:xfrm>
            <a:custGeom>
              <a:avLst/>
              <a:gdLst>
                <a:gd name="T0" fmla="*/ 35 w 70"/>
                <a:gd name="T1" fmla="*/ 4 h 82"/>
                <a:gd name="T2" fmla="*/ 64 w 70"/>
                <a:gd name="T3" fmla="*/ 12 h 82"/>
                <a:gd name="T4" fmla="*/ 35 w 70"/>
                <a:gd name="T5" fmla="*/ 20 h 82"/>
                <a:gd name="T6" fmla="*/ 6 w 70"/>
                <a:gd name="T7" fmla="*/ 12 h 82"/>
                <a:gd name="T8" fmla="*/ 35 w 70"/>
                <a:gd name="T9" fmla="*/ 4 h 82"/>
                <a:gd name="T10" fmla="*/ 35 w 70"/>
                <a:gd name="T11" fmla="*/ 0 h 82"/>
                <a:gd name="T12" fmla="*/ 21 w 70"/>
                <a:gd name="T13" fmla="*/ 1 h 82"/>
                <a:gd name="T14" fmla="*/ 10 w 70"/>
                <a:gd name="T15" fmla="*/ 4 h 82"/>
                <a:gd name="T16" fmla="*/ 3 w 70"/>
                <a:gd name="T17" fmla="*/ 8 h 82"/>
                <a:gd name="T18" fmla="*/ 1 w 70"/>
                <a:gd name="T19" fmla="*/ 11 h 82"/>
                <a:gd name="T20" fmla="*/ 0 w 70"/>
                <a:gd name="T21" fmla="*/ 14 h 82"/>
                <a:gd name="T22" fmla="*/ 0 w 70"/>
                <a:gd name="T23" fmla="*/ 69 h 82"/>
                <a:gd name="T24" fmla="*/ 1 w 70"/>
                <a:gd name="T25" fmla="*/ 71 h 82"/>
                <a:gd name="T26" fmla="*/ 3 w 70"/>
                <a:gd name="T27" fmla="*/ 74 h 82"/>
                <a:gd name="T28" fmla="*/ 10 w 70"/>
                <a:gd name="T29" fmla="*/ 78 h 82"/>
                <a:gd name="T30" fmla="*/ 21 w 70"/>
                <a:gd name="T31" fmla="*/ 81 h 82"/>
                <a:gd name="T32" fmla="*/ 35 w 70"/>
                <a:gd name="T33" fmla="*/ 82 h 82"/>
                <a:gd name="T34" fmla="*/ 60 w 70"/>
                <a:gd name="T35" fmla="*/ 78 h 82"/>
                <a:gd name="T36" fmla="*/ 67 w 70"/>
                <a:gd name="T37" fmla="*/ 74 h 82"/>
                <a:gd name="T38" fmla="*/ 69 w 70"/>
                <a:gd name="T39" fmla="*/ 71 h 82"/>
                <a:gd name="T40" fmla="*/ 70 w 70"/>
                <a:gd name="T41" fmla="*/ 69 h 82"/>
                <a:gd name="T42" fmla="*/ 70 w 70"/>
                <a:gd name="T43" fmla="*/ 14 h 82"/>
                <a:gd name="T44" fmla="*/ 67 w 70"/>
                <a:gd name="T45" fmla="*/ 8 h 82"/>
                <a:gd name="T46" fmla="*/ 60 w 70"/>
                <a:gd name="T47" fmla="*/ 4 h 82"/>
                <a:gd name="T48" fmla="*/ 49 w 70"/>
                <a:gd name="T49" fmla="*/ 1 h 82"/>
                <a:gd name="T50" fmla="*/ 35 w 70"/>
                <a:gd name="T5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82">
                  <a:moveTo>
                    <a:pt x="35" y="4"/>
                  </a:moveTo>
                  <a:cubicBezTo>
                    <a:pt x="51" y="4"/>
                    <a:pt x="64" y="8"/>
                    <a:pt x="64" y="12"/>
                  </a:cubicBezTo>
                  <a:cubicBezTo>
                    <a:pt x="64" y="17"/>
                    <a:pt x="51" y="20"/>
                    <a:pt x="35" y="20"/>
                  </a:cubicBezTo>
                  <a:cubicBezTo>
                    <a:pt x="19" y="20"/>
                    <a:pt x="6" y="17"/>
                    <a:pt x="6" y="12"/>
                  </a:cubicBezTo>
                  <a:cubicBezTo>
                    <a:pt x="6" y="8"/>
                    <a:pt x="19" y="4"/>
                    <a:pt x="35" y="4"/>
                  </a:cubicBezTo>
                  <a:close/>
                  <a:moveTo>
                    <a:pt x="35" y="0"/>
                  </a:moveTo>
                  <a:cubicBezTo>
                    <a:pt x="21" y="1"/>
                    <a:pt x="21" y="1"/>
                    <a:pt x="21" y="1"/>
                  </a:cubicBezTo>
                  <a:cubicBezTo>
                    <a:pt x="10" y="4"/>
                    <a:pt x="10" y="4"/>
                    <a:pt x="10" y="4"/>
                  </a:cubicBezTo>
                  <a:cubicBezTo>
                    <a:pt x="3" y="8"/>
                    <a:pt x="3" y="8"/>
                    <a:pt x="3" y="8"/>
                  </a:cubicBezTo>
                  <a:cubicBezTo>
                    <a:pt x="1" y="11"/>
                    <a:pt x="1" y="11"/>
                    <a:pt x="1" y="11"/>
                  </a:cubicBezTo>
                  <a:cubicBezTo>
                    <a:pt x="0" y="14"/>
                    <a:pt x="0" y="14"/>
                    <a:pt x="0" y="14"/>
                  </a:cubicBezTo>
                  <a:cubicBezTo>
                    <a:pt x="0" y="69"/>
                    <a:pt x="0" y="69"/>
                    <a:pt x="0" y="69"/>
                  </a:cubicBezTo>
                  <a:cubicBezTo>
                    <a:pt x="1" y="71"/>
                    <a:pt x="1" y="71"/>
                    <a:pt x="1" y="71"/>
                  </a:cubicBezTo>
                  <a:cubicBezTo>
                    <a:pt x="3" y="74"/>
                    <a:pt x="3" y="74"/>
                    <a:pt x="3" y="74"/>
                  </a:cubicBezTo>
                  <a:cubicBezTo>
                    <a:pt x="10" y="78"/>
                    <a:pt x="10" y="78"/>
                    <a:pt x="10" y="78"/>
                  </a:cubicBezTo>
                  <a:cubicBezTo>
                    <a:pt x="21" y="81"/>
                    <a:pt x="21" y="81"/>
                    <a:pt x="21" y="81"/>
                  </a:cubicBezTo>
                  <a:cubicBezTo>
                    <a:pt x="26" y="82"/>
                    <a:pt x="30" y="82"/>
                    <a:pt x="35" y="82"/>
                  </a:cubicBezTo>
                  <a:cubicBezTo>
                    <a:pt x="45" y="82"/>
                    <a:pt x="53" y="81"/>
                    <a:pt x="60" y="78"/>
                  </a:cubicBezTo>
                  <a:cubicBezTo>
                    <a:pt x="63" y="77"/>
                    <a:pt x="66" y="76"/>
                    <a:pt x="67" y="74"/>
                  </a:cubicBezTo>
                  <a:cubicBezTo>
                    <a:pt x="68" y="73"/>
                    <a:pt x="69" y="72"/>
                    <a:pt x="69" y="71"/>
                  </a:cubicBezTo>
                  <a:cubicBezTo>
                    <a:pt x="70" y="71"/>
                    <a:pt x="70" y="70"/>
                    <a:pt x="70" y="69"/>
                  </a:cubicBezTo>
                  <a:cubicBezTo>
                    <a:pt x="70" y="14"/>
                    <a:pt x="70" y="14"/>
                    <a:pt x="70" y="14"/>
                  </a:cubicBezTo>
                  <a:cubicBezTo>
                    <a:pt x="70" y="12"/>
                    <a:pt x="69" y="10"/>
                    <a:pt x="67" y="8"/>
                  </a:cubicBezTo>
                  <a:cubicBezTo>
                    <a:pt x="66" y="7"/>
                    <a:pt x="63" y="5"/>
                    <a:pt x="60" y="4"/>
                  </a:cubicBezTo>
                  <a:cubicBezTo>
                    <a:pt x="57" y="3"/>
                    <a:pt x="53" y="2"/>
                    <a:pt x="49" y="1"/>
                  </a:cubicBezTo>
                  <a:cubicBezTo>
                    <a:pt x="45" y="0"/>
                    <a:pt x="40" y="0"/>
                    <a:pt x="35"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015929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8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9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9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9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9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38125"/>
            <a:ext cx="10515600" cy="1325563"/>
          </a:xfrm>
        </p:spPr>
        <p:txBody>
          <a:bodyPr/>
          <a:lstStyle/>
          <a:p>
            <a:r>
              <a:rPr lang="en-US" dirty="0"/>
              <a:t>Benefits of “Serverless”</a:t>
            </a:r>
          </a:p>
        </p:txBody>
      </p:sp>
      <p:grpSp>
        <p:nvGrpSpPr>
          <p:cNvPr id="174" name="Group 173"/>
          <p:cNvGrpSpPr/>
          <p:nvPr/>
        </p:nvGrpSpPr>
        <p:grpSpPr>
          <a:xfrm>
            <a:off x="7830087" y="1454603"/>
            <a:ext cx="4094993" cy="5156873"/>
            <a:chOff x="7830087" y="1454603"/>
            <a:chExt cx="4094993" cy="5156873"/>
          </a:xfrm>
        </p:grpSpPr>
        <p:sp>
          <p:nvSpPr>
            <p:cNvPr id="8" name="TextBox 7"/>
            <p:cNvSpPr txBox="1"/>
            <p:nvPr/>
          </p:nvSpPr>
          <p:spPr>
            <a:xfrm>
              <a:off x="8963184" y="5401914"/>
              <a:ext cx="1828800" cy="1209562"/>
            </a:xfrm>
            <a:prstGeom prst="rect">
              <a:avLst/>
            </a:prstGeom>
            <a:noFill/>
          </p:spPr>
          <p:txBody>
            <a:bodyPr wrap="square" lIns="91440" tIns="146304" rIns="182880" bIns="146304" rtlCol="0">
              <a:spAutoFit/>
            </a:bodyPr>
            <a:lstStyle/>
            <a:p>
              <a:pPr algn="ctr">
                <a:lnSpc>
                  <a:spcPct val="90000"/>
                </a:lnSpc>
                <a:spcAft>
                  <a:spcPts val="1200"/>
                </a:spcAft>
              </a:pPr>
              <a:r>
                <a:rPr lang="en-US" sz="2200" dirty="0">
                  <a:solidFill>
                    <a:schemeClr val="tx2"/>
                  </a:solidFill>
                  <a:latin typeface="+mj-lt"/>
                  <a:cs typeface="Segoe UI"/>
                </a:rPr>
                <a:t>Focus on Business Logic</a:t>
              </a:r>
            </a:p>
          </p:txBody>
        </p:sp>
        <p:pic>
          <p:nvPicPr>
            <p:cNvPr id="9" name="Picture 8"/>
            <p:cNvPicPr>
              <a:picLocks noChangeAspect="1"/>
            </p:cNvPicPr>
            <p:nvPr/>
          </p:nvPicPr>
          <p:blipFill>
            <a:blip r:embed="rId3"/>
            <a:stretch>
              <a:fillRect/>
            </a:stretch>
          </p:blipFill>
          <p:spPr>
            <a:xfrm>
              <a:off x="7830087" y="1454603"/>
              <a:ext cx="4094993" cy="4094993"/>
            </a:xfrm>
            <a:prstGeom prst="rect">
              <a:avLst/>
            </a:prstGeom>
          </p:spPr>
        </p:pic>
      </p:grpSp>
      <p:grpSp>
        <p:nvGrpSpPr>
          <p:cNvPr id="172" name="Group 171"/>
          <p:cNvGrpSpPr/>
          <p:nvPr/>
        </p:nvGrpSpPr>
        <p:grpSpPr>
          <a:xfrm>
            <a:off x="980663" y="1643764"/>
            <a:ext cx="3289336" cy="4205914"/>
            <a:chOff x="980663" y="1643764"/>
            <a:chExt cx="3289336" cy="4205914"/>
          </a:xfrm>
        </p:grpSpPr>
        <p:sp>
          <p:nvSpPr>
            <p:cNvPr id="6" name="TextBox 5"/>
            <p:cNvSpPr txBox="1"/>
            <p:nvPr/>
          </p:nvSpPr>
          <p:spPr>
            <a:xfrm>
              <a:off x="1784677" y="5249514"/>
              <a:ext cx="1828800" cy="600164"/>
            </a:xfrm>
            <a:prstGeom prst="rect">
              <a:avLst/>
            </a:prstGeom>
            <a:noFill/>
          </p:spPr>
          <p:txBody>
            <a:bodyPr wrap="square" lIns="91440" tIns="146304" rIns="182880" bIns="146304" rtlCol="0">
              <a:spAutoFit/>
            </a:bodyPr>
            <a:lstStyle/>
            <a:p>
              <a:pPr algn="ctr">
                <a:lnSpc>
                  <a:spcPct val="90000"/>
                </a:lnSpc>
                <a:spcAft>
                  <a:spcPts val="1200"/>
                </a:spcAft>
              </a:pPr>
              <a:r>
                <a:rPr lang="en-US" sz="2200" dirty="0">
                  <a:solidFill>
                    <a:schemeClr val="tx2"/>
                  </a:solidFill>
                  <a:latin typeface="+mj-lt"/>
                  <a:cs typeface="Segoe UI"/>
                </a:rPr>
                <a:t>Quick start</a:t>
              </a:r>
            </a:p>
          </p:txBody>
        </p:sp>
        <p:pic>
          <p:nvPicPr>
            <p:cNvPr id="10" name="Picture 9"/>
            <p:cNvPicPr>
              <a:picLocks noChangeAspect="1"/>
            </p:cNvPicPr>
            <p:nvPr/>
          </p:nvPicPr>
          <p:blipFill>
            <a:blip r:embed="rId4"/>
            <a:stretch>
              <a:fillRect/>
            </a:stretch>
          </p:blipFill>
          <p:spPr>
            <a:xfrm>
              <a:off x="980663" y="1643764"/>
              <a:ext cx="3289336" cy="3289336"/>
            </a:xfrm>
            <a:prstGeom prst="rect">
              <a:avLst/>
            </a:prstGeom>
          </p:spPr>
        </p:pic>
      </p:grpSp>
      <p:grpSp>
        <p:nvGrpSpPr>
          <p:cNvPr id="173" name="Group 172"/>
          <p:cNvGrpSpPr/>
          <p:nvPr/>
        </p:nvGrpSpPr>
        <p:grpSpPr>
          <a:xfrm>
            <a:off x="5446713" y="1825626"/>
            <a:ext cx="1870076" cy="4481151"/>
            <a:chOff x="5446713" y="1825626"/>
            <a:chExt cx="1870076" cy="4481151"/>
          </a:xfrm>
        </p:grpSpPr>
        <p:sp>
          <p:nvSpPr>
            <p:cNvPr id="7" name="TextBox 6"/>
            <p:cNvSpPr txBox="1"/>
            <p:nvPr/>
          </p:nvSpPr>
          <p:spPr>
            <a:xfrm>
              <a:off x="5463904" y="5401914"/>
              <a:ext cx="1828800" cy="904863"/>
            </a:xfrm>
            <a:prstGeom prst="rect">
              <a:avLst/>
            </a:prstGeom>
            <a:noFill/>
          </p:spPr>
          <p:txBody>
            <a:bodyPr wrap="square" lIns="91440" tIns="146304" rIns="182880" bIns="146304" rtlCol="0">
              <a:spAutoFit/>
            </a:bodyPr>
            <a:lstStyle/>
            <a:p>
              <a:pPr algn="ctr">
                <a:lnSpc>
                  <a:spcPct val="90000"/>
                </a:lnSpc>
                <a:spcAft>
                  <a:spcPts val="1200"/>
                </a:spcAft>
              </a:pPr>
              <a:r>
                <a:rPr lang="en-US" sz="2200" dirty="0">
                  <a:solidFill>
                    <a:schemeClr val="tx2"/>
                  </a:solidFill>
                  <a:latin typeface="+mj-lt"/>
                  <a:cs typeface="Segoe UI"/>
                </a:rPr>
                <a:t>Managed for you</a:t>
              </a:r>
            </a:p>
          </p:txBody>
        </p:sp>
        <p:sp>
          <p:nvSpPr>
            <p:cNvPr id="13" name="Freeform 5"/>
            <p:cNvSpPr>
              <a:spLocks/>
            </p:cNvSpPr>
            <p:nvPr/>
          </p:nvSpPr>
          <p:spPr bwMode="auto">
            <a:xfrm>
              <a:off x="5757863" y="2082801"/>
              <a:ext cx="577850" cy="657225"/>
            </a:xfrm>
            <a:custGeom>
              <a:avLst/>
              <a:gdLst>
                <a:gd name="T0" fmla="*/ 364 w 364"/>
                <a:gd name="T1" fmla="*/ 412 h 414"/>
                <a:gd name="T2" fmla="*/ 2 w 364"/>
                <a:gd name="T3" fmla="*/ 414 h 414"/>
                <a:gd name="T4" fmla="*/ 0 w 364"/>
                <a:gd name="T5" fmla="*/ 2 h 414"/>
                <a:gd name="T6" fmla="*/ 360 w 364"/>
                <a:gd name="T7" fmla="*/ 0 h 414"/>
                <a:gd name="T8" fmla="*/ 364 w 364"/>
                <a:gd name="T9" fmla="*/ 412 h 414"/>
              </a:gdLst>
              <a:ahLst/>
              <a:cxnLst>
                <a:cxn ang="0">
                  <a:pos x="T0" y="T1"/>
                </a:cxn>
                <a:cxn ang="0">
                  <a:pos x="T2" y="T3"/>
                </a:cxn>
                <a:cxn ang="0">
                  <a:pos x="T4" y="T5"/>
                </a:cxn>
                <a:cxn ang="0">
                  <a:pos x="T6" y="T7"/>
                </a:cxn>
                <a:cxn ang="0">
                  <a:pos x="T8" y="T9"/>
                </a:cxn>
              </a:cxnLst>
              <a:rect l="0" t="0" r="r" b="b"/>
              <a:pathLst>
                <a:path w="364" h="414">
                  <a:moveTo>
                    <a:pt x="364" y="412"/>
                  </a:moveTo>
                  <a:lnTo>
                    <a:pt x="2" y="414"/>
                  </a:lnTo>
                  <a:lnTo>
                    <a:pt x="0" y="2"/>
                  </a:lnTo>
                  <a:lnTo>
                    <a:pt x="360" y="0"/>
                  </a:lnTo>
                  <a:lnTo>
                    <a:pt x="364" y="4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p:cNvSpPr>
              <a:spLocks/>
            </p:cNvSpPr>
            <p:nvPr/>
          </p:nvSpPr>
          <p:spPr bwMode="auto">
            <a:xfrm>
              <a:off x="6086476" y="1825626"/>
              <a:ext cx="574675" cy="657225"/>
            </a:xfrm>
            <a:custGeom>
              <a:avLst/>
              <a:gdLst>
                <a:gd name="T0" fmla="*/ 362 w 362"/>
                <a:gd name="T1" fmla="*/ 409 h 414"/>
                <a:gd name="T2" fmla="*/ 2 w 362"/>
                <a:gd name="T3" fmla="*/ 414 h 414"/>
                <a:gd name="T4" fmla="*/ 0 w 362"/>
                <a:gd name="T5" fmla="*/ 3 h 414"/>
                <a:gd name="T6" fmla="*/ 359 w 362"/>
                <a:gd name="T7" fmla="*/ 0 h 414"/>
                <a:gd name="T8" fmla="*/ 362 w 362"/>
                <a:gd name="T9" fmla="*/ 409 h 414"/>
              </a:gdLst>
              <a:ahLst/>
              <a:cxnLst>
                <a:cxn ang="0">
                  <a:pos x="T0" y="T1"/>
                </a:cxn>
                <a:cxn ang="0">
                  <a:pos x="T2" y="T3"/>
                </a:cxn>
                <a:cxn ang="0">
                  <a:pos x="T4" y="T5"/>
                </a:cxn>
                <a:cxn ang="0">
                  <a:pos x="T6" y="T7"/>
                </a:cxn>
                <a:cxn ang="0">
                  <a:pos x="T8" y="T9"/>
                </a:cxn>
              </a:cxnLst>
              <a:rect l="0" t="0" r="r" b="b"/>
              <a:pathLst>
                <a:path w="362" h="414">
                  <a:moveTo>
                    <a:pt x="362" y="409"/>
                  </a:moveTo>
                  <a:lnTo>
                    <a:pt x="2" y="414"/>
                  </a:lnTo>
                  <a:lnTo>
                    <a:pt x="0" y="3"/>
                  </a:lnTo>
                  <a:lnTo>
                    <a:pt x="359" y="0"/>
                  </a:lnTo>
                  <a:lnTo>
                    <a:pt x="362" y="40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p:nvSpPr>
          <p:spPr bwMode="auto">
            <a:xfrm>
              <a:off x="6403976" y="2082801"/>
              <a:ext cx="577850" cy="657225"/>
            </a:xfrm>
            <a:custGeom>
              <a:avLst/>
              <a:gdLst>
                <a:gd name="T0" fmla="*/ 364 w 364"/>
                <a:gd name="T1" fmla="*/ 412 h 414"/>
                <a:gd name="T2" fmla="*/ 2 w 364"/>
                <a:gd name="T3" fmla="*/ 414 h 414"/>
                <a:gd name="T4" fmla="*/ 0 w 364"/>
                <a:gd name="T5" fmla="*/ 2 h 414"/>
                <a:gd name="T6" fmla="*/ 359 w 364"/>
                <a:gd name="T7" fmla="*/ 0 h 414"/>
                <a:gd name="T8" fmla="*/ 364 w 364"/>
                <a:gd name="T9" fmla="*/ 412 h 414"/>
              </a:gdLst>
              <a:ahLst/>
              <a:cxnLst>
                <a:cxn ang="0">
                  <a:pos x="T0" y="T1"/>
                </a:cxn>
                <a:cxn ang="0">
                  <a:pos x="T2" y="T3"/>
                </a:cxn>
                <a:cxn ang="0">
                  <a:pos x="T4" y="T5"/>
                </a:cxn>
                <a:cxn ang="0">
                  <a:pos x="T6" y="T7"/>
                </a:cxn>
                <a:cxn ang="0">
                  <a:pos x="T8" y="T9"/>
                </a:cxn>
              </a:cxnLst>
              <a:rect l="0" t="0" r="r" b="b"/>
              <a:pathLst>
                <a:path w="364" h="414">
                  <a:moveTo>
                    <a:pt x="364" y="412"/>
                  </a:moveTo>
                  <a:lnTo>
                    <a:pt x="2" y="414"/>
                  </a:lnTo>
                  <a:lnTo>
                    <a:pt x="0" y="2"/>
                  </a:lnTo>
                  <a:lnTo>
                    <a:pt x="359" y="0"/>
                  </a:lnTo>
                  <a:lnTo>
                    <a:pt x="364" y="4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8"/>
            <p:cNvSpPr>
              <a:spLocks noChangeArrowheads="1"/>
            </p:cNvSpPr>
            <p:nvPr/>
          </p:nvSpPr>
          <p:spPr bwMode="auto">
            <a:xfrm>
              <a:off x="5607051" y="2479676"/>
              <a:ext cx="768350" cy="213677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9"/>
            <p:cNvSpPr>
              <a:spLocks noChangeArrowheads="1"/>
            </p:cNvSpPr>
            <p:nvPr/>
          </p:nvSpPr>
          <p:spPr bwMode="auto">
            <a:xfrm>
              <a:off x="5683251" y="2557463"/>
              <a:ext cx="617538" cy="19272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0"/>
            <p:cNvSpPr>
              <a:spLocks noChangeArrowheads="1"/>
            </p:cNvSpPr>
            <p:nvPr/>
          </p:nvSpPr>
          <p:spPr bwMode="auto">
            <a:xfrm>
              <a:off x="5718176" y="2600326"/>
              <a:ext cx="546100" cy="139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5740401"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5768976" y="2622551"/>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5800726" y="2622551"/>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5832476"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5864226"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16"/>
            <p:cNvSpPr>
              <a:spLocks noChangeArrowheads="1"/>
            </p:cNvSpPr>
            <p:nvPr/>
          </p:nvSpPr>
          <p:spPr bwMode="auto">
            <a:xfrm>
              <a:off x="5892801" y="2622551"/>
              <a:ext cx="19050"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Oval 17"/>
            <p:cNvSpPr>
              <a:spLocks noChangeArrowheads="1"/>
            </p:cNvSpPr>
            <p:nvPr/>
          </p:nvSpPr>
          <p:spPr bwMode="auto">
            <a:xfrm>
              <a:off x="6181726" y="2651126"/>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8"/>
            <p:cNvSpPr>
              <a:spLocks noChangeArrowheads="1"/>
            </p:cNvSpPr>
            <p:nvPr/>
          </p:nvSpPr>
          <p:spPr bwMode="auto">
            <a:xfrm>
              <a:off x="5718176" y="2779713"/>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19"/>
            <p:cNvSpPr>
              <a:spLocks noChangeArrowheads="1"/>
            </p:cNvSpPr>
            <p:nvPr/>
          </p:nvSpPr>
          <p:spPr bwMode="auto">
            <a:xfrm>
              <a:off x="5740401"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20"/>
            <p:cNvSpPr>
              <a:spLocks noChangeArrowheads="1"/>
            </p:cNvSpPr>
            <p:nvPr/>
          </p:nvSpPr>
          <p:spPr bwMode="auto">
            <a:xfrm>
              <a:off x="5768976" y="280352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21"/>
            <p:cNvSpPr>
              <a:spLocks noChangeArrowheads="1"/>
            </p:cNvSpPr>
            <p:nvPr/>
          </p:nvSpPr>
          <p:spPr bwMode="auto">
            <a:xfrm>
              <a:off x="5800726" y="280352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22"/>
            <p:cNvSpPr>
              <a:spLocks noChangeArrowheads="1"/>
            </p:cNvSpPr>
            <p:nvPr/>
          </p:nvSpPr>
          <p:spPr bwMode="auto">
            <a:xfrm>
              <a:off x="5832476"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23"/>
            <p:cNvSpPr>
              <a:spLocks noChangeArrowheads="1"/>
            </p:cNvSpPr>
            <p:nvPr/>
          </p:nvSpPr>
          <p:spPr bwMode="auto">
            <a:xfrm>
              <a:off x="5864226"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4"/>
            <p:cNvSpPr>
              <a:spLocks noChangeArrowheads="1"/>
            </p:cNvSpPr>
            <p:nvPr/>
          </p:nvSpPr>
          <p:spPr bwMode="auto">
            <a:xfrm>
              <a:off x="5892801" y="2803526"/>
              <a:ext cx="19050"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25"/>
            <p:cNvSpPr>
              <a:spLocks noChangeArrowheads="1"/>
            </p:cNvSpPr>
            <p:nvPr/>
          </p:nvSpPr>
          <p:spPr bwMode="auto">
            <a:xfrm>
              <a:off x="6181726" y="2832101"/>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26"/>
            <p:cNvSpPr>
              <a:spLocks noChangeArrowheads="1"/>
            </p:cNvSpPr>
            <p:nvPr/>
          </p:nvSpPr>
          <p:spPr bwMode="auto">
            <a:xfrm>
              <a:off x="5718176" y="29575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27"/>
            <p:cNvSpPr>
              <a:spLocks noChangeArrowheads="1"/>
            </p:cNvSpPr>
            <p:nvPr/>
          </p:nvSpPr>
          <p:spPr bwMode="auto">
            <a:xfrm>
              <a:off x="5740401"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28"/>
            <p:cNvSpPr>
              <a:spLocks noChangeArrowheads="1"/>
            </p:cNvSpPr>
            <p:nvPr/>
          </p:nvSpPr>
          <p:spPr bwMode="auto">
            <a:xfrm>
              <a:off x="5768976" y="2982913"/>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29"/>
            <p:cNvSpPr>
              <a:spLocks noChangeArrowheads="1"/>
            </p:cNvSpPr>
            <p:nvPr/>
          </p:nvSpPr>
          <p:spPr bwMode="auto">
            <a:xfrm>
              <a:off x="5800726" y="2982913"/>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30"/>
            <p:cNvSpPr>
              <a:spLocks noChangeArrowheads="1"/>
            </p:cNvSpPr>
            <p:nvPr/>
          </p:nvSpPr>
          <p:spPr bwMode="auto">
            <a:xfrm>
              <a:off x="5832476"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31"/>
            <p:cNvSpPr>
              <a:spLocks noChangeArrowheads="1"/>
            </p:cNvSpPr>
            <p:nvPr/>
          </p:nvSpPr>
          <p:spPr bwMode="auto">
            <a:xfrm>
              <a:off x="5864226"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32"/>
            <p:cNvSpPr>
              <a:spLocks noChangeArrowheads="1"/>
            </p:cNvSpPr>
            <p:nvPr/>
          </p:nvSpPr>
          <p:spPr bwMode="auto">
            <a:xfrm>
              <a:off x="5892801" y="2982913"/>
              <a:ext cx="19050"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Oval 33"/>
            <p:cNvSpPr>
              <a:spLocks noChangeArrowheads="1"/>
            </p:cNvSpPr>
            <p:nvPr/>
          </p:nvSpPr>
          <p:spPr bwMode="auto">
            <a:xfrm>
              <a:off x="6181726" y="30114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34"/>
            <p:cNvSpPr>
              <a:spLocks noChangeArrowheads="1"/>
            </p:cNvSpPr>
            <p:nvPr/>
          </p:nvSpPr>
          <p:spPr bwMode="auto">
            <a:xfrm>
              <a:off x="5718176" y="3140076"/>
              <a:ext cx="546100" cy="138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35"/>
            <p:cNvSpPr>
              <a:spLocks noChangeArrowheads="1"/>
            </p:cNvSpPr>
            <p:nvPr/>
          </p:nvSpPr>
          <p:spPr bwMode="auto">
            <a:xfrm>
              <a:off x="5740401"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Rectangle 36"/>
            <p:cNvSpPr>
              <a:spLocks noChangeArrowheads="1"/>
            </p:cNvSpPr>
            <p:nvPr/>
          </p:nvSpPr>
          <p:spPr bwMode="auto">
            <a:xfrm>
              <a:off x="5768976" y="3160713"/>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37"/>
            <p:cNvSpPr>
              <a:spLocks noChangeArrowheads="1"/>
            </p:cNvSpPr>
            <p:nvPr/>
          </p:nvSpPr>
          <p:spPr bwMode="auto">
            <a:xfrm>
              <a:off x="5800726" y="3160713"/>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38"/>
            <p:cNvSpPr>
              <a:spLocks noChangeArrowheads="1"/>
            </p:cNvSpPr>
            <p:nvPr/>
          </p:nvSpPr>
          <p:spPr bwMode="auto">
            <a:xfrm>
              <a:off x="5832476"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39"/>
            <p:cNvSpPr>
              <a:spLocks noChangeArrowheads="1"/>
            </p:cNvSpPr>
            <p:nvPr/>
          </p:nvSpPr>
          <p:spPr bwMode="auto">
            <a:xfrm>
              <a:off x="5864226"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Rectangle 40"/>
            <p:cNvSpPr>
              <a:spLocks noChangeArrowheads="1"/>
            </p:cNvSpPr>
            <p:nvPr/>
          </p:nvSpPr>
          <p:spPr bwMode="auto">
            <a:xfrm>
              <a:off x="5892801" y="3160713"/>
              <a:ext cx="19050"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Oval 41"/>
            <p:cNvSpPr>
              <a:spLocks noChangeArrowheads="1"/>
            </p:cNvSpPr>
            <p:nvPr/>
          </p:nvSpPr>
          <p:spPr bwMode="auto">
            <a:xfrm>
              <a:off x="6181726" y="318928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42"/>
            <p:cNvSpPr>
              <a:spLocks noChangeArrowheads="1"/>
            </p:cNvSpPr>
            <p:nvPr/>
          </p:nvSpPr>
          <p:spPr bwMode="auto">
            <a:xfrm>
              <a:off x="5718176" y="3317876"/>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3"/>
            <p:cNvSpPr>
              <a:spLocks noChangeArrowheads="1"/>
            </p:cNvSpPr>
            <p:nvPr/>
          </p:nvSpPr>
          <p:spPr bwMode="auto">
            <a:xfrm>
              <a:off x="5740401"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44"/>
            <p:cNvSpPr>
              <a:spLocks noChangeArrowheads="1"/>
            </p:cNvSpPr>
            <p:nvPr/>
          </p:nvSpPr>
          <p:spPr bwMode="auto">
            <a:xfrm>
              <a:off x="5768976" y="3343276"/>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45"/>
            <p:cNvSpPr>
              <a:spLocks noChangeArrowheads="1"/>
            </p:cNvSpPr>
            <p:nvPr/>
          </p:nvSpPr>
          <p:spPr bwMode="auto">
            <a:xfrm>
              <a:off x="5800726" y="3343276"/>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Rectangle 46"/>
            <p:cNvSpPr>
              <a:spLocks noChangeArrowheads="1"/>
            </p:cNvSpPr>
            <p:nvPr/>
          </p:nvSpPr>
          <p:spPr bwMode="auto">
            <a:xfrm>
              <a:off x="5832476"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Rectangle 47"/>
            <p:cNvSpPr>
              <a:spLocks noChangeArrowheads="1"/>
            </p:cNvSpPr>
            <p:nvPr/>
          </p:nvSpPr>
          <p:spPr bwMode="auto">
            <a:xfrm>
              <a:off x="5864226"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48"/>
            <p:cNvSpPr>
              <a:spLocks noChangeArrowheads="1"/>
            </p:cNvSpPr>
            <p:nvPr/>
          </p:nvSpPr>
          <p:spPr bwMode="auto">
            <a:xfrm>
              <a:off x="5892801" y="3343276"/>
              <a:ext cx="19050"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Oval 49"/>
            <p:cNvSpPr>
              <a:spLocks noChangeArrowheads="1"/>
            </p:cNvSpPr>
            <p:nvPr/>
          </p:nvSpPr>
          <p:spPr bwMode="auto">
            <a:xfrm>
              <a:off x="6181726" y="3371851"/>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Rectangle 50"/>
            <p:cNvSpPr>
              <a:spLocks noChangeArrowheads="1"/>
            </p:cNvSpPr>
            <p:nvPr/>
          </p:nvSpPr>
          <p:spPr bwMode="auto">
            <a:xfrm>
              <a:off x="5718176" y="3495676"/>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51"/>
            <p:cNvSpPr>
              <a:spLocks noChangeArrowheads="1"/>
            </p:cNvSpPr>
            <p:nvPr/>
          </p:nvSpPr>
          <p:spPr bwMode="auto">
            <a:xfrm>
              <a:off x="5740401"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52"/>
            <p:cNvSpPr>
              <a:spLocks noChangeArrowheads="1"/>
            </p:cNvSpPr>
            <p:nvPr/>
          </p:nvSpPr>
          <p:spPr bwMode="auto">
            <a:xfrm>
              <a:off x="5768976" y="352107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53"/>
            <p:cNvSpPr>
              <a:spLocks noChangeArrowheads="1"/>
            </p:cNvSpPr>
            <p:nvPr/>
          </p:nvSpPr>
          <p:spPr bwMode="auto">
            <a:xfrm>
              <a:off x="5800726" y="352107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54"/>
            <p:cNvSpPr>
              <a:spLocks noChangeArrowheads="1"/>
            </p:cNvSpPr>
            <p:nvPr/>
          </p:nvSpPr>
          <p:spPr bwMode="auto">
            <a:xfrm>
              <a:off x="5832476"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55"/>
            <p:cNvSpPr>
              <a:spLocks noChangeArrowheads="1"/>
            </p:cNvSpPr>
            <p:nvPr/>
          </p:nvSpPr>
          <p:spPr bwMode="auto">
            <a:xfrm>
              <a:off x="5864226"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56"/>
            <p:cNvSpPr>
              <a:spLocks noChangeArrowheads="1"/>
            </p:cNvSpPr>
            <p:nvPr/>
          </p:nvSpPr>
          <p:spPr bwMode="auto">
            <a:xfrm>
              <a:off x="5892801" y="3521076"/>
              <a:ext cx="19050"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Oval 57"/>
            <p:cNvSpPr>
              <a:spLocks noChangeArrowheads="1"/>
            </p:cNvSpPr>
            <p:nvPr/>
          </p:nvSpPr>
          <p:spPr bwMode="auto">
            <a:xfrm>
              <a:off x="6181726" y="3549651"/>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58"/>
            <p:cNvSpPr>
              <a:spLocks noChangeArrowheads="1"/>
            </p:cNvSpPr>
            <p:nvPr/>
          </p:nvSpPr>
          <p:spPr bwMode="auto">
            <a:xfrm>
              <a:off x="5718176" y="367506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59"/>
            <p:cNvSpPr>
              <a:spLocks noChangeArrowheads="1"/>
            </p:cNvSpPr>
            <p:nvPr/>
          </p:nvSpPr>
          <p:spPr bwMode="auto">
            <a:xfrm>
              <a:off x="5740401"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60"/>
            <p:cNvSpPr>
              <a:spLocks noChangeArrowheads="1"/>
            </p:cNvSpPr>
            <p:nvPr/>
          </p:nvSpPr>
          <p:spPr bwMode="auto">
            <a:xfrm>
              <a:off x="5768976" y="3700463"/>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61"/>
            <p:cNvSpPr>
              <a:spLocks noChangeArrowheads="1"/>
            </p:cNvSpPr>
            <p:nvPr/>
          </p:nvSpPr>
          <p:spPr bwMode="auto">
            <a:xfrm>
              <a:off x="5800726" y="3700463"/>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62"/>
            <p:cNvSpPr>
              <a:spLocks noChangeArrowheads="1"/>
            </p:cNvSpPr>
            <p:nvPr/>
          </p:nvSpPr>
          <p:spPr bwMode="auto">
            <a:xfrm>
              <a:off x="5832476"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63"/>
            <p:cNvSpPr>
              <a:spLocks noChangeArrowheads="1"/>
            </p:cNvSpPr>
            <p:nvPr/>
          </p:nvSpPr>
          <p:spPr bwMode="auto">
            <a:xfrm>
              <a:off x="5864226"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4"/>
            <p:cNvSpPr>
              <a:spLocks noChangeArrowheads="1"/>
            </p:cNvSpPr>
            <p:nvPr/>
          </p:nvSpPr>
          <p:spPr bwMode="auto">
            <a:xfrm>
              <a:off x="5892801" y="3700463"/>
              <a:ext cx="19050"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65"/>
            <p:cNvSpPr>
              <a:spLocks noChangeArrowheads="1"/>
            </p:cNvSpPr>
            <p:nvPr/>
          </p:nvSpPr>
          <p:spPr bwMode="auto">
            <a:xfrm>
              <a:off x="6181726" y="372903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66"/>
            <p:cNvSpPr>
              <a:spLocks noChangeArrowheads="1"/>
            </p:cNvSpPr>
            <p:nvPr/>
          </p:nvSpPr>
          <p:spPr bwMode="auto">
            <a:xfrm>
              <a:off x="6418263" y="2794001"/>
              <a:ext cx="655638" cy="1512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67"/>
            <p:cNvSpPr>
              <a:spLocks noChangeArrowheads="1"/>
            </p:cNvSpPr>
            <p:nvPr/>
          </p:nvSpPr>
          <p:spPr bwMode="auto">
            <a:xfrm>
              <a:off x="6464301" y="2832101"/>
              <a:ext cx="563563" cy="13811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68"/>
            <p:cNvSpPr>
              <a:spLocks noChangeArrowheads="1"/>
            </p:cNvSpPr>
            <p:nvPr/>
          </p:nvSpPr>
          <p:spPr bwMode="auto">
            <a:xfrm>
              <a:off x="6499226" y="287178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69"/>
            <p:cNvSpPr>
              <a:spLocks noChangeArrowheads="1"/>
            </p:cNvSpPr>
            <p:nvPr/>
          </p:nvSpPr>
          <p:spPr bwMode="auto">
            <a:xfrm>
              <a:off x="6521451"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70"/>
            <p:cNvSpPr>
              <a:spLocks noChangeArrowheads="1"/>
            </p:cNvSpPr>
            <p:nvPr/>
          </p:nvSpPr>
          <p:spPr bwMode="auto">
            <a:xfrm>
              <a:off x="6550026"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71"/>
            <p:cNvSpPr>
              <a:spLocks noChangeArrowheads="1"/>
            </p:cNvSpPr>
            <p:nvPr/>
          </p:nvSpPr>
          <p:spPr bwMode="auto">
            <a:xfrm>
              <a:off x="6581776"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72"/>
            <p:cNvSpPr>
              <a:spLocks noChangeArrowheads="1"/>
            </p:cNvSpPr>
            <p:nvPr/>
          </p:nvSpPr>
          <p:spPr bwMode="auto">
            <a:xfrm>
              <a:off x="6613526"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73"/>
            <p:cNvSpPr>
              <a:spLocks noChangeArrowheads="1"/>
            </p:cNvSpPr>
            <p:nvPr/>
          </p:nvSpPr>
          <p:spPr bwMode="auto">
            <a:xfrm>
              <a:off x="6646863"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74"/>
            <p:cNvSpPr>
              <a:spLocks noChangeArrowheads="1"/>
            </p:cNvSpPr>
            <p:nvPr/>
          </p:nvSpPr>
          <p:spPr bwMode="auto">
            <a:xfrm>
              <a:off x="6675438"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Oval 75"/>
            <p:cNvSpPr>
              <a:spLocks noChangeArrowheads="1"/>
            </p:cNvSpPr>
            <p:nvPr/>
          </p:nvSpPr>
          <p:spPr bwMode="auto">
            <a:xfrm>
              <a:off x="6910388" y="292576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76"/>
            <p:cNvSpPr>
              <a:spLocks noChangeArrowheads="1"/>
            </p:cNvSpPr>
            <p:nvPr/>
          </p:nvSpPr>
          <p:spPr bwMode="auto">
            <a:xfrm>
              <a:off x="6499226" y="304958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77"/>
            <p:cNvSpPr>
              <a:spLocks noChangeArrowheads="1"/>
            </p:cNvSpPr>
            <p:nvPr/>
          </p:nvSpPr>
          <p:spPr bwMode="auto">
            <a:xfrm>
              <a:off x="6521451"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78"/>
            <p:cNvSpPr>
              <a:spLocks noChangeArrowheads="1"/>
            </p:cNvSpPr>
            <p:nvPr/>
          </p:nvSpPr>
          <p:spPr bwMode="auto">
            <a:xfrm>
              <a:off x="6550026"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79"/>
            <p:cNvSpPr>
              <a:spLocks noChangeArrowheads="1"/>
            </p:cNvSpPr>
            <p:nvPr/>
          </p:nvSpPr>
          <p:spPr bwMode="auto">
            <a:xfrm>
              <a:off x="6581776"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80"/>
            <p:cNvSpPr>
              <a:spLocks noChangeArrowheads="1"/>
            </p:cNvSpPr>
            <p:nvPr/>
          </p:nvSpPr>
          <p:spPr bwMode="auto">
            <a:xfrm>
              <a:off x="6613526"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81"/>
            <p:cNvSpPr>
              <a:spLocks noChangeArrowheads="1"/>
            </p:cNvSpPr>
            <p:nvPr/>
          </p:nvSpPr>
          <p:spPr bwMode="auto">
            <a:xfrm>
              <a:off x="6646863"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Rectangle 82"/>
            <p:cNvSpPr>
              <a:spLocks noChangeArrowheads="1"/>
            </p:cNvSpPr>
            <p:nvPr/>
          </p:nvSpPr>
          <p:spPr bwMode="auto">
            <a:xfrm>
              <a:off x="6675438"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Oval 83"/>
            <p:cNvSpPr>
              <a:spLocks noChangeArrowheads="1"/>
            </p:cNvSpPr>
            <p:nvPr/>
          </p:nvSpPr>
          <p:spPr bwMode="auto">
            <a:xfrm>
              <a:off x="6910388" y="3103563"/>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84"/>
            <p:cNvSpPr>
              <a:spLocks noChangeArrowheads="1"/>
            </p:cNvSpPr>
            <p:nvPr/>
          </p:nvSpPr>
          <p:spPr bwMode="auto">
            <a:xfrm>
              <a:off x="6499226" y="3232151"/>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85"/>
            <p:cNvSpPr>
              <a:spLocks noChangeArrowheads="1"/>
            </p:cNvSpPr>
            <p:nvPr/>
          </p:nvSpPr>
          <p:spPr bwMode="auto">
            <a:xfrm>
              <a:off x="6521451"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Rectangle 86"/>
            <p:cNvSpPr>
              <a:spLocks noChangeArrowheads="1"/>
            </p:cNvSpPr>
            <p:nvPr/>
          </p:nvSpPr>
          <p:spPr bwMode="auto">
            <a:xfrm>
              <a:off x="6550026"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87"/>
            <p:cNvSpPr>
              <a:spLocks noChangeArrowheads="1"/>
            </p:cNvSpPr>
            <p:nvPr/>
          </p:nvSpPr>
          <p:spPr bwMode="auto">
            <a:xfrm>
              <a:off x="6581776"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88"/>
            <p:cNvSpPr>
              <a:spLocks noChangeArrowheads="1"/>
            </p:cNvSpPr>
            <p:nvPr/>
          </p:nvSpPr>
          <p:spPr bwMode="auto">
            <a:xfrm>
              <a:off x="6613526"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Rectangle 89"/>
            <p:cNvSpPr>
              <a:spLocks noChangeArrowheads="1"/>
            </p:cNvSpPr>
            <p:nvPr/>
          </p:nvSpPr>
          <p:spPr bwMode="auto">
            <a:xfrm>
              <a:off x="6646863"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90"/>
            <p:cNvSpPr>
              <a:spLocks noChangeArrowheads="1"/>
            </p:cNvSpPr>
            <p:nvPr/>
          </p:nvSpPr>
          <p:spPr bwMode="auto">
            <a:xfrm>
              <a:off x="6675438"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Oval 91"/>
            <p:cNvSpPr>
              <a:spLocks noChangeArrowheads="1"/>
            </p:cNvSpPr>
            <p:nvPr/>
          </p:nvSpPr>
          <p:spPr bwMode="auto">
            <a:xfrm>
              <a:off x="6910388" y="3286126"/>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Rectangle 92"/>
            <p:cNvSpPr>
              <a:spLocks noChangeArrowheads="1"/>
            </p:cNvSpPr>
            <p:nvPr/>
          </p:nvSpPr>
          <p:spPr bwMode="auto">
            <a:xfrm>
              <a:off x="6499226" y="3409951"/>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93"/>
            <p:cNvSpPr>
              <a:spLocks noChangeArrowheads="1"/>
            </p:cNvSpPr>
            <p:nvPr/>
          </p:nvSpPr>
          <p:spPr bwMode="auto">
            <a:xfrm>
              <a:off x="6521451"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Rectangle 94"/>
            <p:cNvSpPr>
              <a:spLocks noChangeArrowheads="1"/>
            </p:cNvSpPr>
            <p:nvPr/>
          </p:nvSpPr>
          <p:spPr bwMode="auto">
            <a:xfrm>
              <a:off x="6550026"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Rectangle 95"/>
            <p:cNvSpPr>
              <a:spLocks noChangeArrowheads="1"/>
            </p:cNvSpPr>
            <p:nvPr/>
          </p:nvSpPr>
          <p:spPr bwMode="auto">
            <a:xfrm>
              <a:off x="6581776"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96"/>
            <p:cNvSpPr>
              <a:spLocks noChangeArrowheads="1"/>
            </p:cNvSpPr>
            <p:nvPr/>
          </p:nvSpPr>
          <p:spPr bwMode="auto">
            <a:xfrm>
              <a:off x="6613526"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Rectangle 97"/>
            <p:cNvSpPr>
              <a:spLocks noChangeArrowheads="1"/>
            </p:cNvSpPr>
            <p:nvPr/>
          </p:nvSpPr>
          <p:spPr bwMode="auto">
            <a:xfrm>
              <a:off x="6646863"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Rectangle 98"/>
            <p:cNvSpPr>
              <a:spLocks noChangeArrowheads="1"/>
            </p:cNvSpPr>
            <p:nvPr/>
          </p:nvSpPr>
          <p:spPr bwMode="auto">
            <a:xfrm>
              <a:off x="6675438"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Oval 99"/>
            <p:cNvSpPr>
              <a:spLocks noChangeArrowheads="1"/>
            </p:cNvSpPr>
            <p:nvPr/>
          </p:nvSpPr>
          <p:spPr bwMode="auto">
            <a:xfrm>
              <a:off x="6910388" y="3463926"/>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Rectangle 100"/>
            <p:cNvSpPr>
              <a:spLocks noChangeArrowheads="1"/>
            </p:cNvSpPr>
            <p:nvPr/>
          </p:nvSpPr>
          <p:spPr bwMode="auto">
            <a:xfrm>
              <a:off x="6499226" y="358933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Rectangle 101"/>
            <p:cNvSpPr>
              <a:spLocks noChangeArrowheads="1"/>
            </p:cNvSpPr>
            <p:nvPr/>
          </p:nvSpPr>
          <p:spPr bwMode="auto">
            <a:xfrm>
              <a:off x="6521451"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Rectangle 102"/>
            <p:cNvSpPr>
              <a:spLocks noChangeArrowheads="1"/>
            </p:cNvSpPr>
            <p:nvPr/>
          </p:nvSpPr>
          <p:spPr bwMode="auto">
            <a:xfrm>
              <a:off x="6550026"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103"/>
            <p:cNvSpPr>
              <a:spLocks noChangeArrowheads="1"/>
            </p:cNvSpPr>
            <p:nvPr/>
          </p:nvSpPr>
          <p:spPr bwMode="auto">
            <a:xfrm>
              <a:off x="6581776"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104"/>
            <p:cNvSpPr>
              <a:spLocks noChangeArrowheads="1"/>
            </p:cNvSpPr>
            <p:nvPr/>
          </p:nvSpPr>
          <p:spPr bwMode="auto">
            <a:xfrm>
              <a:off x="6613526"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105"/>
            <p:cNvSpPr>
              <a:spLocks noChangeArrowheads="1"/>
            </p:cNvSpPr>
            <p:nvPr/>
          </p:nvSpPr>
          <p:spPr bwMode="auto">
            <a:xfrm>
              <a:off x="6646863"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Rectangle 106"/>
            <p:cNvSpPr>
              <a:spLocks noChangeArrowheads="1"/>
            </p:cNvSpPr>
            <p:nvPr/>
          </p:nvSpPr>
          <p:spPr bwMode="auto">
            <a:xfrm>
              <a:off x="6675438"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Oval 107"/>
            <p:cNvSpPr>
              <a:spLocks noChangeArrowheads="1"/>
            </p:cNvSpPr>
            <p:nvPr/>
          </p:nvSpPr>
          <p:spPr bwMode="auto">
            <a:xfrm>
              <a:off x="6910388" y="36433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Rectangle 108"/>
            <p:cNvSpPr>
              <a:spLocks noChangeArrowheads="1"/>
            </p:cNvSpPr>
            <p:nvPr/>
          </p:nvSpPr>
          <p:spPr bwMode="auto">
            <a:xfrm>
              <a:off x="6499226" y="3771901"/>
              <a:ext cx="493713"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Rectangle 124"/>
            <p:cNvSpPr>
              <a:spLocks noChangeArrowheads="1"/>
            </p:cNvSpPr>
            <p:nvPr/>
          </p:nvSpPr>
          <p:spPr bwMode="auto">
            <a:xfrm>
              <a:off x="6418263" y="2257426"/>
              <a:ext cx="481013" cy="4937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Rectangle 125"/>
            <p:cNvSpPr>
              <a:spLocks noChangeArrowheads="1"/>
            </p:cNvSpPr>
            <p:nvPr/>
          </p:nvSpPr>
          <p:spPr bwMode="auto">
            <a:xfrm>
              <a:off x="6453188" y="2286001"/>
              <a:ext cx="411163" cy="3968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Rectangle 126"/>
            <p:cNvSpPr>
              <a:spLocks noChangeArrowheads="1"/>
            </p:cNvSpPr>
            <p:nvPr/>
          </p:nvSpPr>
          <p:spPr bwMode="auto">
            <a:xfrm>
              <a:off x="6481763" y="2314576"/>
              <a:ext cx="354013" cy="3365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Rectangle 127"/>
            <p:cNvSpPr>
              <a:spLocks noChangeArrowheads="1"/>
            </p:cNvSpPr>
            <p:nvPr/>
          </p:nvSpPr>
          <p:spPr bwMode="auto">
            <a:xfrm>
              <a:off x="6496051"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Rectangle 128"/>
            <p:cNvSpPr>
              <a:spLocks noChangeArrowheads="1"/>
            </p:cNvSpPr>
            <p:nvPr/>
          </p:nvSpPr>
          <p:spPr bwMode="auto">
            <a:xfrm>
              <a:off x="6521451" y="2336801"/>
              <a:ext cx="11113"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Rectangle 129"/>
            <p:cNvSpPr>
              <a:spLocks noChangeArrowheads="1"/>
            </p:cNvSpPr>
            <p:nvPr/>
          </p:nvSpPr>
          <p:spPr bwMode="auto">
            <a:xfrm>
              <a:off x="6546851" y="2336801"/>
              <a:ext cx="9525"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Rectangle 130"/>
            <p:cNvSpPr>
              <a:spLocks noChangeArrowheads="1"/>
            </p:cNvSpPr>
            <p:nvPr/>
          </p:nvSpPr>
          <p:spPr bwMode="auto">
            <a:xfrm>
              <a:off x="6570663" y="2336801"/>
              <a:ext cx="11113"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Rectangle 131"/>
            <p:cNvSpPr>
              <a:spLocks noChangeArrowheads="1"/>
            </p:cNvSpPr>
            <p:nvPr/>
          </p:nvSpPr>
          <p:spPr bwMode="auto">
            <a:xfrm>
              <a:off x="6592888"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Rectangle 132"/>
            <p:cNvSpPr>
              <a:spLocks noChangeArrowheads="1"/>
            </p:cNvSpPr>
            <p:nvPr/>
          </p:nvSpPr>
          <p:spPr bwMode="auto">
            <a:xfrm>
              <a:off x="6618288"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Oval 133"/>
            <p:cNvSpPr>
              <a:spLocks noChangeArrowheads="1"/>
            </p:cNvSpPr>
            <p:nvPr/>
          </p:nvSpPr>
          <p:spPr bwMode="auto">
            <a:xfrm>
              <a:off x="6770688" y="2357438"/>
              <a:ext cx="28575" cy="2857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Rectangle 134"/>
            <p:cNvSpPr>
              <a:spLocks noChangeArrowheads="1"/>
            </p:cNvSpPr>
            <p:nvPr/>
          </p:nvSpPr>
          <p:spPr bwMode="auto">
            <a:xfrm>
              <a:off x="5486401" y="3429001"/>
              <a:ext cx="1620838" cy="13557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35"/>
            <p:cNvSpPr>
              <a:spLocks/>
            </p:cNvSpPr>
            <p:nvPr/>
          </p:nvSpPr>
          <p:spPr bwMode="auto">
            <a:xfrm>
              <a:off x="5454651" y="3481388"/>
              <a:ext cx="1719263" cy="1296988"/>
            </a:xfrm>
            <a:custGeom>
              <a:avLst/>
              <a:gdLst>
                <a:gd name="T0" fmla="*/ 482 w 482"/>
                <a:gd name="T1" fmla="*/ 10 h 363"/>
                <a:gd name="T2" fmla="*/ 473 w 482"/>
                <a:gd name="T3" fmla="*/ 0 h 363"/>
                <a:gd name="T4" fmla="*/ 9 w 482"/>
                <a:gd name="T5" fmla="*/ 0 h 363"/>
                <a:gd name="T6" fmla="*/ 0 w 482"/>
                <a:gd name="T7" fmla="*/ 10 h 363"/>
                <a:gd name="T8" fmla="*/ 0 w 482"/>
                <a:gd name="T9" fmla="*/ 325 h 363"/>
                <a:gd name="T10" fmla="*/ 9 w 482"/>
                <a:gd name="T11" fmla="*/ 335 h 363"/>
                <a:gd name="T12" fmla="*/ 224 w 482"/>
                <a:gd name="T13" fmla="*/ 335 h 363"/>
                <a:gd name="T14" fmla="*/ 217 w 482"/>
                <a:gd name="T15" fmla="*/ 356 h 363"/>
                <a:gd name="T16" fmla="*/ 174 w 482"/>
                <a:gd name="T17" fmla="*/ 356 h 363"/>
                <a:gd name="T18" fmla="*/ 174 w 482"/>
                <a:gd name="T19" fmla="*/ 363 h 363"/>
                <a:gd name="T20" fmla="*/ 306 w 482"/>
                <a:gd name="T21" fmla="*/ 363 h 363"/>
                <a:gd name="T22" fmla="*/ 306 w 482"/>
                <a:gd name="T23" fmla="*/ 356 h 363"/>
                <a:gd name="T24" fmla="*/ 271 w 482"/>
                <a:gd name="T25" fmla="*/ 356 h 363"/>
                <a:gd name="T26" fmla="*/ 264 w 482"/>
                <a:gd name="T27" fmla="*/ 335 h 363"/>
                <a:gd name="T28" fmla="*/ 473 w 482"/>
                <a:gd name="T29" fmla="*/ 335 h 363"/>
                <a:gd name="T30" fmla="*/ 482 w 482"/>
                <a:gd name="T31" fmla="*/ 325 h 363"/>
                <a:gd name="T32" fmla="*/ 482 w 482"/>
                <a:gd name="T33" fmla="*/ 1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363">
                  <a:moveTo>
                    <a:pt x="482" y="10"/>
                  </a:moveTo>
                  <a:cubicBezTo>
                    <a:pt x="482" y="4"/>
                    <a:pt x="478" y="0"/>
                    <a:pt x="473" y="0"/>
                  </a:cubicBezTo>
                  <a:cubicBezTo>
                    <a:pt x="9" y="0"/>
                    <a:pt x="9" y="0"/>
                    <a:pt x="9" y="0"/>
                  </a:cubicBezTo>
                  <a:cubicBezTo>
                    <a:pt x="4" y="0"/>
                    <a:pt x="0" y="4"/>
                    <a:pt x="0" y="10"/>
                  </a:cubicBezTo>
                  <a:cubicBezTo>
                    <a:pt x="0" y="325"/>
                    <a:pt x="0" y="325"/>
                    <a:pt x="0" y="325"/>
                  </a:cubicBezTo>
                  <a:cubicBezTo>
                    <a:pt x="0" y="330"/>
                    <a:pt x="4" y="335"/>
                    <a:pt x="9" y="335"/>
                  </a:cubicBezTo>
                  <a:cubicBezTo>
                    <a:pt x="224" y="335"/>
                    <a:pt x="224" y="335"/>
                    <a:pt x="224" y="335"/>
                  </a:cubicBezTo>
                  <a:cubicBezTo>
                    <a:pt x="217" y="356"/>
                    <a:pt x="217" y="356"/>
                    <a:pt x="217" y="356"/>
                  </a:cubicBezTo>
                  <a:cubicBezTo>
                    <a:pt x="174" y="356"/>
                    <a:pt x="174" y="356"/>
                    <a:pt x="174" y="356"/>
                  </a:cubicBezTo>
                  <a:cubicBezTo>
                    <a:pt x="174" y="363"/>
                    <a:pt x="174" y="363"/>
                    <a:pt x="174" y="363"/>
                  </a:cubicBezTo>
                  <a:cubicBezTo>
                    <a:pt x="306" y="363"/>
                    <a:pt x="306" y="363"/>
                    <a:pt x="306" y="363"/>
                  </a:cubicBezTo>
                  <a:cubicBezTo>
                    <a:pt x="306" y="356"/>
                    <a:pt x="306" y="356"/>
                    <a:pt x="306" y="356"/>
                  </a:cubicBezTo>
                  <a:cubicBezTo>
                    <a:pt x="271" y="356"/>
                    <a:pt x="271" y="356"/>
                    <a:pt x="271" y="356"/>
                  </a:cubicBezTo>
                  <a:cubicBezTo>
                    <a:pt x="264" y="335"/>
                    <a:pt x="264" y="335"/>
                    <a:pt x="264" y="335"/>
                  </a:cubicBezTo>
                  <a:cubicBezTo>
                    <a:pt x="473" y="335"/>
                    <a:pt x="473" y="335"/>
                    <a:pt x="473" y="335"/>
                  </a:cubicBezTo>
                  <a:cubicBezTo>
                    <a:pt x="478" y="335"/>
                    <a:pt x="482" y="330"/>
                    <a:pt x="482" y="325"/>
                  </a:cubicBezTo>
                  <a:lnTo>
                    <a:pt x="482"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Rectangle 136"/>
            <p:cNvSpPr>
              <a:spLocks noChangeArrowheads="1"/>
            </p:cNvSpPr>
            <p:nvPr/>
          </p:nvSpPr>
          <p:spPr bwMode="auto">
            <a:xfrm>
              <a:off x="5492751" y="3524251"/>
              <a:ext cx="1638300" cy="9207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37"/>
            <p:cNvSpPr>
              <a:spLocks/>
            </p:cNvSpPr>
            <p:nvPr/>
          </p:nvSpPr>
          <p:spPr bwMode="auto">
            <a:xfrm>
              <a:off x="5535613" y="4260851"/>
              <a:ext cx="800100" cy="184150"/>
            </a:xfrm>
            <a:custGeom>
              <a:avLst/>
              <a:gdLst>
                <a:gd name="T0" fmla="*/ 138 w 224"/>
                <a:gd name="T1" fmla="*/ 8 h 52"/>
                <a:gd name="T2" fmla="*/ 0 w 224"/>
                <a:gd name="T3" fmla="*/ 52 h 52"/>
                <a:gd name="T4" fmla="*/ 79 w 224"/>
                <a:gd name="T5" fmla="*/ 52 h 52"/>
                <a:gd name="T6" fmla="*/ 224 w 224"/>
                <a:gd name="T7" fmla="*/ 52 h 52"/>
                <a:gd name="T8" fmla="*/ 138 w 224"/>
                <a:gd name="T9" fmla="*/ 8 h 52"/>
              </a:gdLst>
              <a:ahLst/>
              <a:cxnLst>
                <a:cxn ang="0">
                  <a:pos x="T0" y="T1"/>
                </a:cxn>
                <a:cxn ang="0">
                  <a:pos x="T2" y="T3"/>
                </a:cxn>
                <a:cxn ang="0">
                  <a:pos x="T4" y="T5"/>
                </a:cxn>
                <a:cxn ang="0">
                  <a:pos x="T6" y="T7"/>
                </a:cxn>
                <a:cxn ang="0">
                  <a:pos x="T8" y="T9"/>
                </a:cxn>
              </a:cxnLst>
              <a:rect l="0" t="0" r="r" b="b"/>
              <a:pathLst>
                <a:path w="224" h="52">
                  <a:moveTo>
                    <a:pt x="138" y="8"/>
                  </a:moveTo>
                  <a:cubicBezTo>
                    <a:pt x="90" y="0"/>
                    <a:pt x="38" y="14"/>
                    <a:pt x="0" y="52"/>
                  </a:cubicBezTo>
                  <a:cubicBezTo>
                    <a:pt x="79" y="52"/>
                    <a:pt x="79" y="52"/>
                    <a:pt x="79" y="52"/>
                  </a:cubicBezTo>
                  <a:cubicBezTo>
                    <a:pt x="224" y="52"/>
                    <a:pt x="224" y="52"/>
                    <a:pt x="224" y="52"/>
                  </a:cubicBezTo>
                  <a:cubicBezTo>
                    <a:pt x="200" y="28"/>
                    <a:pt x="170" y="13"/>
                    <a:pt x="138"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8"/>
            <p:cNvSpPr>
              <a:spLocks/>
            </p:cNvSpPr>
            <p:nvPr/>
          </p:nvSpPr>
          <p:spPr bwMode="auto">
            <a:xfrm>
              <a:off x="5907088" y="4089401"/>
              <a:ext cx="1223963" cy="355600"/>
            </a:xfrm>
            <a:custGeom>
              <a:avLst/>
              <a:gdLst>
                <a:gd name="T0" fmla="*/ 0 w 343"/>
                <a:gd name="T1" fmla="*/ 100 h 100"/>
                <a:gd name="T2" fmla="*/ 343 w 343"/>
                <a:gd name="T3" fmla="*/ 100 h 100"/>
                <a:gd name="T4" fmla="*/ 343 w 343"/>
                <a:gd name="T5" fmla="*/ 81 h 100"/>
                <a:gd name="T6" fmla="*/ 0 w 343"/>
                <a:gd name="T7" fmla="*/ 100 h 100"/>
              </a:gdLst>
              <a:ahLst/>
              <a:cxnLst>
                <a:cxn ang="0">
                  <a:pos x="T0" y="T1"/>
                </a:cxn>
                <a:cxn ang="0">
                  <a:pos x="T2" y="T3"/>
                </a:cxn>
                <a:cxn ang="0">
                  <a:pos x="T4" y="T5"/>
                </a:cxn>
                <a:cxn ang="0">
                  <a:pos x="T6" y="T7"/>
                </a:cxn>
              </a:cxnLst>
              <a:rect l="0" t="0" r="r" b="b"/>
              <a:pathLst>
                <a:path w="343" h="100">
                  <a:moveTo>
                    <a:pt x="0" y="100"/>
                  </a:moveTo>
                  <a:cubicBezTo>
                    <a:pt x="343" y="100"/>
                    <a:pt x="343" y="100"/>
                    <a:pt x="343" y="100"/>
                  </a:cubicBezTo>
                  <a:cubicBezTo>
                    <a:pt x="343" y="81"/>
                    <a:pt x="343" y="81"/>
                    <a:pt x="343" y="81"/>
                  </a:cubicBezTo>
                  <a:cubicBezTo>
                    <a:pt x="242" y="0"/>
                    <a:pt x="94" y="6"/>
                    <a:pt x="0" y="10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9"/>
            <p:cNvSpPr>
              <a:spLocks/>
            </p:cNvSpPr>
            <p:nvPr/>
          </p:nvSpPr>
          <p:spPr bwMode="auto">
            <a:xfrm>
              <a:off x="6375401" y="4289426"/>
              <a:ext cx="669925" cy="155575"/>
            </a:xfrm>
            <a:custGeom>
              <a:avLst/>
              <a:gdLst>
                <a:gd name="T0" fmla="*/ 116 w 188"/>
                <a:gd name="T1" fmla="*/ 7 h 44"/>
                <a:gd name="T2" fmla="*/ 0 w 188"/>
                <a:gd name="T3" fmla="*/ 44 h 44"/>
                <a:gd name="T4" fmla="*/ 66 w 188"/>
                <a:gd name="T5" fmla="*/ 44 h 44"/>
                <a:gd name="T6" fmla="*/ 188 w 188"/>
                <a:gd name="T7" fmla="*/ 44 h 44"/>
                <a:gd name="T8" fmla="*/ 116 w 188"/>
                <a:gd name="T9" fmla="*/ 7 h 44"/>
              </a:gdLst>
              <a:ahLst/>
              <a:cxnLst>
                <a:cxn ang="0">
                  <a:pos x="T0" y="T1"/>
                </a:cxn>
                <a:cxn ang="0">
                  <a:pos x="T2" y="T3"/>
                </a:cxn>
                <a:cxn ang="0">
                  <a:pos x="T4" y="T5"/>
                </a:cxn>
                <a:cxn ang="0">
                  <a:pos x="T6" y="T7"/>
                </a:cxn>
                <a:cxn ang="0">
                  <a:pos x="T8" y="T9"/>
                </a:cxn>
              </a:cxnLst>
              <a:rect l="0" t="0" r="r" b="b"/>
              <a:pathLst>
                <a:path w="188" h="44">
                  <a:moveTo>
                    <a:pt x="116" y="7"/>
                  </a:moveTo>
                  <a:cubicBezTo>
                    <a:pt x="75" y="0"/>
                    <a:pt x="31" y="12"/>
                    <a:pt x="0" y="44"/>
                  </a:cubicBezTo>
                  <a:cubicBezTo>
                    <a:pt x="66" y="44"/>
                    <a:pt x="66" y="44"/>
                    <a:pt x="66" y="44"/>
                  </a:cubicBezTo>
                  <a:cubicBezTo>
                    <a:pt x="188" y="44"/>
                    <a:pt x="188" y="44"/>
                    <a:pt x="188" y="44"/>
                  </a:cubicBezTo>
                  <a:cubicBezTo>
                    <a:pt x="168" y="24"/>
                    <a:pt x="142" y="11"/>
                    <a:pt x="116" y="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152"/>
            <p:cNvSpPr>
              <a:spLocks/>
            </p:cNvSpPr>
            <p:nvPr/>
          </p:nvSpPr>
          <p:spPr bwMode="auto">
            <a:xfrm>
              <a:off x="6892926" y="4821238"/>
              <a:ext cx="177800" cy="88900"/>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53"/>
            <p:cNvSpPr>
              <a:spLocks/>
            </p:cNvSpPr>
            <p:nvPr/>
          </p:nvSpPr>
          <p:spPr bwMode="auto">
            <a:xfrm>
              <a:off x="5492751" y="4813301"/>
              <a:ext cx="1339850" cy="93663"/>
            </a:xfrm>
            <a:custGeom>
              <a:avLst/>
              <a:gdLst>
                <a:gd name="T0" fmla="*/ 844 w 844"/>
                <a:gd name="T1" fmla="*/ 59 h 59"/>
                <a:gd name="T2" fmla="*/ 0 w 844"/>
                <a:gd name="T3" fmla="*/ 59 h 59"/>
                <a:gd name="T4" fmla="*/ 0 w 844"/>
                <a:gd name="T5" fmla="*/ 34 h 59"/>
                <a:gd name="T6" fmla="*/ 88 w 844"/>
                <a:gd name="T7" fmla="*/ 0 h 59"/>
                <a:gd name="T8" fmla="*/ 758 w 844"/>
                <a:gd name="T9" fmla="*/ 0 h 59"/>
                <a:gd name="T10" fmla="*/ 844 w 844"/>
                <a:gd name="T11" fmla="*/ 34 h 59"/>
                <a:gd name="T12" fmla="*/ 844 w 844"/>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844" h="59">
                  <a:moveTo>
                    <a:pt x="844" y="59"/>
                  </a:moveTo>
                  <a:lnTo>
                    <a:pt x="0" y="59"/>
                  </a:lnTo>
                  <a:lnTo>
                    <a:pt x="0" y="34"/>
                  </a:lnTo>
                  <a:lnTo>
                    <a:pt x="88" y="0"/>
                  </a:lnTo>
                  <a:lnTo>
                    <a:pt x="758" y="0"/>
                  </a:lnTo>
                  <a:lnTo>
                    <a:pt x="844" y="34"/>
                  </a:lnTo>
                  <a:lnTo>
                    <a:pt x="844" y="5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54"/>
            <p:cNvSpPr>
              <a:spLocks/>
            </p:cNvSpPr>
            <p:nvPr/>
          </p:nvSpPr>
          <p:spPr bwMode="auto">
            <a:xfrm>
              <a:off x="6538913" y="4756151"/>
              <a:ext cx="446088" cy="131763"/>
            </a:xfrm>
            <a:custGeom>
              <a:avLst/>
              <a:gdLst>
                <a:gd name="T0" fmla="*/ 123 w 125"/>
                <a:gd name="T1" fmla="*/ 37 h 37"/>
                <a:gd name="T2" fmla="*/ 0 w 125"/>
                <a:gd name="T3" fmla="*/ 4 h 37"/>
                <a:gd name="T4" fmla="*/ 0 w 125"/>
                <a:gd name="T5" fmla="*/ 0 h 37"/>
                <a:gd name="T6" fmla="*/ 125 w 125"/>
                <a:gd name="T7" fmla="*/ 34 h 37"/>
                <a:gd name="T8" fmla="*/ 123 w 125"/>
                <a:gd name="T9" fmla="*/ 37 h 37"/>
              </a:gdLst>
              <a:ahLst/>
              <a:cxnLst>
                <a:cxn ang="0">
                  <a:pos x="T0" y="T1"/>
                </a:cxn>
                <a:cxn ang="0">
                  <a:pos x="T2" y="T3"/>
                </a:cxn>
                <a:cxn ang="0">
                  <a:pos x="T4" y="T5"/>
                </a:cxn>
                <a:cxn ang="0">
                  <a:pos x="T6" y="T7"/>
                </a:cxn>
                <a:cxn ang="0">
                  <a:pos x="T8" y="T9"/>
                </a:cxn>
              </a:cxnLst>
              <a:rect l="0" t="0" r="r" b="b"/>
              <a:pathLst>
                <a:path w="125" h="37">
                  <a:moveTo>
                    <a:pt x="123" y="37"/>
                  </a:moveTo>
                  <a:cubicBezTo>
                    <a:pt x="86" y="16"/>
                    <a:pt x="43" y="4"/>
                    <a:pt x="0" y="4"/>
                  </a:cubicBezTo>
                  <a:cubicBezTo>
                    <a:pt x="0" y="0"/>
                    <a:pt x="0" y="0"/>
                    <a:pt x="0" y="0"/>
                  </a:cubicBezTo>
                  <a:cubicBezTo>
                    <a:pt x="44" y="1"/>
                    <a:pt x="87" y="12"/>
                    <a:pt x="125" y="34"/>
                  </a:cubicBezTo>
                  <a:lnTo>
                    <a:pt x="123" y="3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55"/>
            <p:cNvSpPr>
              <a:spLocks/>
            </p:cNvSpPr>
            <p:nvPr/>
          </p:nvSpPr>
          <p:spPr bwMode="auto">
            <a:xfrm>
              <a:off x="5772151" y="3435351"/>
              <a:ext cx="139700" cy="68263"/>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56"/>
            <p:cNvSpPr>
              <a:spLocks/>
            </p:cNvSpPr>
            <p:nvPr/>
          </p:nvSpPr>
          <p:spPr bwMode="auto">
            <a:xfrm>
              <a:off x="6264276" y="3435351"/>
              <a:ext cx="136525" cy="68263"/>
            </a:xfrm>
            <a:custGeom>
              <a:avLst/>
              <a:gdLst>
                <a:gd name="T0" fmla="*/ 19 w 38"/>
                <a:gd name="T1" fmla="*/ 0 h 19"/>
                <a:gd name="T2" fmla="*/ 0 w 38"/>
                <a:gd name="T3" fmla="*/ 19 h 19"/>
                <a:gd name="T4" fmla="*/ 38 w 38"/>
                <a:gd name="T5" fmla="*/ 19 h 19"/>
                <a:gd name="T6" fmla="*/ 19 w 38"/>
                <a:gd name="T7" fmla="*/ 0 h 19"/>
              </a:gdLst>
              <a:ahLst/>
              <a:cxnLst>
                <a:cxn ang="0">
                  <a:pos x="T0" y="T1"/>
                </a:cxn>
                <a:cxn ang="0">
                  <a:pos x="T2" y="T3"/>
                </a:cxn>
                <a:cxn ang="0">
                  <a:pos x="T4" y="T5"/>
                </a:cxn>
                <a:cxn ang="0">
                  <a:pos x="T6" y="T7"/>
                </a:cxn>
              </a:cxnLst>
              <a:rect l="0" t="0" r="r" b="b"/>
              <a:pathLst>
                <a:path w="38" h="19">
                  <a:moveTo>
                    <a:pt x="19" y="0"/>
                  </a:moveTo>
                  <a:cubicBezTo>
                    <a:pt x="8" y="0"/>
                    <a:pt x="0" y="9"/>
                    <a:pt x="0" y="19"/>
                  </a:cubicBezTo>
                  <a:cubicBezTo>
                    <a:pt x="38" y="19"/>
                    <a:pt x="38" y="19"/>
                    <a:pt x="38" y="19"/>
                  </a:cubicBezTo>
                  <a:cubicBezTo>
                    <a:pt x="38"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57"/>
            <p:cNvSpPr>
              <a:spLocks/>
            </p:cNvSpPr>
            <p:nvPr/>
          </p:nvSpPr>
          <p:spPr bwMode="auto">
            <a:xfrm>
              <a:off x="6753226" y="3435351"/>
              <a:ext cx="139700" cy="68263"/>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158"/>
            <p:cNvSpPr>
              <a:spLocks/>
            </p:cNvSpPr>
            <p:nvPr/>
          </p:nvSpPr>
          <p:spPr bwMode="auto">
            <a:xfrm>
              <a:off x="5900738" y="2403476"/>
              <a:ext cx="177800" cy="90488"/>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59"/>
            <p:cNvSpPr>
              <a:spLocks/>
            </p:cNvSpPr>
            <p:nvPr/>
          </p:nvSpPr>
          <p:spPr bwMode="auto">
            <a:xfrm>
              <a:off x="6599238" y="2197101"/>
              <a:ext cx="119063" cy="60325"/>
            </a:xfrm>
            <a:custGeom>
              <a:avLst/>
              <a:gdLst>
                <a:gd name="T0" fmla="*/ 16 w 33"/>
                <a:gd name="T1" fmla="*/ 0 h 17"/>
                <a:gd name="T2" fmla="*/ 0 w 33"/>
                <a:gd name="T3" fmla="*/ 17 h 17"/>
                <a:gd name="T4" fmla="*/ 33 w 33"/>
                <a:gd name="T5" fmla="*/ 17 h 17"/>
                <a:gd name="T6" fmla="*/ 16 w 33"/>
                <a:gd name="T7" fmla="*/ 0 h 17"/>
              </a:gdLst>
              <a:ahLst/>
              <a:cxnLst>
                <a:cxn ang="0">
                  <a:pos x="T0" y="T1"/>
                </a:cxn>
                <a:cxn ang="0">
                  <a:pos x="T2" y="T3"/>
                </a:cxn>
                <a:cxn ang="0">
                  <a:pos x="T4" y="T5"/>
                </a:cxn>
                <a:cxn ang="0">
                  <a:pos x="T6" y="T7"/>
                </a:cxn>
              </a:cxnLst>
              <a:rect l="0" t="0" r="r" b="b"/>
              <a:pathLst>
                <a:path w="33" h="17">
                  <a:moveTo>
                    <a:pt x="16" y="0"/>
                  </a:moveTo>
                  <a:cubicBezTo>
                    <a:pt x="8" y="0"/>
                    <a:pt x="0" y="8"/>
                    <a:pt x="0" y="17"/>
                  </a:cubicBezTo>
                  <a:cubicBezTo>
                    <a:pt x="33" y="17"/>
                    <a:pt x="33" y="17"/>
                    <a:pt x="33" y="17"/>
                  </a:cubicBezTo>
                  <a:cubicBezTo>
                    <a:pt x="33" y="8"/>
                    <a:pt x="25" y="0"/>
                    <a:pt x="16"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60"/>
            <p:cNvSpPr>
              <a:spLocks/>
            </p:cNvSpPr>
            <p:nvPr/>
          </p:nvSpPr>
          <p:spPr bwMode="auto">
            <a:xfrm>
              <a:off x="6956426" y="2736851"/>
              <a:ext cx="117475" cy="57150"/>
            </a:xfrm>
            <a:custGeom>
              <a:avLst/>
              <a:gdLst>
                <a:gd name="T0" fmla="*/ 16 w 33"/>
                <a:gd name="T1" fmla="*/ 0 h 16"/>
                <a:gd name="T2" fmla="*/ 0 w 33"/>
                <a:gd name="T3" fmla="*/ 16 h 16"/>
                <a:gd name="T4" fmla="*/ 33 w 33"/>
                <a:gd name="T5" fmla="*/ 16 h 16"/>
                <a:gd name="T6" fmla="*/ 16 w 33"/>
                <a:gd name="T7" fmla="*/ 0 h 16"/>
              </a:gdLst>
              <a:ahLst/>
              <a:cxnLst>
                <a:cxn ang="0">
                  <a:pos x="T0" y="T1"/>
                </a:cxn>
                <a:cxn ang="0">
                  <a:pos x="T2" y="T3"/>
                </a:cxn>
                <a:cxn ang="0">
                  <a:pos x="T4" y="T5"/>
                </a:cxn>
                <a:cxn ang="0">
                  <a:pos x="T6" y="T7"/>
                </a:cxn>
              </a:cxnLst>
              <a:rect l="0" t="0" r="r" b="b"/>
              <a:pathLst>
                <a:path w="33" h="16">
                  <a:moveTo>
                    <a:pt x="16" y="0"/>
                  </a:moveTo>
                  <a:cubicBezTo>
                    <a:pt x="8" y="0"/>
                    <a:pt x="0" y="8"/>
                    <a:pt x="0" y="16"/>
                  </a:cubicBezTo>
                  <a:cubicBezTo>
                    <a:pt x="33" y="16"/>
                    <a:pt x="33" y="16"/>
                    <a:pt x="33" y="16"/>
                  </a:cubicBezTo>
                  <a:cubicBezTo>
                    <a:pt x="33" y="8"/>
                    <a:pt x="25" y="0"/>
                    <a:pt x="1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61"/>
            <p:cNvSpPr>
              <a:spLocks/>
            </p:cNvSpPr>
            <p:nvPr/>
          </p:nvSpPr>
          <p:spPr bwMode="auto">
            <a:xfrm>
              <a:off x="5446713" y="2379663"/>
              <a:ext cx="560388" cy="1101725"/>
            </a:xfrm>
            <a:custGeom>
              <a:avLst/>
              <a:gdLst>
                <a:gd name="T0" fmla="*/ 110 w 157"/>
                <a:gd name="T1" fmla="*/ 309 h 309"/>
                <a:gd name="T2" fmla="*/ 107 w 157"/>
                <a:gd name="T3" fmla="*/ 307 h 309"/>
                <a:gd name="T4" fmla="*/ 55 w 157"/>
                <a:gd name="T5" fmla="*/ 24 h 309"/>
                <a:gd name="T6" fmla="*/ 154 w 157"/>
                <a:gd name="T7" fmla="*/ 16 h 309"/>
                <a:gd name="T8" fmla="*/ 156 w 157"/>
                <a:gd name="T9" fmla="*/ 21 h 309"/>
                <a:gd name="T10" fmla="*/ 151 w 157"/>
                <a:gd name="T11" fmla="*/ 23 h 309"/>
                <a:gd name="T12" fmla="*/ 61 w 157"/>
                <a:gd name="T13" fmla="*/ 29 h 309"/>
                <a:gd name="T14" fmla="*/ 114 w 157"/>
                <a:gd name="T15" fmla="*/ 304 h 309"/>
                <a:gd name="T16" fmla="*/ 112 w 157"/>
                <a:gd name="T17" fmla="*/ 309 h 309"/>
                <a:gd name="T18" fmla="*/ 110 w 157"/>
                <a:gd name="T19" fmla="*/ 309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309">
                  <a:moveTo>
                    <a:pt x="110" y="309"/>
                  </a:moveTo>
                  <a:cubicBezTo>
                    <a:pt x="109" y="309"/>
                    <a:pt x="108" y="309"/>
                    <a:pt x="107" y="307"/>
                  </a:cubicBezTo>
                  <a:cubicBezTo>
                    <a:pt x="103" y="298"/>
                    <a:pt x="0" y="87"/>
                    <a:pt x="55" y="24"/>
                  </a:cubicBezTo>
                  <a:cubicBezTo>
                    <a:pt x="74" y="3"/>
                    <a:pt x="107" y="0"/>
                    <a:pt x="154" y="16"/>
                  </a:cubicBezTo>
                  <a:cubicBezTo>
                    <a:pt x="156" y="17"/>
                    <a:pt x="157" y="19"/>
                    <a:pt x="156" y="21"/>
                  </a:cubicBezTo>
                  <a:cubicBezTo>
                    <a:pt x="155" y="23"/>
                    <a:pt x="153" y="24"/>
                    <a:pt x="151" y="23"/>
                  </a:cubicBezTo>
                  <a:cubicBezTo>
                    <a:pt x="108" y="8"/>
                    <a:pt x="77" y="10"/>
                    <a:pt x="61" y="29"/>
                  </a:cubicBezTo>
                  <a:cubicBezTo>
                    <a:pt x="9" y="89"/>
                    <a:pt x="113" y="302"/>
                    <a:pt x="114" y="304"/>
                  </a:cubicBezTo>
                  <a:cubicBezTo>
                    <a:pt x="115" y="306"/>
                    <a:pt x="114" y="308"/>
                    <a:pt x="112" y="309"/>
                  </a:cubicBezTo>
                  <a:cubicBezTo>
                    <a:pt x="112" y="309"/>
                    <a:pt x="111" y="309"/>
                    <a:pt x="110" y="30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62"/>
            <p:cNvSpPr>
              <a:spLocks/>
            </p:cNvSpPr>
            <p:nvPr/>
          </p:nvSpPr>
          <p:spPr bwMode="auto">
            <a:xfrm>
              <a:off x="6813551" y="2725738"/>
              <a:ext cx="503238" cy="755650"/>
            </a:xfrm>
            <a:custGeom>
              <a:avLst/>
              <a:gdLst>
                <a:gd name="T0" fmla="*/ 5 w 141"/>
                <a:gd name="T1" fmla="*/ 212 h 212"/>
                <a:gd name="T2" fmla="*/ 2 w 141"/>
                <a:gd name="T3" fmla="*/ 212 h 212"/>
                <a:gd name="T4" fmla="*/ 2 w 141"/>
                <a:gd name="T5" fmla="*/ 206 h 212"/>
                <a:gd name="T6" fmla="*/ 108 w 141"/>
                <a:gd name="T7" fmla="*/ 19 h 212"/>
                <a:gd name="T8" fmla="*/ 55 w 141"/>
                <a:gd name="T9" fmla="*/ 18 h 212"/>
                <a:gd name="T10" fmla="*/ 51 w 141"/>
                <a:gd name="T11" fmla="*/ 15 h 212"/>
                <a:gd name="T12" fmla="*/ 53 w 141"/>
                <a:gd name="T13" fmla="*/ 10 h 212"/>
                <a:gd name="T14" fmla="*/ 114 w 141"/>
                <a:gd name="T15" fmla="*/ 14 h 212"/>
                <a:gd name="T16" fmla="*/ 8 w 141"/>
                <a:gd name="T17" fmla="*/ 211 h 212"/>
                <a:gd name="T18" fmla="*/ 5 w 141"/>
                <a:gd name="T19"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212">
                  <a:moveTo>
                    <a:pt x="5" y="212"/>
                  </a:moveTo>
                  <a:cubicBezTo>
                    <a:pt x="4" y="212"/>
                    <a:pt x="3" y="212"/>
                    <a:pt x="2" y="212"/>
                  </a:cubicBezTo>
                  <a:cubicBezTo>
                    <a:pt x="1" y="210"/>
                    <a:pt x="0" y="208"/>
                    <a:pt x="2" y="206"/>
                  </a:cubicBezTo>
                  <a:cubicBezTo>
                    <a:pt x="38" y="164"/>
                    <a:pt x="128" y="49"/>
                    <a:pt x="108" y="19"/>
                  </a:cubicBezTo>
                  <a:cubicBezTo>
                    <a:pt x="102" y="9"/>
                    <a:pt x="84" y="9"/>
                    <a:pt x="55" y="18"/>
                  </a:cubicBezTo>
                  <a:cubicBezTo>
                    <a:pt x="53" y="18"/>
                    <a:pt x="51" y="17"/>
                    <a:pt x="51" y="15"/>
                  </a:cubicBezTo>
                  <a:cubicBezTo>
                    <a:pt x="50" y="13"/>
                    <a:pt x="51" y="11"/>
                    <a:pt x="53" y="10"/>
                  </a:cubicBezTo>
                  <a:cubicBezTo>
                    <a:pt x="86" y="0"/>
                    <a:pt x="106" y="2"/>
                    <a:pt x="114" y="14"/>
                  </a:cubicBezTo>
                  <a:cubicBezTo>
                    <a:pt x="141" y="55"/>
                    <a:pt x="21" y="195"/>
                    <a:pt x="8" y="211"/>
                  </a:cubicBezTo>
                  <a:cubicBezTo>
                    <a:pt x="7" y="212"/>
                    <a:pt x="6" y="212"/>
                    <a:pt x="5" y="21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63"/>
            <p:cNvSpPr>
              <a:spLocks/>
            </p:cNvSpPr>
            <p:nvPr/>
          </p:nvSpPr>
          <p:spPr bwMode="auto">
            <a:xfrm>
              <a:off x="6046788" y="2165351"/>
              <a:ext cx="628650" cy="1316038"/>
            </a:xfrm>
            <a:custGeom>
              <a:avLst/>
              <a:gdLst>
                <a:gd name="T0" fmla="*/ 82 w 176"/>
                <a:gd name="T1" fmla="*/ 369 h 369"/>
                <a:gd name="T2" fmla="*/ 78 w 176"/>
                <a:gd name="T3" fmla="*/ 367 h 369"/>
                <a:gd name="T4" fmla="*/ 76 w 176"/>
                <a:gd name="T5" fmla="*/ 25 h 369"/>
                <a:gd name="T6" fmla="*/ 173 w 176"/>
                <a:gd name="T7" fmla="*/ 14 h 369"/>
                <a:gd name="T8" fmla="*/ 176 w 176"/>
                <a:gd name="T9" fmla="*/ 19 h 369"/>
                <a:gd name="T10" fmla="*/ 171 w 176"/>
                <a:gd name="T11" fmla="*/ 21 h 369"/>
                <a:gd name="T12" fmla="*/ 81 w 176"/>
                <a:gd name="T13" fmla="*/ 31 h 369"/>
                <a:gd name="T14" fmla="*/ 86 w 176"/>
                <a:gd name="T15" fmla="*/ 365 h 369"/>
                <a:gd name="T16" fmla="*/ 83 w 176"/>
                <a:gd name="T17" fmla="*/ 369 h 369"/>
                <a:gd name="T18" fmla="*/ 82 w 176"/>
                <a:gd name="T19"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369">
                  <a:moveTo>
                    <a:pt x="82" y="369"/>
                  </a:moveTo>
                  <a:cubicBezTo>
                    <a:pt x="80" y="369"/>
                    <a:pt x="79" y="368"/>
                    <a:pt x="78" y="367"/>
                  </a:cubicBezTo>
                  <a:cubicBezTo>
                    <a:pt x="75" y="356"/>
                    <a:pt x="0" y="99"/>
                    <a:pt x="76" y="25"/>
                  </a:cubicBezTo>
                  <a:cubicBezTo>
                    <a:pt x="98" y="4"/>
                    <a:pt x="131" y="0"/>
                    <a:pt x="173" y="14"/>
                  </a:cubicBezTo>
                  <a:cubicBezTo>
                    <a:pt x="175" y="14"/>
                    <a:pt x="176" y="17"/>
                    <a:pt x="176" y="19"/>
                  </a:cubicBezTo>
                  <a:cubicBezTo>
                    <a:pt x="175" y="21"/>
                    <a:pt x="173" y="22"/>
                    <a:pt x="171" y="21"/>
                  </a:cubicBezTo>
                  <a:cubicBezTo>
                    <a:pt x="131" y="8"/>
                    <a:pt x="101" y="11"/>
                    <a:pt x="81" y="31"/>
                  </a:cubicBezTo>
                  <a:cubicBezTo>
                    <a:pt x="8" y="101"/>
                    <a:pt x="85" y="362"/>
                    <a:pt x="86" y="365"/>
                  </a:cubicBezTo>
                  <a:cubicBezTo>
                    <a:pt x="86" y="367"/>
                    <a:pt x="85" y="369"/>
                    <a:pt x="83" y="369"/>
                  </a:cubicBezTo>
                  <a:cubicBezTo>
                    <a:pt x="83" y="369"/>
                    <a:pt x="82" y="369"/>
                    <a:pt x="82" y="36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4314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6400" y="174625"/>
            <a:ext cx="10515600" cy="1325563"/>
          </a:xfrm>
        </p:spPr>
        <p:txBody>
          <a:bodyPr/>
          <a:lstStyle/>
          <a:p>
            <a:r>
              <a:rPr lang="en-US" dirty="0"/>
              <a:t>Signs that a </a:t>
            </a:r>
            <a:r>
              <a:rPr lang="en-US" dirty="0" err="1"/>
              <a:t>serverless</a:t>
            </a:r>
            <a:r>
              <a:rPr lang="en-US" dirty="0"/>
              <a:t> pattern might be useful for a given scenario</a:t>
            </a:r>
          </a:p>
        </p:txBody>
      </p:sp>
      <p:sp>
        <p:nvSpPr>
          <p:cNvPr id="3" name="Text Placeholder 2"/>
          <p:cNvSpPr>
            <a:spLocks noGrp="1"/>
          </p:cNvSpPr>
          <p:nvPr>
            <p:ph type="body" sz="quarter" idx="10"/>
          </p:nvPr>
        </p:nvSpPr>
        <p:spPr>
          <a:xfrm>
            <a:off x="269240" y="1835948"/>
            <a:ext cx="11653523" cy="3382529"/>
          </a:xfrm>
        </p:spPr>
        <p:txBody>
          <a:bodyPr/>
          <a:lstStyle/>
          <a:p>
            <a:pPr marL="742950" indent="-742950">
              <a:buAutoNum type="arabicPeriod"/>
            </a:pPr>
            <a:r>
              <a:rPr lang="en-US" dirty="0"/>
              <a:t>Stateless </a:t>
            </a:r>
            <a:r>
              <a:rPr lang="en-US" dirty="0">
                <a:sym typeface="Wingdings" panose="05000000000000000000" pitchFamily="2" charset="2"/>
              </a:rPr>
              <a:t> Scale</a:t>
            </a:r>
            <a:endParaRPr lang="en-US" dirty="0"/>
          </a:p>
          <a:p>
            <a:pPr marL="742950" indent="-742950">
              <a:buAutoNum type="arabicPeriod"/>
            </a:pPr>
            <a:r>
              <a:rPr lang="en-US" dirty="0"/>
              <a:t>Too complicated to deploy a traditional backend</a:t>
            </a:r>
          </a:p>
          <a:p>
            <a:pPr marL="742950" indent="-742950">
              <a:buAutoNum type="arabicPeriod"/>
            </a:pPr>
            <a:r>
              <a:rPr lang="en-US" dirty="0"/>
              <a:t>Workload is sporadic (very low &amp; high scale)</a:t>
            </a:r>
          </a:p>
          <a:p>
            <a:pPr marL="742950" indent="-742950">
              <a:buAutoNum type="arabicPeriod"/>
            </a:pPr>
            <a:r>
              <a:rPr lang="en-US" dirty="0"/>
              <a:t>(Human) Operational costs need to stay low</a:t>
            </a:r>
          </a:p>
          <a:p>
            <a:pPr marL="742950" indent="-742950">
              <a:buAutoNum type="arabicPeriod"/>
            </a:pPr>
            <a:r>
              <a:rPr lang="en-US" dirty="0"/>
              <a:t>Lots of different services involved</a:t>
            </a:r>
          </a:p>
        </p:txBody>
      </p:sp>
    </p:spTree>
    <p:extLst>
      <p:ext uri="{BB962C8B-B14F-4D97-AF65-F5344CB8AC3E}">
        <p14:creationId xmlns:p14="http://schemas.microsoft.com/office/powerpoint/2010/main" val="41213290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spect="1" noChangeArrowheads="1" noTextEdit="1"/>
          </p:cNvSpPr>
          <p:nvPr/>
        </p:nvSpPr>
        <p:spPr bwMode="auto">
          <a:xfrm>
            <a:off x="2197100" y="2438400"/>
            <a:ext cx="77978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3" name="Group 2"/>
          <p:cNvGrpSpPr/>
          <p:nvPr/>
        </p:nvGrpSpPr>
        <p:grpSpPr>
          <a:xfrm>
            <a:off x="2200275" y="2709863"/>
            <a:ext cx="1698626" cy="1738313"/>
            <a:chOff x="2200275" y="2709863"/>
            <a:chExt cx="1698626" cy="1738313"/>
          </a:xfrm>
        </p:grpSpPr>
        <p:sp>
          <p:nvSpPr>
            <p:cNvPr id="7" name="Freeform 5"/>
            <p:cNvSpPr>
              <a:spLocks/>
            </p:cNvSpPr>
            <p:nvPr/>
          </p:nvSpPr>
          <p:spPr bwMode="auto">
            <a:xfrm>
              <a:off x="2362200" y="2819400"/>
              <a:ext cx="954088" cy="947738"/>
            </a:xfrm>
            <a:custGeom>
              <a:avLst/>
              <a:gdLst>
                <a:gd name="T0" fmla="*/ 114 w 254"/>
                <a:gd name="T1" fmla="*/ 0 h 251"/>
                <a:gd name="T2" fmla="*/ 30 w 254"/>
                <a:gd name="T3" fmla="*/ 46 h 251"/>
                <a:gd name="T4" fmla="*/ 3 w 254"/>
                <a:gd name="T5" fmla="*/ 137 h 251"/>
                <a:gd name="T6" fmla="*/ 49 w 254"/>
                <a:gd name="T7" fmla="*/ 221 h 251"/>
                <a:gd name="T8" fmla="*/ 140 w 254"/>
                <a:gd name="T9" fmla="*/ 248 h 251"/>
                <a:gd name="T10" fmla="*/ 224 w 254"/>
                <a:gd name="T11" fmla="*/ 202 h 251"/>
                <a:gd name="T12" fmla="*/ 251 w 254"/>
                <a:gd name="T13" fmla="*/ 111 h 251"/>
                <a:gd name="T14" fmla="*/ 204 w 254"/>
                <a:gd name="T15" fmla="*/ 27 h 251"/>
                <a:gd name="T16" fmla="*/ 127 w 254"/>
                <a:gd name="T17" fmla="*/ 0 h 251"/>
                <a:gd name="T18" fmla="*/ 114 w 254"/>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251">
                  <a:moveTo>
                    <a:pt x="114" y="0"/>
                  </a:moveTo>
                  <a:cubicBezTo>
                    <a:pt x="80" y="4"/>
                    <a:pt x="50" y="21"/>
                    <a:pt x="30" y="46"/>
                  </a:cubicBezTo>
                  <a:cubicBezTo>
                    <a:pt x="10" y="70"/>
                    <a:pt x="0" y="103"/>
                    <a:pt x="3" y="137"/>
                  </a:cubicBezTo>
                  <a:cubicBezTo>
                    <a:pt x="7" y="171"/>
                    <a:pt x="24" y="201"/>
                    <a:pt x="49" y="221"/>
                  </a:cubicBezTo>
                  <a:cubicBezTo>
                    <a:pt x="74" y="241"/>
                    <a:pt x="106" y="251"/>
                    <a:pt x="140" y="248"/>
                  </a:cubicBezTo>
                  <a:cubicBezTo>
                    <a:pt x="174" y="244"/>
                    <a:pt x="204" y="227"/>
                    <a:pt x="224" y="202"/>
                  </a:cubicBezTo>
                  <a:cubicBezTo>
                    <a:pt x="244" y="178"/>
                    <a:pt x="254" y="145"/>
                    <a:pt x="251" y="111"/>
                  </a:cubicBezTo>
                  <a:cubicBezTo>
                    <a:pt x="247" y="76"/>
                    <a:pt x="230" y="47"/>
                    <a:pt x="204" y="27"/>
                  </a:cubicBezTo>
                  <a:cubicBezTo>
                    <a:pt x="183" y="9"/>
                    <a:pt x="156" y="0"/>
                    <a:pt x="127" y="0"/>
                  </a:cubicBezTo>
                  <a:cubicBezTo>
                    <a:pt x="123" y="0"/>
                    <a:pt x="118" y="0"/>
                    <a:pt x="11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 name="Freeform 6"/>
            <p:cNvSpPr>
              <a:spLocks/>
            </p:cNvSpPr>
            <p:nvPr/>
          </p:nvSpPr>
          <p:spPr bwMode="auto">
            <a:xfrm>
              <a:off x="2603500" y="2797175"/>
              <a:ext cx="814388" cy="1063625"/>
            </a:xfrm>
            <a:custGeom>
              <a:avLst/>
              <a:gdLst>
                <a:gd name="T0" fmla="*/ 212 w 217"/>
                <a:gd name="T1" fmla="*/ 114 h 282"/>
                <a:gd name="T2" fmla="*/ 157 w 217"/>
                <a:gd name="T3" fmla="*/ 13 h 282"/>
                <a:gd name="T4" fmla="*/ 138 w 217"/>
                <a:gd name="T5" fmla="*/ 0 h 282"/>
                <a:gd name="T6" fmla="*/ 126 w 217"/>
                <a:gd name="T7" fmla="*/ 23 h 282"/>
                <a:gd name="T8" fmla="*/ 140 w 217"/>
                <a:gd name="T9" fmla="*/ 33 h 282"/>
                <a:gd name="T10" fmla="*/ 187 w 217"/>
                <a:gd name="T11" fmla="*/ 117 h 282"/>
                <a:gd name="T12" fmla="*/ 160 w 217"/>
                <a:gd name="T13" fmla="*/ 208 h 282"/>
                <a:gd name="T14" fmla="*/ 76 w 217"/>
                <a:gd name="T15" fmla="*/ 254 h 282"/>
                <a:gd name="T16" fmla="*/ 12 w 217"/>
                <a:gd name="T17" fmla="*/ 243 h 282"/>
                <a:gd name="T18" fmla="*/ 0 w 217"/>
                <a:gd name="T19" fmla="*/ 266 h 282"/>
                <a:gd name="T20" fmla="*/ 79 w 217"/>
                <a:gd name="T21" fmla="*/ 279 h 282"/>
                <a:gd name="T22" fmla="*/ 180 w 217"/>
                <a:gd name="T23" fmla="*/ 224 h 282"/>
                <a:gd name="T24" fmla="*/ 212 w 217"/>
                <a:gd name="T25" fmla="*/ 11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7" h="282">
                  <a:moveTo>
                    <a:pt x="212" y="114"/>
                  </a:moveTo>
                  <a:cubicBezTo>
                    <a:pt x="208" y="73"/>
                    <a:pt x="187" y="37"/>
                    <a:pt x="157" y="13"/>
                  </a:cubicBezTo>
                  <a:cubicBezTo>
                    <a:pt x="151" y="8"/>
                    <a:pt x="144" y="4"/>
                    <a:pt x="138" y="0"/>
                  </a:cubicBezTo>
                  <a:cubicBezTo>
                    <a:pt x="126" y="23"/>
                    <a:pt x="126" y="23"/>
                    <a:pt x="126" y="23"/>
                  </a:cubicBezTo>
                  <a:cubicBezTo>
                    <a:pt x="131" y="26"/>
                    <a:pt x="136" y="29"/>
                    <a:pt x="140" y="33"/>
                  </a:cubicBezTo>
                  <a:cubicBezTo>
                    <a:pt x="166" y="53"/>
                    <a:pt x="183" y="82"/>
                    <a:pt x="187" y="117"/>
                  </a:cubicBezTo>
                  <a:cubicBezTo>
                    <a:pt x="190" y="151"/>
                    <a:pt x="180" y="184"/>
                    <a:pt x="160" y="208"/>
                  </a:cubicBezTo>
                  <a:cubicBezTo>
                    <a:pt x="140" y="233"/>
                    <a:pt x="110" y="250"/>
                    <a:pt x="76" y="254"/>
                  </a:cubicBezTo>
                  <a:cubicBezTo>
                    <a:pt x="53" y="256"/>
                    <a:pt x="31" y="252"/>
                    <a:pt x="12" y="243"/>
                  </a:cubicBezTo>
                  <a:cubicBezTo>
                    <a:pt x="0" y="266"/>
                    <a:pt x="0" y="266"/>
                    <a:pt x="0" y="266"/>
                  </a:cubicBezTo>
                  <a:cubicBezTo>
                    <a:pt x="24" y="277"/>
                    <a:pt x="51" y="282"/>
                    <a:pt x="79" y="279"/>
                  </a:cubicBezTo>
                  <a:cubicBezTo>
                    <a:pt x="120" y="275"/>
                    <a:pt x="155" y="254"/>
                    <a:pt x="180" y="224"/>
                  </a:cubicBezTo>
                  <a:cubicBezTo>
                    <a:pt x="204" y="195"/>
                    <a:pt x="217" y="155"/>
                    <a:pt x="212" y="114"/>
                  </a:cubicBezTo>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 name="Freeform 7"/>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 name="Freeform 8"/>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p:nvSpPr>
          <p:spPr bwMode="auto">
            <a:xfrm>
              <a:off x="2824163" y="3265488"/>
              <a:ext cx="319088" cy="180975"/>
            </a:xfrm>
            <a:custGeom>
              <a:avLst/>
              <a:gdLst>
                <a:gd name="T0" fmla="*/ 67 w 85"/>
                <a:gd name="T1" fmla="*/ 45 h 48"/>
                <a:gd name="T2" fmla="*/ 9 w 85"/>
                <a:gd name="T3" fmla="*/ 25 h 48"/>
                <a:gd name="T4" fmla="*/ 2 w 85"/>
                <a:gd name="T5" fmla="*/ 10 h 48"/>
                <a:gd name="T6" fmla="*/ 17 w 85"/>
                <a:gd name="T7" fmla="*/ 2 h 48"/>
                <a:gd name="T8" fmla="*/ 75 w 85"/>
                <a:gd name="T9" fmla="*/ 23 h 48"/>
                <a:gd name="T10" fmla="*/ 82 w 85"/>
                <a:gd name="T11" fmla="*/ 38 h 48"/>
                <a:gd name="T12" fmla="*/ 67 w 85"/>
                <a:gd name="T13" fmla="*/ 45 h 48"/>
              </a:gdLst>
              <a:ahLst/>
              <a:cxnLst>
                <a:cxn ang="0">
                  <a:pos x="T0" y="T1"/>
                </a:cxn>
                <a:cxn ang="0">
                  <a:pos x="T2" y="T3"/>
                </a:cxn>
                <a:cxn ang="0">
                  <a:pos x="T4" y="T5"/>
                </a:cxn>
                <a:cxn ang="0">
                  <a:pos x="T6" y="T7"/>
                </a:cxn>
                <a:cxn ang="0">
                  <a:pos x="T8" y="T9"/>
                </a:cxn>
                <a:cxn ang="0">
                  <a:pos x="T10" y="T11"/>
                </a:cxn>
                <a:cxn ang="0">
                  <a:pos x="T12" y="T13"/>
                </a:cxn>
              </a:cxnLst>
              <a:rect l="0" t="0" r="r" b="b"/>
              <a:pathLst>
                <a:path w="85" h="48">
                  <a:moveTo>
                    <a:pt x="67" y="45"/>
                  </a:moveTo>
                  <a:cubicBezTo>
                    <a:pt x="9" y="25"/>
                    <a:pt x="9" y="25"/>
                    <a:pt x="9" y="25"/>
                  </a:cubicBezTo>
                  <a:cubicBezTo>
                    <a:pt x="3" y="23"/>
                    <a:pt x="0" y="16"/>
                    <a:pt x="2" y="10"/>
                  </a:cubicBezTo>
                  <a:cubicBezTo>
                    <a:pt x="4" y="3"/>
                    <a:pt x="11" y="0"/>
                    <a:pt x="17" y="2"/>
                  </a:cubicBezTo>
                  <a:cubicBezTo>
                    <a:pt x="75" y="23"/>
                    <a:pt x="75" y="23"/>
                    <a:pt x="75" y="23"/>
                  </a:cubicBezTo>
                  <a:cubicBezTo>
                    <a:pt x="81" y="25"/>
                    <a:pt x="85" y="32"/>
                    <a:pt x="82" y="38"/>
                  </a:cubicBezTo>
                  <a:cubicBezTo>
                    <a:pt x="80" y="44"/>
                    <a:pt x="73" y="48"/>
                    <a:pt x="67" y="45"/>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Freeform 10"/>
            <p:cNvSpPr>
              <a:spLocks/>
            </p:cNvSpPr>
            <p:nvPr/>
          </p:nvSpPr>
          <p:spPr bwMode="auto">
            <a:xfrm>
              <a:off x="2790825" y="2876550"/>
              <a:ext cx="90488" cy="474663"/>
            </a:xfrm>
            <a:custGeom>
              <a:avLst/>
              <a:gdLst>
                <a:gd name="T0" fmla="*/ 12 w 24"/>
                <a:gd name="T1" fmla="*/ 126 h 126"/>
                <a:gd name="T2" fmla="*/ 0 w 24"/>
                <a:gd name="T3" fmla="*/ 114 h 126"/>
                <a:gd name="T4" fmla="*/ 0 w 24"/>
                <a:gd name="T5" fmla="*/ 12 h 126"/>
                <a:gd name="T6" fmla="*/ 12 w 24"/>
                <a:gd name="T7" fmla="*/ 0 h 126"/>
                <a:gd name="T8" fmla="*/ 24 w 24"/>
                <a:gd name="T9" fmla="*/ 12 h 126"/>
                <a:gd name="T10" fmla="*/ 24 w 24"/>
                <a:gd name="T11" fmla="*/ 114 h 126"/>
                <a:gd name="T12" fmla="*/ 12 w 24"/>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24" h="126">
                  <a:moveTo>
                    <a:pt x="12" y="126"/>
                  </a:moveTo>
                  <a:cubicBezTo>
                    <a:pt x="5" y="126"/>
                    <a:pt x="0" y="120"/>
                    <a:pt x="0" y="114"/>
                  </a:cubicBezTo>
                  <a:cubicBezTo>
                    <a:pt x="0" y="12"/>
                    <a:pt x="0" y="12"/>
                    <a:pt x="0" y="12"/>
                  </a:cubicBezTo>
                  <a:cubicBezTo>
                    <a:pt x="0" y="5"/>
                    <a:pt x="5" y="0"/>
                    <a:pt x="12" y="0"/>
                  </a:cubicBezTo>
                  <a:cubicBezTo>
                    <a:pt x="18" y="0"/>
                    <a:pt x="24" y="5"/>
                    <a:pt x="24" y="12"/>
                  </a:cubicBezTo>
                  <a:cubicBezTo>
                    <a:pt x="24" y="114"/>
                    <a:pt x="24" y="114"/>
                    <a:pt x="24" y="114"/>
                  </a:cubicBezTo>
                  <a:cubicBezTo>
                    <a:pt x="24" y="120"/>
                    <a:pt x="18" y="126"/>
                    <a:pt x="12" y="126"/>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 name="Oval 11"/>
            <p:cNvSpPr>
              <a:spLocks noChangeArrowheads="1"/>
            </p:cNvSpPr>
            <p:nvPr/>
          </p:nvSpPr>
          <p:spPr bwMode="auto">
            <a:xfrm>
              <a:off x="2768600" y="3238500"/>
              <a:ext cx="131763" cy="131763"/>
            </a:xfrm>
            <a:prstGeom prst="ellipse">
              <a:avLst/>
            </a:pr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Freeform 12"/>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Rectangle 13"/>
            <p:cNvSpPr>
              <a:spLocks noChangeArrowheads="1"/>
            </p:cNvSpPr>
            <p:nvPr/>
          </p:nvSpPr>
          <p:spPr bwMode="auto">
            <a:xfrm>
              <a:off x="2828925" y="2879725"/>
              <a:ext cx="22225" cy="82550"/>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Freeform 14"/>
            <p:cNvSpPr>
              <a:spLocks/>
            </p:cNvSpPr>
            <p:nvPr/>
          </p:nvSpPr>
          <p:spPr bwMode="auto">
            <a:xfrm>
              <a:off x="3057525" y="2992438"/>
              <a:ext cx="74613" cy="76200"/>
            </a:xfrm>
            <a:custGeom>
              <a:avLst/>
              <a:gdLst>
                <a:gd name="T0" fmla="*/ 35 w 47"/>
                <a:gd name="T1" fmla="*/ 0 h 48"/>
                <a:gd name="T2" fmla="*/ 47 w 47"/>
                <a:gd name="T3" fmla="*/ 12 h 48"/>
                <a:gd name="T4" fmla="*/ 12 w 47"/>
                <a:gd name="T5" fmla="*/ 48 h 48"/>
                <a:gd name="T6" fmla="*/ 0 w 47"/>
                <a:gd name="T7" fmla="*/ 36 h 48"/>
                <a:gd name="T8" fmla="*/ 35 w 47"/>
                <a:gd name="T9" fmla="*/ 0 h 48"/>
              </a:gdLst>
              <a:ahLst/>
              <a:cxnLst>
                <a:cxn ang="0">
                  <a:pos x="T0" y="T1"/>
                </a:cxn>
                <a:cxn ang="0">
                  <a:pos x="T2" y="T3"/>
                </a:cxn>
                <a:cxn ang="0">
                  <a:pos x="T4" y="T5"/>
                </a:cxn>
                <a:cxn ang="0">
                  <a:pos x="T6" y="T7"/>
                </a:cxn>
                <a:cxn ang="0">
                  <a:pos x="T8" y="T9"/>
                </a:cxn>
              </a:cxnLst>
              <a:rect l="0" t="0" r="r" b="b"/>
              <a:pathLst>
                <a:path w="47" h="48">
                  <a:moveTo>
                    <a:pt x="35" y="0"/>
                  </a:moveTo>
                  <a:lnTo>
                    <a:pt x="47" y="12"/>
                  </a:lnTo>
                  <a:lnTo>
                    <a:pt x="12" y="48"/>
                  </a:lnTo>
                  <a:lnTo>
                    <a:pt x="0" y="36"/>
                  </a:lnTo>
                  <a:lnTo>
                    <a:pt x="35"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Rectangle 15"/>
            <p:cNvSpPr>
              <a:spLocks noChangeArrowheads="1"/>
            </p:cNvSpPr>
            <p:nvPr/>
          </p:nvSpPr>
          <p:spPr bwMode="auto">
            <a:xfrm>
              <a:off x="3154363" y="3271838"/>
              <a:ext cx="8413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 name="Freeform 16"/>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Freeform 17"/>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Rectangle 18"/>
            <p:cNvSpPr>
              <a:spLocks noChangeArrowheads="1"/>
            </p:cNvSpPr>
            <p:nvPr/>
          </p:nvSpPr>
          <p:spPr bwMode="auto">
            <a:xfrm>
              <a:off x="2828925" y="3605213"/>
              <a:ext cx="22225" cy="79375"/>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Freeform 19"/>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Freeform 20"/>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21"/>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Rectangle 22"/>
            <p:cNvSpPr>
              <a:spLocks noChangeArrowheads="1"/>
            </p:cNvSpPr>
            <p:nvPr/>
          </p:nvSpPr>
          <p:spPr bwMode="auto">
            <a:xfrm>
              <a:off x="2438400" y="3271838"/>
              <a:ext cx="7778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 name="Rectangle 92"/>
            <p:cNvSpPr>
              <a:spLocks noChangeArrowheads="1"/>
            </p:cNvSpPr>
            <p:nvPr/>
          </p:nvSpPr>
          <p:spPr bwMode="auto">
            <a:xfrm>
              <a:off x="2200275" y="4154488"/>
              <a:ext cx="3794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rPr>
                <a:t>Eve</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95" name="Rectangle 93"/>
            <p:cNvSpPr>
              <a:spLocks noChangeArrowheads="1"/>
            </p:cNvSpPr>
            <p:nvPr/>
          </p:nvSpPr>
          <p:spPr bwMode="auto">
            <a:xfrm>
              <a:off x="2463800" y="4154488"/>
              <a:ext cx="1619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rPr>
                <a:t>r</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96" name="Rectangle 94"/>
            <p:cNvSpPr>
              <a:spLocks noChangeArrowheads="1"/>
            </p:cNvSpPr>
            <p:nvPr/>
          </p:nvSpPr>
          <p:spPr bwMode="auto">
            <a:xfrm>
              <a:off x="2535238" y="4154488"/>
              <a:ext cx="1074738"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rPr>
                <a:t>y 15 minutes</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99" name="Freeform 97"/>
            <p:cNvSpPr>
              <a:spLocks noEditPoints="1"/>
            </p:cNvSpPr>
            <p:nvPr/>
          </p:nvSpPr>
          <p:spPr bwMode="auto">
            <a:xfrm>
              <a:off x="3492500"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 name="Freeform 98"/>
            <p:cNvSpPr>
              <a:spLocks/>
            </p:cNvSpPr>
            <p:nvPr/>
          </p:nvSpPr>
          <p:spPr bwMode="auto">
            <a:xfrm>
              <a:off x="3767138"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4" name="Group 3"/>
          <p:cNvGrpSpPr/>
          <p:nvPr/>
        </p:nvGrpSpPr>
        <p:grpSpPr>
          <a:xfrm>
            <a:off x="7820025" y="2435225"/>
            <a:ext cx="2178051" cy="2012951"/>
            <a:chOff x="7820025" y="2435225"/>
            <a:chExt cx="2178051" cy="2012951"/>
          </a:xfrm>
        </p:grpSpPr>
        <p:sp>
          <p:nvSpPr>
            <p:cNvPr id="51" name="Freeform 49"/>
            <p:cNvSpPr>
              <a:spLocks/>
            </p:cNvSpPr>
            <p:nvPr/>
          </p:nvSpPr>
          <p:spPr bwMode="auto">
            <a:xfrm>
              <a:off x="8609013" y="2940050"/>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Freeform 50"/>
            <p:cNvSpPr>
              <a:spLocks/>
            </p:cNvSpPr>
            <p:nvPr/>
          </p:nvSpPr>
          <p:spPr bwMode="auto">
            <a:xfrm>
              <a:off x="8609013" y="2767013"/>
              <a:ext cx="1127125"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Rectangle 51"/>
            <p:cNvSpPr>
              <a:spLocks noChangeArrowheads="1"/>
            </p:cNvSpPr>
            <p:nvPr/>
          </p:nvSpPr>
          <p:spPr bwMode="auto">
            <a:xfrm>
              <a:off x="9032875"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Rectangle 52"/>
            <p:cNvSpPr>
              <a:spLocks noChangeArrowheads="1"/>
            </p:cNvSpPr>
            <p:nvPr/>
          </p:nvSpPr>
          <p:spPr bwMode="auto">
            <a:xfrm>
              <a:off x="9032875"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Rectangle 53"/>
            <p:cNvSpPr>
              <a:spLocks noChangeArrowheads="1"/>
            </p:cNvSpPr>
            <p:nvPr/>
          </p:nvSpPr>
          <p:spPr bwMode="auto">
            <a:xfrm>
              <a:off x="9032875"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Rectangle 54"/>
            <p:cNvSpPr>
              <a:spLocks noChangeArrowheads="1"/>
            </p:cNvSpPr>
            <p:nvPr/>
          </p:nvSpPr>
          <p:spPr bwMode="auto">
            <a:xfrm>
              <a:off x="9032875"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 name="Rectangle 55"/>
            <p:cNvSpPr>
              <a:spLocks noChangeArrowheads="1"/>
            </p:cNvSpPr>
            <p:nvPr/>
          </p:nvSpPr>
          <p:spPr bwMode="auto">
            <a:xfrm>
              <a:off x="9371013"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8" name="Rectangle 56"/>
            <p:cNvSpPr>
              <a:spLocks noChangeArrowheads="1"/>
            </p:cNvSpPr>
            <p:nvPr/>
          </p:nvSpPr>
          <p:spPr bwMode="auto">
            <a:xfrm>
              <a:off x="9371013"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9" name="Rectangle 57"/>
            <p:cNvSpPr>
              <a:spLocks noChangeArrowheads="1"/>
            </p:cNvSpPr>
            <p:nvPr/>
          </p:nvSpPr>
          <p:spPr bwMode="auto">
            <a:xfrm>
              <a:off x="9371013"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0" name="Rectangle 58"/>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1" name="Rectangle 59"/>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2" name="Rectangle 60"/>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3" name="Rectangle 61"/>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4" name="Rectangle 62"/>
            <p:cNvSpPr>
              <a:spLocks noChangeArrowheads="1"/>
            </p:cNvSpPr>
            <p:nvPr/>
          </p:nvSpPr>
          <p:spPr bwMode="auto">
            <a:xfrm>
              <a:off x="8694738"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5" name="Rectangle 63"/>
            <p:cNvSpPr>
              <a:spLocks noChangeArrowheads="1"/>
            </p:cNvSpPr>
            <p:nvPr/>
          </p:nvSpPr>
          <p:spPr bwMode="auto">
            <a:xfrm>
              <a:off x="8694738" y="34766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6" name="Rectangle 64"/>
            <p:cNvSpPr>
              <a:spLocks noChangeArrowheads="1"/>
            </p:cNvSpPr>
            <p:nvPr/>
          </p:nvSpPr>
          <p:spPr bwMode="auto">
            <a:xfrm>
              <a:off x="9032875"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7" name="Rectangle 65"/>
            <p:cNvSpPr>
              <a:spLocks noChangeArrowheads="1"/>
            </p:cNvSpPr>
            <p:nvPr/>
          </p:nvSpPr>
          <p:spPr bwMode="auto">
            <a:xfrm>
              <a:off x="9371013"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8" name="Freeform 66"/>
            <p:cNvSpPr>
              <a:spLocks noEditPoints="1"/>
            </p:cNvSpPr>
            <p:nvPr/>
          </p:nvSpPr>
          <p:spPr bwMode="auto">
            <a:xfrm>
              <a:off x="8609013" y="2940050"/>
              <a:ext cx="822325" cy="792163"/>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 name="Freeform 67"/>
            <p:cNvSpPr>
              <a:spLocks/>
            </p:cNvSpPr>
            <p:nvPr/>
          </p:nvSpPr>
          <p:spPr bwMode="auto">
            <a:xfrm>
              <a:off x="8609013" y="27670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 name="Freeform 68"/>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 name="Freeform 69"/>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 name="Freeform 70"/>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 name="Freeform 71"/>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 name="Rectangle 72"/>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 name="Rectangle 73"/>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 name="Rectangle 74"/>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7" name="Rectangle 75"/>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8" name="Freeform 76"/>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9" name="Freeform 77"/>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3" name="Freeform 91"/>
            <p:cNvSpPr>
              <a:spLocks noEditPoints="1"/>
            </p:cNvSpPr>
            <p:nvPr/>
          </p:nvSpPr>
          <p:spPr bwMode="auto">
            <a:xfrm>
              <a:off x="8345488" y="2435225"/>
              <a:ext cx="1652588" cy="1660525"/>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cubicBezTo>
                    <a:pt x="425" y="401"/>
                    <a:pt x="425" y="401"/>
                    <a:pt x="425" y="401"/>
                  </a:cubicBez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lnTo>
                    <a:pt x="10" y="51"/>
                  </a:ln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8" name="Rectangle 96"/>
            <p:cNvSpPr>
              <a:spLocks noChangeArrowheads="1"/>
            </p:cNvSpPr>
            <p:nvPr/>
          </p:nvSpPr>
          <p:spPr bwMode="auto">
            <a:xfrm>
              <a:off x="8751888" y="4154488"/>
              <a:ext cx="9874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Clean table</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101" name="Freeform 99"/>
            <p:cNvSpPr>
              <a:spLocks noEditPoints="1"/>
            </p:cNvSpPr>
            <p:nvPr/>
          </p:nvSpPr>
          <p:spPr bwMode="auto">
            <a:xfrm>
              <a:off x="7820025"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2" name="Freeform 100"/>
            <p:cNvSpPr>
              <a:spLocks/>
            </p:cNvSpPr>
            <p:nvPr/>
          </p:nvSpPr>
          <p:spPr bwMode="auto">
            <a:xfrm>
              <a:off x="8094663"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2" name="Group 1"/>
          <p:cNvGrpSpPr/>
          <p:nvPr/>
        </p:nvGrpSpPr>
        <p:grpSpPr>
          <a:xfrm>
            <a:off x="4019550" y="2435225"/>
            <a:ext cx="3544888" cy="2012951"/>
            <a:chOff x="4019550" y="2435225"/>
            <a:chExt cx="3544888" cy="2012951"/>
          </a:xfrm>
        </p:grpSpPr>
        <p:sp>
          <p:nvSpPr>
            <p:cNvPr id="25" name="Freeform 23"/>
            <p:cNvSpPr>
              <a:spLocks/>
            </p:cNvSpPr>
            <p:nvPr/>
          </p:nvSpPr>
          <p:spPr bwMode="auto">
            <a:xfrm>
              <a:off x="5367338" y="2986088"/>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Freeform 24"/>
            <p:cNvSpPr>
              <a:spLocks/>
            </p:cNvSpPr>
            <p:nvPr/>
          </p:nvSpPr>
          <p:spPr bwMode="auto">
            <a:xfrm>
              <a:off x="5367338" y="2811463"/>
              <a:ext cx="1127125" cy="174625"/>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Rectangle 25"/>
            <p:cNvSpPr>
              <a:spLocks noChangeArrowheads="1"/>
            </p:cNvSpPr>
            <p:nvPr/>
          </p:nvSpPr>
          <p:spPr bwMode="auto">
            <a:xfrm>
              <a:off x="5791200"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 name="Rectangle 26"/>
            <p:cNvSpPr>
              <a:spLocks noChangeArrowheads="1"/>
            </p:cNvSpPr>
            <p:nvPr/>
          </p:nvSpPr>
          <p:spPr bwMode="auto">
            <a:xfrm>
              <a:off x="5791200" y="30575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 name="Rectangle 27"/>
            <p:cNvSpPr>
              <a:spLocks noChangeArrowheads="1"/>
            </p:cNvSpPr>
            <p:nvPr/>
          </p:nvSpPr>
          <p:spPr bwMode="auto">
            <a:xfrm>
              <a:off x="5791200"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 name="Rectangle 28"/>
            <p:cNvSpPr>
              <a:spLocks noChangeArrowheads="1"/>
            </p:cNvSpPr>
            <p:nvPr/>
          </p:nvSpPr>
          <p:spPr bwMode="auto">
            <a:xfrm>
              <a:off x="5791200" y="32908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Rectangle 29"/>
            <p:cNvSpPr>
              <a:spLocks noChangeArrowheads="1"/>
            </p:cNvSpPr>
            <p:nvPr/>
          </p:nvSpPr>
          <p:spPr bwMode="auto">
            <a:xfrm>
              <a:off x="6129338"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Rectangle 30"/>
            <p:cNvSpPr>
              <a:spLocks noChangeArrowheads="1"/>
            </p:cNvSpPr>
            <p:nvPr/>
          </p:nvSpPr>
          <p:spPr bwMode="auto">
            <a:xfrm>
              <a:off x="6129338"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 name="Rectangle 31"/>
            <p:cNvSpPr>
              <a:spLocks noChangeArrowheads="1"/>
            </p:cNvSpPr>
            <p:nvPr/>
          </p:nvSpPr>
          <p:spPr bwMode="auto">
            <a:xfrm>
              <a:off x="5454650" y="3057525"/>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 name="Rectangle 32"/>
            <p:cNvSpPr>
              <a:spLocks noChangeArrowheads="1"/>
            </p:cNvSpPr>
            <p:nvPr/>
          </p:nvSpPr>
          <p:spPr bwMode="auto">
            <a:xfrm>
              <a:off x="5454650" y="3057525"/>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 name="Rectangle 33"/>
            <p:cNvSpPr>
              <a:spLocks noChangeArrowheads="1"/>
            </p:cNvSpPr>
            <p:nvPr/>
          </p:nvSpPr>
          <p:spPr bwMode="auto">
            <a:xfrm>
              <a:off x="5454650" y="3290888"/>
              <a:ext cx="280988"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 name="Rectangle 34"/>
            <p:cNvSpPr>
              <a:spLocks noChangeArrowheads="1"/>
            </p:cNvSpPr>
            <p:nvPr/>
          </p:nvSpPr>
          <p:spPr bwMode="auto">
            <a:xfrm>
              <a:off x="5454650" y="3290888"/>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 name="Rectangle 35"/>
            <p:cNvSpPr>
              <a:spLocks noChangeArrowheads="1"/>
            </p:cNvSpPr>
            <p:nvPr/>
          </p:nvSpPr>
          <p:spPr bwMode="auto">
            <a:xfrm>
              <a:off x="5454650" y="3521075"/>
              <a:ext cx="280988"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 name="Rectangle 36"/>
            <p:cNvSpPr>
              <a:spLocks noChangeArrowheads="1"/>
            </p:cNvSpPr>
            <p:nvPr/>
          </p:nvSpPr>
          <p:spPr bwMode="auto">
            <a:xfrm>
              <a:off x="5454650" y="3521075"/>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 name="Rectangle 37"/>
            <p:cNvSpPr>
              <a:spLocks noChangeArrowheads="1"/>
            </p:cNvSpPr>
            <p:nvPr/>
          </p:nvSpPr>
          <p:spPr bwMode="auto">
            <a:xfrm>
              <a:off x="5791200"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 name="Rectangle 38"/>
            <p:cNvSpPr>
              <a:spLocks noChangeArrowheads="1"/>
            </p:cNvSpPr>
            <p:nvPr/>
          </p:nvSpPr>
          <p:spPr bwMode="auto">
            <a:xfrm>
              <a:off x="6129338"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Freeform 39"/>
            <p:cNvSpPr>
              <a:spLocks/>
            </p:cNvSpPr>
            <p:nvPr/>
          </p:nvSpPr>
          <p:spPr bwMode="auto">
            <a:xfrm>
              <a:off x="5367338" y="2986088"/>
              <a:ext cx="822325" cy="792163"/>
            </a:xfrm>
            <a:custGeom>
              <a:avLst/>
              <a:gdLst>
                <a:gd name="T0" fmla="*/ 219 w 219"/>
                <a:gd name="T1" fmla="*/ 0 h 210"/>
                <a:gd name="T2" fmla="*/ 49 w 219"/>
                <a:gd name="T3" fmla="*/ 0 h 210"/>
                <a:gd name="T4" fmla="*/ 61 w 219"/>
                <a:gd name="T5" fmla="*/ 15 h 210"/>
                <a:gd name="T6" fmla="*/ 64 w 219"/>
                <a:gd name="T7" fmla="*/ 19 h 210"/>
                <a:gd name="T8" fmla="*/ 98 w 219"/>
                <a:gd name="T9" fmla="*/ 19 h 210"/>
                <a:gd name="T10" fmla="*/ 98 w 219"/>
                <a:gd name="T11" fmla="*/ 65 h 210"/>
                <a:gd name="T12" fmla="*/ 71 w 219"/>
                <a:gd name="T13" fmla="*/ 65 h 210"/>
                <a:gd name="T14" fmla="*/ 70 w 219"/>
                <a:gd name="T15" fmla="*/ 71 h 210"/>
                <a:gd name="T16" fmla="*/ 67 w 219"/>
                <a:gd name="T17" fmla="*/ 81 h 210"/>
                <a:gd name="T18" fmla="*/ 98 w 219"/>
                <a:gd name="T19" fmla="*/ 81 h 210"/>
                <a:gd name="T20" fmla="*/ 98 w 219"/>
                <a:gd name="T21" fmla="*/ 127 h 210"/>
                <a:gd name="T22" fmla="*/ 23 w 219"/>
                <a:gd name="T23" fmla="*/ 127 h 210"/>
                <a:gd name="T24" fmla="*/ 23 w 219"/>
                <a:gd name="T25" fmla="*/ 123 h 210"/>
                <a:gd name="T26" fmla="*/ 0 w 219"/>
                <a:gd name="T27" fmla="*/ 127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19" y="0"/>
                  </a:moveTo>
                  <a:cubicBezTo>
                    <a:pt x="49" y="0"/>
                    <a:pt x="49" y="0"/>
                    <a:pt x="49" y="0"/>
                  </a:cubicBezTo>
                  <a:cubicBezTo>
                    <a:pt x="53" y="4"/>
                    <a:pt x="58" y="10"/>
                    <a:pt x="61" y="15"/>
                  </a:cubicBezTo>
                  <a:cubicBezTo>
                    <a:pt x="62" y="17"/>
                    <a:pt x="63" y="18"/>
                    <a:pt x="64" y="19"/>
                  </a:cubicBezTo>
                  <a:cubicBezTo>
                    <a:pt x="98" y="19"/>
                    <a:pt x="98" y="19"/>
                    <a:pt x="98" y="19"/>
                  </a:cubicBezTo>
                  <a:cubicBezTo>
                    <a:pt x="98" y="65"/>
                    <a:pt x="98" y="65"/>
                    <a:pt x="98" y="65"/>
                  </a:cubicBezTo>
                  <a:cubicBezTo>
                    <a:pt x="71" y="65"/>
                    <a:pt x="71" y="65"/>
                    <a:pt x="71" y="65"/>
                  </a:cubicBezTo>
                  <a:cubicBezTo>
                    <a:pt x="71" y="67"/>
                    <a:pt x="70" y="69"/>
                    <a:pt x="70" y="71"/>
                  </a:cubicBezTo>
                  <a:cubicBezTo>
                    <a:pt x="69" y="75"/>
                    <a:pt x="68" y="78"/>
                    <a:pt x="67" y="81"/>
                  </a:cubicBezTo>
                  <a:cubicBezTo>
                    <a:pt x="98" y="81"/>
                    <a:pt x="98" y="81"/>
                    <a:pt x="98" y="81"/>
                  </a:cubicBezTo>
                  <a:cubicBezTo>
                    <a:pt x="98" y="127"/>
                    <a:pt x="98" y="127"/>
                    <a:pt x="98" y="127"/>
                  </a:cubicBezTo>
                  <a:cubicBezTo>
                    <a:pt x="23" y="127"/>
                    <a:pt x="23" y="127"/>
                    <a:pt x="23" y="127"/>
                  </a:cubicBezTo>
                  <a:cubicBezTo>
                    <a:pt x="23" y="123"/>
                    <a:pt x="23" y="123"/>
                    <a:pt x="23" y="123"/>
                  </a:cubicBezTo>
                  <a:cubicBezTo>
                    <a:pt x="16" y="126"/>
                    <a:pt x="8" y="127"/>
                    <a:pt x="0" y="127"/>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Freeform 40"/>
            <p:cNvSpPr>
              <a:spLocks/>
            </p:cNvSpPr>
            <p:nvPr/>
          </p:nvSpPr>
          <p:spPr bwMode="auto">
            <a:xfrm>
              <a:off x="5367338" y="2811463"/>
              <a:ext cx="984250" cy="174625"/>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26 h 46"/>
                <a:gd name="T12" fmla="*/ 16 w 262"/>
                <a:gd name="T13" fmla="*/ 28 h 46"/>
                <a:gd name="T14" fmla="*/ 49 w 262"/>
                <a:gd name="T15" fmla="*/ 46 h 46"/>
                <a:gd name="T16" fmla="*/ 219 w 262"/>
                <a:gd name="T17" fmla="*/ 46 h 46"/>
                <a:gd name="T18" fmla="*/ 262 w 262"/>
                <a:gd name="T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26"/>
                    <a:pt x="0" y="26"/>
                    <a:pt x="0" y="26"/>
                  </a:cubicBezTo>
                  <a:cubicBezTo>
                    <a:pt x="5" y="26"/>
                    <a:pt x="11" y="27"/>
                    <a:pt x="16" y="28"/>
                  </a:cubicBezTo>
                  <a:cubicBezTo>
                    <a:pt x="28" y="31"/>
                    <a:pt x="39" y="37"/>
                    <a:pt x="49"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 name="Freeform 41"/>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 name="Freeform 42"/>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Freeform 43"/>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Freeform 44"/>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Freeform 45"/>
            <p:cNvSpPr>
              <a:spLocks/>
            </p:cNvSpPr>
            <p:nvPr/>
          </p:nvSpPr>
          <p:spPr bwMode="auto">
            <a:xfrm>
              <a:off x="5608638" y="3057525"/>
              <a:ext cx="127000" cy="173038"/>
            </a:xfrm>
            <a:custGeom>
              <a:avLst/>
              <a:gdLst>
                <a:gd name="T0" fmla="*/ 34 w 34"/>
                <a:gd name="T1" fmla="*/ 0 h 46"/>
                <a:gd name="T2" fmla="*/ 0 w 34"/>
                <a:gd name="T3" fmla="*/ 0 h 46"/>
                <a:gd name="T4" fmla="*/ 7 w 34"/>
                <a:gd name="T5" fmla="*/ 46 h 46"/>
                <a:gd name="T6" fmla="*/ 34 w 34"/>
                <a:gd name="T7" fmla="*/ 46 h 46"/>
                <a:gd name="T8" fmla="*/ 34 w 34"/>
                <a:gd name="T9" fmla="*/ 0 h 46"/>
              </a:gdLst>
              <a:ahLst/>
              <a:cxnLst>
                <a:cxn ang="0">
                  <a:pos x="T0" y="T1"/>
                </a:cxn>
                <a:cxn ang="0">
                  <a:pos x="T2" y="T3"/>
                </a:cxn>
                <a:cxn ang="0">
                  <a:pos x="T4" y="T5"/>
                </a:cxn>
                <a:cxn ang="0">
                  <a:pos x="T6" y="T7"/>
                </a:cxn>
                <a:cxn ang="0">
                  <a:pos x="T8" y="T9"/>
                </a:cxn>
              </a:cxnLst>
              <a:rect l="0" t="0" r="r" b="b"/>
              <a:pathLst>
                <a:path w="34" h="46">
                  <a:moveTo>
                    <a:pt x="34" y="0"/>
                  </a:moveTo>
                  <a:cubicBezTo>
                    <a:pt x="0" y="0"/>
                    <a:pt x="0" y="0"/>
                    <a:pt x="0" y="0"/>
                  </a:cubicBezTo>
                  <a:cubicBezTo>
                    <a:pt x="7" y="14"/>
                    <a:pt x="10" y="30"/>
                    <a:pt x="7" y="46"/>
                  </a:cubicBezTo>
                  <a:cubicBezTo>
                    <a:pt x="34" y="46"/>
                    <a:pt x="34" y="46"/>
                    <a:pt x="34" y="46"/>
                  </a:cubicBezTo>
                  <a:cubicBezTo>
                    <a:pt x="34" y="0"/>
                    <a:pt x="34" y="0"/>
                    <a:pt x="3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Freeform 46"/>
            <p:cNvSpPr>
              <a:spLocks/>
            </p:cNvSpPr>
            <p:nvPr/>
          </p:nvSpPr>
          <p:spPr bwMode="auto">
            <a:xfrm>
              <a:off x="5454650" y="3290888"/>
              <a:ext cx="280988" cy="174625"/>
            </a:xfrm>
            <a:custGeom>
              <a:avLst/>
              <a:gdLst>
                <a:gd name="T0" fmla="*/ 75 w 75"/>
                <a:gd name="T1" fmla="*/ 0 h 46"/>
                <a:gd name="T2" fmla="*/ 44 w 75"/>
                <a:gd name="T3" fmla="*/ 0 h 46"/>
                <a:gd name="T4" fmla="*/ 0 w 75"/>
                <a:gd name="T5" fmla="*/ 42 h 46"/>
                <a:gd name="T6" fmla="*/ 0 w 75"/>
                <a:gd name="T7" fmla="*/ 46 h 46"/>
                <a:gd name="T8" fmla="*/ 75 w 75"/>
                <a:gd name="T9" fmla="*/ 46 h 46"/>
                <a:gd name="T10" fmla="*/ 75 w 75"/>
                <a:gd name="T11" fmla="*/ 0 h 46"/>
              </a:gdLst>
              <a:ahLst/>
              <a:cxnLst>
                <a:cxn ang="0">
                  <a:pos x="T0" y="T1"/>
                </a:cxn>
                <a:cxn ang="0">
                  <a:pos x="T2" y="T3"/>
                </a:cxn>
                <a:cxn ang="0">
                  <a:pos x="T4" y="T5"/>
                </a:cxn>
                <a:cxn ang="0">
                  <a:pos x="T6" y="T7"/>
                </a:cxn>
                <a:cxn ang="0">
                  <a:pos x="T8" y="T9"/>
                </a:cxn>
                <a:cxn ang="0">
                  <a:pos x="T10" y="T11"/>
                </a:cxn>
              </a:cxnLst>
              <a:rect l="0" t="0" r="r" b="b"/>
              <a:pathLst>
                <a:path w="75" h="46">
                  <a:moveTo>
                    <a:pt x="75" y="0"/>
                  </a:moveTo>
                  <a:cubicBezTo>
                    <a:pt x="44" y="0"/>
                    <a:pt x="44" y="0"/>
                    <a:pt x="44" y="0"/>
                  </a:cubicBezTo>
                  <a:cubicBezTo>
                    <a:pt x="36" y="20"/>
                    <a:pt x="20" y="35"/>
                    <a:pt x="0" y="42"/>
                  </a:cubicBezTo>
                  <a:cubicBezTo>
                    <a:pt x="0" y="46"/>
                    <a:pt x="0" y="46"/>
                    <a:pt x="0" y="46"/>
                  </a:cubicBezTo>
                  <a:cubicBezTo>
                    <a:pt x="75" y="46"/>
                    <a:pt x="75" y="46"/>
                    <a:pt x="75" y="46"/>
                  </a:cubicBezTo>
                  <a:cubicBezTo>
                    <a:pt x="75" y="0"/>
                    <a:pt x="75" y="0"/>
                    <a:pt x="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Freeform 47"/>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Freeform 48"/>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 name="Freeform 78"/>
            <p:cNvSpPr>
              <a:spLocks/>
            </p:cNvSpPr>
            <p:nvPr/>
          </p:nvSpPr>
          <p:spPr bwMode="auto">
            <a:xfrm>
              <a:off x="4883150" y="2909888"/>
              <a:ext cx="766763" cy="750888"/>
            </a:xfrm>
            <a:custGeom>
              <a:avLst/>
              <a:gdLst>
                <a:gd name="T0" fmla="*/ 190 w 204"/>
                <a:gd name="T1" fmla="*/ 35 h 199"/>
                <a:gd name="T2" fmla="*/ 145 w 204"/>
                <a:gd name="T3" fmla="*/ 2 h 199"/>
                <a:gd name="T4" fmla="*/ 127 w 204"/>
                <a:gd name="T5" fmla="*/ 0 h 199"/>
                <a:gd name="T6" fmla="*/ 56 w 204"/>
                <a:gd name="T7" fmla="*/ 56 h 199"/>
                <a:gd name="T8" fmla="*/ 64 w 204"/>
                <a:gd name="T9" fmla="*/ 110 h 199"/>
                <a:gd name="T10" fmla="*/ 7 w 204"/>
                <a:gd name="T11" fmla="*/ 167 h 199"/>
                <a:gd name="T12" fmla="*/ 8 w 204"/>
                <a:gd name="T13" fmla="*/ 194 h 199"/>
                <a:gd name="T14" fmla="*/ 21 w 204"/>
                <a:gd name="T15" fmla="*/ 199 h 199"/>
                <a:gd name="T16" fmla="*/ 34 w 204"/>
                <a:gd name="T17" fmla="*/ 194 h 199"/>
                <a:gd name="T18" fmla="*/ 90 w 204"/>
                <a:gd name="T19" fmla="*/ 137 h 199"/>
                <a:gd name="T20" fmla="*/ 110 w 204"/>
                <a:gd name="T21" fmla="*/ 145 h 199"/>
                <a:gd name="T22" fmla="*/ 127 w 204"/>
                <a:gd name="T23" fmla="*/ 147 h 199"/>
                <a:gd name="T24" fmla="*/ 199 w 204"/>
                <a:gd name="T25" fmla="*/ 91 h 199"/>
                <a:gd name="T26" fmla="*/ 190 w 204"/>
                <a:gd name="T27" fmla="*/ 3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4" h="199">
                  <a:moveTo>
                    <a:pt x="190" y="35"/>
                  </a:moveTo>
                  <a:cubicBezTo>
                    <a:pt x="180" y="19"/>
                    <a:pt x="164" y="7"/>
                    <a:pt x="145" y="2"/>
                  </a:cubicBezTo>
                  <a:cubicBezTo>
                    <a:pt x="139" y="1"/>
                    <a:pt x="133" y="0"/>
                    <a:pt x="127" y="0"/>
                  </a:cubicBezTo>
                  <a:cubicBezTo>
                    <a:pt x="93" y="0"/>
                    <a:pt x="64" y="23"/>
                    <a:pt x="56" y="56"/>
                  </a:cubicBezTo>
                  <a:cubicBezTo>
                    <a:pt x="51" y="74"/>
                    <a:pt x="54" y="94"/>
                    <a:pt x="64" y="110"/>
                  </a:cubicBezTo>
                  <a:cubicBezTo>
                    <a:pt x="7" y="167"/>
                    <a:pt x="7" y="167"/>
                    <a:pt x="7" y="167"/>
                  </a:cubicBezTo>
                  <a:cubicBezTo>
                    <a:pt x="0" y="174"/>
                    <a:pt x="0" y="186"/>
                    <a:pt x="8" y="194"/>
                  </a:cubicBezTo>
                  <a:cubicBezTo>
                    <a:pt x="11" y="197"/>
                    <a:pt x="16" y="199"/>
                    <a:pt x="21" y="199"/>
                  </a:cubicBezTo>
                  <a:cubicBezTo>
                    <a:pt x="26" y="199"/>
                    <a:pt x="31" y="197"/>
                    <a:pt x="34" y="194"/>
                  </a:cubicBezTo>
                  <a:cubicBezTo>
                    <a:pt x="90" y="137"/>
                    <a:pt x="90" y="137"/>
                    <a:pt x="90" y="137"/>
                  </a:cubicBezTo>
                  <a:cubicBezTo>
                    <a:pt x="97" y="141"/>
                    <a:pt x="103" y="143"/>
                    <a:pt x="110" y="145"/>
                  </a:cubicBezTo>
                  <a:cubicBezTo>
                    <a:pt x="116" y="146"/>
                    <a:pt x="121" y="147"/>
                    <a:pt x="127" y="147"/>
                  </a:cubicBezTo>
                  <a:cubicBezTo>
                    <a:pt x="161" y="147"/>
                    <a:pt x="191" y="124"/>
                    <a:pt x="199" y="91"/>
                  </a:cubicBezTo>
                  <a:cubicBezTo>
                    <a:pt x="204" y="72"/>
                    <a:pt x="201" y="52"/>
                    <a:pt x="190" y="35"/>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1" name="Freeform 79"/>
            <p:cNvSpPr>
              <a:spLocks/>
            </p:cNvSpPr>
            <p:nvPr/>
          </p:nvSpPr>
          <p:spPr bwMode="auto">
            <a:xfrm>
              <a:off x="5160963" y="2992438"/>
              <a:ext cx="401638" cy="388938"/>
            </a:xfrm>
            <a:custGeom>
              <a:avLst/>
              <a:gdLst>
                <a:gd name="T0" fmla="*/ 103 w 107"/>
                <a:gd name="T1" fmla="*/ 64 h 103"/>
                <a:gd name="T2" fmla="*/ 53 w 107"/>
                <a:gd name="T3" fmla="*/ 103 h 103"/>
                <a:gd name="T4" fmla="*/ 41 w 107"/>
                <a:gd name="T5" fmla="*/ 102 h 103"/>
                <a:gd name="T6" fmla="*/ 24 w 107"/>
                <a:gd name="T7" fmla="*/ 94 h 103"/>
                <a:gd name="T8" fmla="*/ 11 w 107"/>
                <a:gd name="T9" fmla="*/ 81 h 103"/>
                <a:gd name="T10" fmla="*/ 3 w 107"/>
                <a:gd name="T11" fmla="*/ 39 h 103"/>
                <a:gd name="T12" fmla="*/ 53 w 107"/>
                <a:gd name="T13" fmla="*/ 0 h 103"/>
                <a:gd name="T14" fmla="*/ 66 w 107"/>
                <a:gd name="T15" fmla="*/ 1 h 103"/>
                <a:gd name="T16" fmla="*/ 97 w 107"/>
                <a:gd name="T17" fmla="*/ 25 h 103"/>
                <a:gd name="T18" fmla="*/ 103 w 107"/>
                <a:gd name="T19" fmla="*/ 6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3">
                  <a:moveTo>
                    <a:pt x="103" y="64"/>
                  </a:moveTo>
                  <a:cubicBezTo>
                    <a:pt x="98" y="87"/>
                    <a:pt x="77" y="103"/>
                    <a:pt x="53" y="103"/>
                  </a:cubicBezTo>
                  <a:cubicBezTo>
                    <a:pt x="49" y="103"/>
                    <a:pt x="45" y="103"/>
                    <a:pt x="41" y="102"/>
                  </a:cubicBezTo>
                  <a:cubicBezTo>
                    <a:pt x="35" y="100"/>
                    <a:pt x="29" y="97"/>
                    <a:pt x="24" y="94"/>
                  </a:cubicBezTo>
                  <a:cubicBezTo>
                    <a:pt x="19" y="90"/>
                    <a:pt x="14" y="86"/>
                    <a:pt x="11" y="81"/>
                  </a:cubicBezTo>
                  <a:cubicBezTo>
                    <a:pt x="3" y="69"/>
                    <a:pt x="0" y="54"/>
                    <a:pt x="3" y="39"/>
                  </a:cubicBezTo>
                  <a:cubicBezTo>
                    <a:pt x="9" y="16"/>
                    <a:pt x="30" y="0"/>
                    <a:pt x="53" y="0"/>
                  </a:cubicBezTo>
                  <a:cubicBezTo>
                    <a:pt x="57" y="0"/>
                    <a:pt x="62" y="0"/>
                    <a:pt x="66" y="1"/>
                  </a:cubicBezTo>
                  <a:cubicBezTo>
                    <a:pt x="79" y="5"/>
                    <a:pt x="90" y="13"/>
                    <a:pt x="97" y="25"/>
                  </a:cubicBezTo>
                  <a:cubicBezTo>
                    <a:pt x="105" y="37"/>
                    <a:pt x="107" y="51"/>
                    <a:pt x="103"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 name="Freeform 80"/>
            <p:cNvSpPr>
              <a:spLocks noEditPoints="1"/>
            </p:cNvSpPr>
            <p:nvPr/>
          </p:nvSpPr>
          <p:spPr bwMode="auto">
            <a:xfrm>
              <a:off x="5160963" y="2997200"/>
              <a:ext cx="393700" cy="384175"/>
            </a:xfrm>
            <a:custGeom>
              <a:avLst/>
              <a:gdLst>
                <a:gd name="T0" fmla="*/ 3 w 105"/>
                <a:gd name="T1" fmla="*/ 38 h 102"/>
                <a:gd name="T2" fmla="*/ 2 w 105"/>
                <a:gd name="T3" fmla="*/ 50 h 102"/>
                <a:gd name="T4" fmla="*/ 8 w 105"/>
                <a:gd name="T5" fmla="*/ 74 h 102"/>
                <a:gd name="T6" fmla="*/ 3 w 105"/>
                <a:gd name="T7" fmla="*/ 38 h 102"/>
                <a:gd name="T8" fmla="*/ 66 w 105"/>
                <a:gd name="T9" fmla="*/ 0 h 102"/>
                <a:gd name="T10" fmla="*/ 81 w 105"/>
                <a:gd name="T11" fmla="*/ 7 h 102"/>
                <a:gd name="T12" fmla="*/ 16 w 105"/>
                <a:gd name="T13" fmla="*/ 85 h 102"/>
                <a:gd name="T14" fmla="*/ 11 w 105"/>
                <a:gd name="T15" fmla="*/ 80 h 102"/>
                <a:gd name="T16" fmla="*/ 24 w 105"/>
                <a:gd name="T17" fmla="*/ 93 h 102"/>
                <a:gd name="T18" fmla="*/ 41 w 105"/>
                <a:gd name="T19" fmla="*/ 101 h 102"/>
                <a:gd name="T20" fmla="*/ 53 w 105"/>
                <a:gd name="T21" fmla="*/ 102 h 102"/>
                <a:gd name="T22" fmla="*/ 103 w 105"/>
                <a:gd name="T23" fmla="*/ 63 h 102"/>
                <a:gd name="T24" fmla="*/ 105 w 105"/>
                <a:gd name="T25" fmla="*/ 50 h 102"/>
                <a:gd name="T26" fmla="*/ 97 w 105"/>
                <a:gd name="T27" fmla="*/ 24 h 102"/>
                <a:gd name="T28" fmla="*/ 66 w 105"/>
                <a:gd name="T2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102">
                  <a:moveTo>
                    <a:pt x="3" y="38"/>
                  </a:moveTo>
                  <a:cubicBezTo>
                    <a:pt x="2" y="42"/>
                    <a:pt x="2" y="46"/>
                    <a:pt x="2" y="50"/>
                  </a:cubicBezTo>
                  <a:cubicBezTo>
                    <a:pt x="2" y="59"/>
                    <a:pt x="4" y="67"/>
                    <a:pt x="8" y="74"/>
                  </a:cubicBezTo>
                  <a:cubicBezTo>
                    <a:pt x="2" y="64"/>
                    <a:pt x="0" y="51"/>
                    <a:pt x="3" y="38"/>
                  </a:cubicBezTo>
                  <a:moveTo>
                    <a:pt x="66" y="0"/>
                  </a:moveTo>
                  <a:cubicBezTo>
                    <a:pt x="71" y="2"/>
                    <a:pt x="77" y="4"/>
                    <a:pt x="81" y="7"/>
                  </a:cubicBezTo>
                  <a:cubicBezTo>
                    <a:pt x="50" y="24"/>
                    <a:pt x="26" y="52"/>
                    <a:pt x="16" y="85"/>
                  </a:cubicBezTo>
                  <a:cubicBezTo>
                    <a:pt x="14" y="84"/>
                    <a:pt x="13" y="82"/>
                    <a:pt x="11" y="80"/>
                  </a:cubicBezTo>
                  <a:cubicBezTo>
                    <a:pt x="15" y="85"/>
                    <a:pt x="19" y="90"/>
                    <a:pt x="24" y="93"/>
                  </a:cubicBezTo>
                  <a:cubicBezTo>
                    <a:pt x="29" y="96"/>
                    <a:pt x="35" y="99"/>
                    <a:pt x="41" y="101"/>
                  </a:cubicBezTo>
                  <a:cubicBezTo>
                    <a:pt x="45" y="102"/>
                    <a:pt x="49" y="102"/>
                    <a:pt x="53" y="102"/>
                  </a:cubicBezTo>
                  <a:cubicBezTo>
                    <a:pt x="77" y="102"/>
                    <a:pt x="98" y="86"/>
                    <a:pt x="103" y="63"/>
                  </a:cubicBezTo>
                  <a:cubicBezTo>
                    <a:pt x="104" y="59"/>
                    <a:pt x="105" y="55"/>
                    <a:pt x="105" y="50"/>
                  </a:cubicBezTo>
                  <a:cubicBezTo>
                    <a:pt x="105" y="41"/>
                    <a:pt x="102" y="32"/>
                    <a:pt x="97" y="24"/>
                  </a:cubicBezTo>
                  <a:cubicBezTo>
                    <a:pt x="90" y="12"/>
                    <a:pt x="79" y="4"/>
                    <a:pt x="66" y="0"/>
                  </a:cubicBezTo>
                </a:path>
              </a:pathLst>
            </a:custGeom>
            <a:solidFill>
              <a:srgbClr val="EEF7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 name="Freeform 81"/>
            <p:cNvSpPr>
              <a:spLocks noEditPoints="1"/>
            </p:cNvSpPr>
            <p:nvPr/>
          </p:nvSpPr>
          <p:spPr bwMode="auto">
            <a:xfrm>
              <a:off x="5172075" y="2992438"/>
              <a:ext cx="236538" cy="306388"/>
            </a:xfrm>
            <a:custGeom>
              <a:avLst/>
              <a:gdLst>
                <a:gd name="T0" fmla="*/ 5 w 63"/>
                <a:gd name="T1" fmla="*/ 75 h 81"/>
                <a:gd name="T2" fmla="*/ 8 w 63"/>
                <a:gd name="T3" fmla="*/ 81 h 81"/>
                <a:gd name="T4" fmla="*/ 8 w 63"/>
                <a:gd name="T5" fmla="*/ 81 h 81"/>
                <a:gd name="T6" fmla="*/ 8 w 63"/>
                <a:gd name="T7" fmla="*/ 81 h 81"/>
                <a:gd name="T8" fmla="*/ 5 w 63"/>
                <a:gd name="T9" fmla="*/ 75 h 81"/>
                <a:gd name="T10" fmla="*/ 50 w 63"/>
                <a:gd name="T11" fmla="*/ 0 h 81"/>
                <a:gd name="T12" fmla="*/ 0 w 63"/>
                <a:gd name="T13" fmla="*/ 39 h 81"/>
                <a:gd name="T14" fmla="*/ 0 w 63"/>
                <a:gd name="T15" fmla="*/ 39 h 81"/>
                <a:gd name="T16" fmla="*/ 0 w 63"/>
                <a:gd name="T17" fmla="*/ 39 h 81"/>
                <a:gd name="T18" fmla="*/ 50 w 63"/>
                <a:gd name="T19" fmla="*/ 0 h 81"/>
                <a:gd name="T20" fmla="*/ 63 w 63"/>
                <a:gd name="T21" fmla="*/ 1 h 81"/>
                <a:gd name="T22" fmla="*/ 63 w 63"/>
                <a:gd name="T23" fmla="*/ 1 h 81"/>
                <a:gd name="T24" fmla="*/ 63 w 63"/>
                <a:gd name="T25" fmla="*/ 1 h 81"/>
                <a:gd name="T26" fmla="*/ 50 w 63"/>
                <a:gd name="T2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81">
                  <a:moveTo>
                    <a:pt x="5" y="75"/>
                  </a:moveTo>
                  <a:cubicBezTo>
                    <a:pt x="6" y="77"/>
                    <a:pt x="7" y="79"/>
                    <a:pt x="8" y="81"/>
                  </a:cubicBezTo>
                  <a:cubicBezTo>
                    <a:pt x="8" y="81"/>
                    <a:pt x="8" y="81"/>
                    <a:pt x="8" y="81"/>
                  </a:cubicBezTo>
                  <a:cubicBezTo>
                    <a:pt x="8" y="81"/>
                    <a:pt x="8" y="81"/>
                    <a:pt x="8" y="81"/>
                  </a:cubicBezTo>
                  <a:cubicBezTo>
                    <a:pt x="7" y="79"/>
                    <a:pt x="6" y="77"/>
                    <a:pt x="5" y="75"/>
                  </a:cubicBezTo>
                  <a:moveTo>
                    <a:pt x="50" y="0"/>
                  </a:moveTo>
                  <a:cubicBezTo>
                    <a:pt x="27" y="0"/>
                    <a:pt x="6" y="16"/>
                    <a:pt x="0" y="39"/>
                  </a:cubicBezTo>
                  <a:cubicBezTo>
                    <a:pt x="0" y="39"/>
                    <a:pt x="0" y="39"/>
                    <a:pt x="0" y="39"/>
                  </a:cubicBezTo>
                  <a:cubicBezTo>
                    <a:pt x="0" y="39"/>
                    <a:pt x="0" y="39"/>
                    <a:pt x="0" y="39"/>
                  </a:cubicBezTo>
                  <a:cubicBezTo>
                    <a:pt x="6" y="16"/>
                    <a:pt x="27" y="0"/>
                    <a:pt x="50" y="0"/>
                  </a:cubicBezTo>
                  <a:cubicBezTo>
                    <a:pt x="54" y="0"/>
                    <a:pt x="59" y="0"/>
                    <a:pt x="63" y="1"/>
                  </a:cubicBezTo>
                  <a:cubicBezTo>
                    <a:pt x="63" y="1"/>
                    <a:pt x="63" y="1"/>
                    <a:pt x="63" y="1"/>
                  </a:cubicBezTo>
                  <a:cubicBezTo>
                    <a:pt x="63" y="1"/>
                    <a:pt x="63" y="1"/>
                    <a:pt x="63" y="1"/>
                  </a:cubicBezTo>
                  <a:cubicBezTo>
                    <a:pt x="59" y="0"/>
                    <a:pt x="54" y="0"/>
                    <a:pt x="50" y="0"/>
                  </a:cubicBezTo>
                </a:path>
              </a:pathLst>
            </a:custGeom>
            <a:solidFill>
              <a:srgbClr val="4662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Freeform 82"/>
            <p:cNvSpPr>
              <a:spLocks/>
            </p:cNvSpPr>
            <p:nvPr/>
          </p:nvSpPr>
          <p:spPr bwMode="auto">
            <a:xfrm>
              <a:off x="5160963" y="2992438"/>
              <a:ext cx="304800" cy="325438"/>
            </a:xfrm>
            <a:custGeom>
              <a:avLst/>
              <a:gdLst>
                <a:gd name="T0" fmla="*/ 53 w 81"/>
                <a:gd name="T1" fmla="*/ 0 h 86"/>
                <a:gd name="T2" fmla="*/ 3 w 81"/>
                <a:gd name="T3" fmla="*/ 39 h 86"/>
                <a:gd name="T4" fmla="*/ 3 w 81"/>
                <a:gd name="T5" fmla="*/ 39 h 86"/>
                <a:gd name="T6" fmla="*/ 8 w 81"/>
                <a:gd name="T7" fmla="*/ 75 h 86"/>
                <a:gd name="T8" fmla="*/ 11 w 81"/>
                <a:gd name="T9" fmla="*/ 81 h 86"/>
                <a:gd name="T10" fmla="*/ 11 w 81"/>
                <a:gd name="T11" fmla="*/ 81 h 86"/>
                <a:gd name="T12" fmla="*/ 16 w 81"/>
                <a:gd name="T13" fmla="*/ 86 h 86"/>
                <a:gd name="T14" fmla="*/ 81 w 81"/>
                <a:gd name="T15" fmla="*/ 8 h 86"/>
                <a:gd name="T16" fmla="*/ 66 w 81"/>
                <a:gd name="T17" fmla="*/ 1 h 86"/>
                <a:gd name="T18" fmla="*/ 66 w 81"/>
                <a:gd name="T19" fmla="*/ 1 h 86"/>
                <a:gd name="T20" fmla="*/ 53 w 81"/>
                <a:gd name="T2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86">
                  <a:moveTo>
                    <a:pt x="53" y="0"/>
                  </a:moveTo>
                  <a:cubicBezTo>
                    <a:pt x="30" y="0"/>
                    <a:pt x="9" y="16"/>
                    <a:pt x="3" y="39"/>
                  </a:cubicBezTo>
                  <a:cubicBezTo>
                    <a:pt x="3" y="39"/>
                    <a:pt x="3" y="39"/>
                    <a:pt x="3" y="39"/>
                  </a:cubicBezTo>
                  <a:cubicBezTo>
                    <a:pt x="0" y="52"/>
                    <a:pt x="2" y="65"/>
                    <a:pt x="8" y="75"/>
                  </a:cubicBezTo>
                  <a:cubicBezTo>
                    <a:pt x="9" y="77"/>
                    <a:pt x="10" y="79"/>
                    <a:pt x="11" y="81"/>
                  </a:cubicBezTo>
                  <a:cubicBezTo>
                    <a:pt x="11" y="81"/>
                    <a:pt x="11" y="81"/>
                    <a:pt x="11" y="81"/>
                  </a:cubicBezTo>
                  <a:cubicBezTo>
                    <a:pt x="13" y="83"/>
                    <a:pt x="14" y="85"/>
                    <a:pt x="16" y="86"/>
                  </a:cubicBezTo>
                  <a:cubicBezTo>
                    <a:pt x="26" y="53"/>
                    <a:pt x="50" y="25"/>
                    <a:pt x="81" y="8"/>
                  </a:cubicBezTo>
                  <a:cubicBezTo>
                    <a:pt x="77" y="5"/>
                    <a:pt x="71" y="3"/>
                    <a:pt x="66" y="1"/>
                  </a:cubicBezTo>
                  <a:cubicBezTo>
                    <a:pt x="66" y="1"/>
                    <a:pt x="66" y="1"/>
                    <a:pt x="66" y="1"/>
                  </a:cubicBezTo>
                  <a:cubicBezTo>
                    <a:pt x="62" y="0"/>
                    <a:pt x="57" y="0"/>
                    <a:pt x="53" y="0"/>
                  </a:cubicBezTo>
                </a:path>
              </a:pathLst>
            </a:custGeom>
            <a:solidFill>
              <a:srgbClr val="C1E3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5" name="Freeform 83"/>
            <p:cNvSpPr>
              <a:spLocks noEditPoints="1"/>
            </p:cNvSpPr>
            <p:nvPr/>
          </p:nvSpPr>
          <p:spPr bwMode="auto">
            <a:xfrm>
              <a:off x="5100638" y="3325813"/>
              <a:ext cx="120650" cy="120650"/>
            </a:xfrm>
            <a:custGeom>
              <a:avLst/>
              <a:gdLst>
                <a:gd name="T0" fmla="*/ 32 w 32"/>
                <a:gd name="T1" fmla="*/ 27 h 32"/>
                <a:gd name="T2" fmla="*/ 27 w 32"/>
                <a:gd name="T3" fmla="*/ 32 h 32"/>
                <a:gd name="T4" fmla="*/ 27 w 32"/>
                <a:gd name="T5" fmla="*/ 32 h 32"/>
                <a:gd name="T6" fmla="*/ 32 w 32"/>
                <a:gd name="T7" fmla="*/ 27 h 32"/>
                <a:gd name="T8" fmla="*/ 6 w 32"/>
                <a:gd name="T9" fmla="*/ 0 h 32"/>
                <a:gd name="T10" fmla="*/ 0 w 32"/>
                <a:gd name="T11" fmla="*/ 6 h 32"/>
                <a:gd name="T12" fmla="*/ 0 w 32"/>
                <a:gd name="T13" fmla="*/ 6 h 32"/>
                <a:gd name="T14" fmla="*/ 0 w 32"/>
                <a:gd name="T15" fmla="*/ 6 h 32"/>
                <a:gd name="T16" fmla="*/ 6 w 32"/>
                <a:gd name="T17" fmla="*/ 0 h 32"/>
                <a:gd name="T18" fmla="*/ 6 w 32"/>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32" y="27"/>
                  </a:moveTo>
                  <a:cubicBezTo>
                    <a:pt x="27" y="32"/>
                    <a:pt x="27" y="32"/>
                    <a:pt x="27" y="32"/>
                  </a:cubicBezTo>
                  <a:cubicBezTo>
                    <a:pt x="27" y="32"/>
                    <a:pt x="27" y="32"/>
                    <a:pt x="27" y="32"/>
                  </a:cubicBezTo>
                  <a:cubicBezTo>
                    <a:pt x="32" y="27"/>
                    <a:pt x="32" y="27"/>
                    <a:pt x="32" y="27"/>
                  </a:cubicBezTo>
                  <a:moveTo>
                    <a:pt x="6" y="0"/>
                  </a:moveTo>
                  <a:cubicBezTo>
                    <a:pt x="0" y="6"/>
                    <a:pt x="0" y="6"/>
                    <a:pt x="0" y="6"/>
                  </a:cubicBezTo>
                  <a:cubicBezTo>
                    <a:pt x="0" y="6"/>
                    <a:pt x="0" y="6"/>
                    <a:pt x="0" y="6"/>
                  </a:cubicBezTo>
                  <a:cubicBezTo>
                    <a:pt x="0" y="6"/>
                    <a:pt x="0" y="6"/>
                    <a:pt x="0" y="6"/>
                  </a:cubicBezTo>
                  <a:cubicBezTo>
                    <a:pt x="6" y="0"/>
                    <a:pt x="6" y="0"/>
                    <a:pt x="6" y="0"/>
                  </a:cubicBezTo>
                  <a:cubicBezTo>
                    <a:pt x="6" y="0"/>
                    <a:pt x="6" y="0"/>
                    <a:pt x="6" y="0"/>
                  </a:cubicBezTo>
                </a:path>
              </a:pathLst>
            </a:custGeom>
            <a:solidFill>
              <a:srgbClr val="8E8E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6" name="Freeform 84"/>
            <p:cNvSpPr>
              <a:spLocks/>
            </p:cNvSpPr>
            <p:nvPr/>
          </p:nvSpPr>
          <p:spPr bwMode="auto">
            <a:xfrm>
              <a:off x="5100638" y="3325813"/>
              <a:ext cx="120650" cy="120650"/>
            </a:xfrm>
            <a:custGeom>
              <a:avLst/>
              <a:gdLst>
                <a:gd name="T0" fmla="*/ 6 w 32"/>
                <a:gd name="T1" fmla="*/ 0 h 32"/>
                <a:gd name="T2" fmla="*/ 6 w 32"/>
                <a:gd name="T3" fmla="*/ 0 h 32"/>
                <a:gd name="T4" fmla="*/ 6 w 32"/>
                <a:gd name="T5" fmla="*/ 0 h 32"/>
                <a:gd name="T6" fmla="*/ 0 w 32"/>
                <a:gd name="T7" fmla="*/ 6 h 32"/>
                <a:gd name="T8" fmla="*/ 2 w 32"/>
                <a:gd name="T9" fmla="*/ 9 h 32"/>
                <a:gd name="T10" fmla="*/ 23 w 32"/>
                <a:gd name="T11" fmla="*/ 31 h 32"/>
                <a:gd name="T12" fmla="*/ 27 w 32"/>
                <a:gd name="T13" fmla="*/ 32 h 32"/>
                <a:gd name="T14" fmla="*/ 32 w 32"/>
                <a:gd name="T15" fmla="*/ 27 h 32"/>
                <a:gd name="T16" fmla="*/ 28 w 32"/>
                <a:gd name="T17" fmla="*/ 24 h 32"/>
                <a:gd name="T18" fmla="*/ 9 w 32"/>
                <a:gd name="T19" fmla="*/ 5 h 32"/>
                <a:gd name="T20" fmla="*/ 6 w 32"/>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2">
                  <a:moveTo>
                    <a:pt x="6" y="0"/>
                  </a:moveTo>
                  <a:cubicBezTo>
                    <a:pt x="6" y="0"/>
                    <a:pt x="6" y="0"/>
                    <a:pt x="6" y="0"/>
                  </a:cubicBezTo>
                  <a:cubicBezTo>
                    <a:pt x="6" y="0"/>
                    <a:pt x="6" y="0"/>
                    <a:pt x="6" y="0"/>
                  </a:cubicBezTo>
                  <a:cubicBezTo>
                    <a:pt x="0" y="6"/>
                    <a:pt x="0" y="6"/>
                    <a:pt x="0" y="6"/>
                  </a:cubicBezTo>
                  <a:cubicBezTo>
                    <a:pt x="1" y="7"/>
                    <a:pt x="1" y="8"/>
                    <a:pt x="2" y="9"/>
                  </a:cubicBezTo>
                  <a:cubicBezTo>
                    <a:pt x="8" y="18"/>
                    <a:pt x="15" y="25"/>
                    <a:pt x="23" y="31"/>
                  </a:cubicBezTo>
                  <a:cubicBezTo>
                    <a:pt x="24" y="31"/>
                    <a:pt x="26" y="32"/>
                    <a:pt x="27" y="32"/>
                  </a:cubicBezTo>
                  <a:cubicBezTo>
                    <a:pt x="32" y="27"/>
                    <a:pt x="32" y="27"/>
                    <a:pt x="32" y="27"/>
                  </a:cubicBezTo>
                  <a:cubicBezTo>
                    <a:pt x="31" y="26"/>
                    <a:pt x="29" y="25"/>
                    <a:pt x="28" y="24"/>
                  </a:cubicBezTo>
                  <a:cubicBezTo>
                    <a:pt x="20" y="19"/>
                    <a:pt x="14" y="13"/>
                    <a:pt x="9" y="5"/>
                  </a:cubicBezTo>
                  <a:cubicBezTo>
                    <a:pt x="8" y="3"/>
                    <a:pt x="7" y="2"/>
                    <a:pt x="6" y="0"/>
                  </a:cubicBezTo>
                </a:path>
              </a:pathLst>
            </a:cu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7" name="Freeform 85"/>
            <p:cNvSpPr>
              <a:spLocks/>
            </p:cNvSpPr>
            <p:nvPr/>
          </p:nvSpPr>
          <p:spPr bwMode="auto">
            <a:xfrm>
              <a:off x="4487863" y="2562225"/>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8" name="Freeform 86"/>
            <p:cNvSpPr>
              <a:spLocks/>
            </p:cNvSpPr>
            <p:nvPr/>
          </p:nvSpPr>
          <p:spPr bwMode="auto">
            <a:xfrm>
              <a:off x="4019550" y="2562225"/>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 name="Freeform 87"/>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0" name="Freeform 88"/>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1" name="Freeform 89"/>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2" name="Freeform 90"/>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7" name="Rectangle 95"/>
            <p:cNvSpPr>
              <a:spLocks noChangeArrowheads="1"/>
            </p:cNvSpPr>
            <p:nvPr/>
          </p:nvSpPr>
          <p:spPr bwMode="auto">
            <a:xfrm>
              <a:off x="4800600" y="4154488"/>
              <a:ext cx="22082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Find and clean invalid data</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103" name="Freeform 101"/>
            <p:cNvSpPr>
              <a:spLocks noEditPoints="1"/>
            </p:cNvSpPr>
            <p:nvPr/>
          </p:nvSpPr>
          <p:spPr bwMode="auto">
            <a:xfrm>
              <a:off x="4041775" y="2435225"/>
              <a:ext cx="3522663" cy="1660525"/>
            </a:xfrm>
            <a:custGeom>
              <a:avLst/>
              <a:gdLst>
                <a:gd name="T0" fmla="*/ 177 w 938"/>
                <a:gd name="T1" fmla="*/ 11 h 440"/>
                <a:gd name="T2" fmla="*/ 214 w 938"/>
                <a:gd name="T3" fmla="*/ 8 h 440"/>
                <a:gd name="T4" fmla="*/ 245 w 938"/>
                <a:gd name="T5" fmla="*/ 0 h 440"/>
                <a:gd name="T6" fmla="*/ 283 w 938"/>
                <a:gd name="T7" fmla="*/ 0 h 440"/>
                <a:gd name="T8" fmla="*/ 313 w 938"/>
                <a:gd name="T9" fmla="*/ 8 h 440"/>
                <a:gd name="T10" fmla="*/ 374 w 938"/>
                <a:gd name="T11" fmla="*/ 0 h 440"/>
                <a:gd name="T12" fmla="*/ 397 w 938"/>
                <a:gd name="T13" fmla="*/ 8 h 440"/>
                <a:gd name="T14" fmla="*/ 428 w 938"/>
                <a:gd name="T15" fmla="*/ 0 h 440"/>
                <a:gd name="T16" fmla="*/ 466 w 938"/>
                <a:gd name="T17" fmla="*/ 0 h 440"/>
                <a:gd name="T18" fmla="*/ 496 w 938"/>
                <a:gd name="T19" fmla="*/ 8 h 440"/>
                <a:gd name="T20" fmla="*/ 557 w 938"/>
                <a:gd name="T21" fmla="*/ 0 h 440"/>
                <a:gd name="T22" fmla="*/ 580 w 938"/>
                <a:gd name="T23" fmla="*/ 8 h 440"/>
                <a:gd name="T24" fmla="*/ 610 w 938"/>
                <a:gd name="T25" fmla="*/ 0 h 440"/>
                <a:gd name="T26" fmla="*/ 648 w 938"/>
                <a:gd name="T27" fmla="*/ 0 h 440"/>
                <a:gd name="T28" fmla="*/ 679 w 938"/>
                <a:gd name="T29" fmla="*/ 8 h 440"/>
                <a:gd name="T30" fmla="*/ 740 w 938"/>
                <a:gd name="T31" fmla="*/ 1 h 440"/>
                <a:gd name="T32" fmla="*/ 761 w 938"/>
                <a:gd name="T33" fmla="*/ 11 h 440"/>
                <a:gd name="T34" fmla="*/ 793 w 938"/>
                <a:gd name="T35" fmla="*/ 12 h 440"/>
                <a:gd name="T36" fmla="*/ 828 w 938"/>
                <a:gd name="T37" fmla="*/ 27 h 440"/>
                <a:gd name="T38" fmla="*/ 849 w 938"/>
                <a:gd name="T39" fmla="*/ 50 h 440"/>
                <a:gd name="T40" fmla="*/ 897 w 938"/>
                <a:gd name="T41" fmla="*/ 89 h 440"/>
                <a:gd name="T42" fmla="*/ 903 w 938"/>
                <a:gd name="T43" fmla="*/ 112 h 440"/>
                <a:gd name="T44" fmla="*/ 923 w 938"/>
                <a:gd name="T45" fmla="*/ 136 h 440"/>
                <a:gd name="T46" fmla="*/ 934 w 938"/>
                <a:gd name="T47" fmla="*/ 173 h 440"/>
                <a:gd name="T48" fmla="*/ 938 w 938"/>
                <a:gd name="T49" fmla="*/ 204 h 440"/>
                <a:gd name="T50" fmla="*/ 930 w 938"/>
                <a:gd name="T51" fmla="*/ 242 h 440"/>
                <a:gd name="T52" fmla="*/ 933 w 938"/>
                <a:gd name="T53" fmla="*/ 273 h 440"/>
                <a:gd name="T54" fmla="*/ 921 w 938"/>
                <a:gd name="T55" fmla="*/ 310 h 440"/>
                <a:gd name="T56" fmla="*/ 900 w 938"/>
                <a:gd name="T57" fmla="*/ 333 h 440"/>
                <a:gd name="T58" fmla="*/ 867 w 938"/>
                <a:gd name="T59" fmla="*/ 385 h 440"/>
                <a:gd name="T60" fmla="*/ 844 w 938"/>
                <a:gd name="T61" fmla="*/ 393 h 440"/>
                <a:gd name="T62" fmla="*/ 823 w 938"/>
                <a:gd name="T63" fmla="*/ 416 h 440"/>
                <a:gd name="T64" fmla="*/ 787 w 938"/>
                <a:gd name="T65" fmla="*/ 430 h 440"/>
                <a:gd name="T66" fmla="*/ 755 w 938"/>
                <a:gd name="T67" fmla="*/ 430 h 440"/>
                <a:gd name="T68" fmla="*/ 718 w 938"/>
                <a:gd name="T69" fmla="*/ 432 h 440"/>
                <a:gd name="T70" fmla="*/ 688 w 938"/>
                <a:gd name="T71" fmla="*/ 440 h 440"/>
                <a:gd name="T72" fmla="*/ 650 w 938"/>
                <a:gd name="T73" fmla="*/ 440 h 440"/>
                <a:gd name="T74" fmla="*/ 619 w 938"/>
                <a:gd name="T75" fmla="*/ 432 h 440"/>
                <a:gd name="T76" fmla="*/ 558 w 938"/>
                <a:gd name="T77" fmla="*/ 440 h 440"/>
                <a:gd name="T78" fmla="*/ 535 w 938"/>
                <a:gd name="T79" fmla="*/ 432 h 440"/>
                <a:gd name="T80" fmla="*/ 505 w 938"/>
                <a:gd name="T81" fmla="*/ 440 h 440"/>
                <a:gd name="T82" fmla="*/ 467 w 938"/>
                <a:gd name="T83" fmla="*/ 440 h 440"/>
                <a:gd name="T84" fmla="*/ 437 w 938"/>
                <a:gd name="T85" fmla="*/ 432 h 440"/>
                <a:gd name="T86" fmla="*/ 376 w 938"/>
                <a:gd name="T87" fmla="*/ 440 h 440"/>
                <a:gd name="T88" fmla="*/ 353 w 938"/>
                <a:gd name="T89" fmla="*/ 432 h 440"/>
                <a:gd name="T90" fmla="*/ 322 w 938"/>
                <a:gd name="T91" fmla="*/ 440 h 440"/>
                <a:gd name="T92" fmla="*/ 284 w 938"/>
                <a:gd name="T93" fmla="*/ 440 h 440"/>
                <a:gd name="T94" fmla="*/ 254 w 938"/>
                <a:gd name="T95" fmla="*/ 432 h 440"/>
                <a:gd name="T96" fmla="*/ 193 w 938"/>
                <a:gd name="T97" fmla="*/ 439 h 440"/>
                <a:gd name="T98" fmla="*/ 171 w 938"/>
                <a:gd name="T99" fmla="*/ 428 h 440"/>
                <a:gd name="T100" fmla="*/ 140 w 938"/>
                <a:gd name="T101" fmla="*/ 427 h 440"/>
                <a:gd name="T102" fmla="*/ 105 w 938"/>
                <a:gd name="T103" fmla="*/ 410 h 440"/>
                <a:gd name="T104" fmla="*/ 85 w 938"/>
                <a:gd name="T105" fmla="*/ 386 h 440"/>
                <a:gd name="T106" fmla="*/ 38 w 938"/>
                <a:gd name="T107" fmla="*/ 347 h 440"/>
                <a:gd name="T108" fmla="*/ 33 w 938"/>
                <a:gd name="T109" fmla="*/ 323 h 440"/>
                <a:gd name="T110" fmla="*/ 13 w 938"/>
                <a:gd name="T111" fmla="*/ 299 h 440"/>
                <a:gd name="T112" fmla="*/ 3 w 938"/>
                <a:gd name="T113" fmla="*/ 261 h 440"/>
                <a:gd name="T114" fmla="*/ 0 w 938"/>
                <a:gd name="T115" fmla="*/ 231 h 440"/>
                <a:gd name="T116" fmla="*/ 9 w 938"/>
                <a:gd name="T117" fmla="*/ 193 h 440"/>
                <a:gd name="T118" fmla="*/ 7 w 938"/>
                <a:gd name="T119" fmla="*/ 16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8" h="440">
                  <a:moveTo>
                    <a:pt x="168" y="5"/>
                  </a:moveTo>
                  <a:cubicBezTo>
                    <a:pt x="163" y="6"/>
                    <a:pt x="158" y="8"/>
                    <a:pt x="153" y="9"/>
                  </a:cubicBezTo>
                  <a:cubicBezTo>
                    <a:pt x="156" y="16"/>
                    <a:pt x="156" y="16"/>
                    <a:pt x="156" y="16"/>
                  </a:cubicBezTo>
                  <a:cubicBezTo>
                    <a:pt x="160" y="15"/>
                    <a:pt x="165" y="14"/>
                    <a:pt x="170" y="13"/>
                  </a:cubicBezTo>
                  <a:cubicBezTo>
                    <a:pt x="168" y="5"/>
                    <a:pt x="168" y="5"/>
                    <a:pt x="168" y="5"/>
                  </a:cubicBezTo>
                  <a:close/>
                  <a:moveTo>
                    <a:pt x="191" y="1"/>
                  </a:moveTo>
                  <a:cubicBezTo>
                    <a:pt x="186" y="2"/>
                    <a:pt x="181" y="3"/>
                    <a:pt x="176" y="4"/>
                  </a:cubicBezTo>
                  <a:cubicBezTo>
                    <a:pt x="177" y="11"/>
                    <a:pt x="177" y="11"/>
                    <a:pt x="177" y="11"/>
                  </a:cubicBezTo>
                  <a:cubicBezTo>
                    <a:pt x="182" y="10"/>
                    <a:pt x="187" y="10"/>
                    <a:pt x="192" y="9"/>
                  </a:cubicBezTo>
                  <a:cubicBezTo>
                    <a:pt x="191" y="1"/>
                    <a:pt x="191" y="1"/>
                    <a:pt x="191" y="1"/>
                  </a:cubicBezTo>
                  <a:close/>
                  <a:moveTo>
                    <a:pt x="214" y="0"/>
                  </a:moveTo>
                  <a:cubicBezTo>
                    <a:pt x="214" y="0"/>
                    <a:pt x="214" y="0"/>
                    <a:pt x="214" y="0"/>
                  </a:cubicBezTo>
                  <a:cubicBezTo>
                    <a:pt x="209" y="0"/>
                    <a:pt x="204" y="0"/>
                    <a:pt x="199" y="1"/>
                  </a:cubicBezTo>
                  <a:cubicBezTo>
                    <a:pt x="200" y="8"/>
                    <a:pt x="200" y="8"/>
                    <a:pt x="200" y="8"/>
                  </a:cubicBezTo>
                  <a:cubicBezTo>
                    <a:pt x="204" y="8"/>
                    <a:pt x="209" y="8"/>
                    <a:pt x="214" y="8"/>
                  </a:cubicBezTo>
                  <a:cubicBezTo>
                    <a:pt x="214" y="8"/>
                    <a:pt x="214" y="8"/>
                    <a:pt x="214" y="8"/>
                  </a:cubicBezTo>
                  <a:cubicBezTo>
                    <a:pt x="214" y="0"/>
                    <a:pt x="214" y="0"/>
                    <a:pt x="214" y="0"/>
                  </a:cubicBezTo>
                  <a:close/>
                  <a:moveTo>
                    <a:pt x="237" y="0"/>
                  </a:moveTo>
                  <a:cubicBezTo>
                    <a:pt x="222" y="0"/>
                    <a:pt x="222" y="0"/>
                    <a:pt x="222" y="0"/>
                  </a:cubicBezTo>
                  <a:cubicBezTo>
                    <a:pt x="222" y="8"/>
                    <a:pt x="222" y="8"/>
                    <a:pt x="222" y="8"/>
                  </a:cubicBezTo>
                  <a:cubicBezTo>
                    <a:pt x="237" y="8"/>
                    <a:pt x="237" y="8"/>
                    <a:pt x="237" y="8"/>
                  </a:cubicBezTo>
                  <a:lnTo>
                    <a:pt x="237" y="0"/>
                  </a:lnTo>
                  <a:close/>
                  <a:moveTo>
                    <a:pt x="260" y="0"/>
                  </a:moveTo>
                  <a:cubicBezTo>
                    <a:pt x="245" y="0"/>
                    <a:pt x="245" y="0"/>
                    <a:pt x="245" y="0"/>
                  </a:cubicBezTo>
                  <a:cubicBezTo>
                    <a:pt x="245" y="8"/>
                    <a:pt x="245" y="8"/>
                    <a:pt x="245" y="8"/>
                  </a:cubicBezTo>
                  <a:cubicBezTo>
                    <a:pt x="260" y="8"/>
                    <a:pt x="260" y="8"/>
                    <a:pt x="260" y="8"/>
                  </a:cubicBezTo>
                  <a:lnTo>
                    <a:pt x="260" y="0"/>
                  </a:lnTo>
                  <a:close/>
                  <a:moveTo>
                    <a:pt x="283" y="0"/>
                  </a:moveTo>
                  <a:cubicBezTo>
                    <a:pt x="268" y="0"/>
                    <a:pt x="268" y="0"/>
                    <a:pt x="268" y="0"/>
                  </a:cubicBezTo>
                  <a:cubicBezTo>
                    <a:pt x="268" y="8"/>
                    <a:pt x="268" y="8"/>
                    <a:pt x="268" y="8"/>
                  </a:cubicBezTo>
                  <a:cubicBezTo>
                    <a:pt x="283" y="8"/>
                    <a:pt x="283" y="8"/>
                    <a:pt x="283" y="8"/>
                  </a:cubicBezTo>
                  <a:lnTo>
                    <a:pt x="283" y="0"/>
                  </a:lnTo>
                  <a:close/>
                  <a:moveTo>
                    <a:pt x="306" y="0"/>
                  </a:moveTo>
                  <a:cubicBezTo>
                    <a:pt x="291" y="0"/>
                    <a:pt x="291" y="0"/>
                    <a:pt x="291" y="0"/>
                  </a:cubicBezTo>
                  <a:cubicBezTo>
                    <a:pt x="291" y="8"/>
                    <a:pt x="291" y="8"/>
                    <a:pt x="291" y="8"/>
                  </a:cubicBezTo>
                  <a:cubicBezTo>
                    <a:pt x="306" y="8"/>
                    <a:pt x="306" y="8"/>
                    <a:pt x="306" y="8"/>
                  </a:cubicBezTo>
                  <a:lnTo>
                    <a:pt x="306" y="0"/>
                  </a:lnTo>
                  <a:close/>
                  <a:moveTo>
                    <a:pt x="329" y="0"/>
                  </a:moveTo>
                  <a:cubicBezTo>
                    <a:pt x="313" y="0"/>
                    <a:pt x="313" y="0"/>
                    <a:pt x="313" y="0"/>
                  </a:cubicBezTo>
                  <a:cubicBezTo>
                    <a:pt x="313" y="8"/>
                    <a:pt x="313" y="8"/>
                    <a:pt x="313" y="8"/>
                  </a:cubicBezTo>
                  <a:cubicBezTo>
                    <a:pt x="329" y="8"/>
                    <a:pt x="329" y="8"/>
                    <a:pt x="329" y="8"/>
                  </a:cubicBezTo>
                  <a:lnTo>
                    <a:pt x="329" y="0"/>
                  </a:lnTo>
                  <a:close/>
                  <a:moveTo>
                    <a:pt x="351" y="0"/>
                  </a:moveTo>
                  <a:cubicBezTo>
                    <a:pt x="336" y="0"/>
                    <a:pt x="336" y="0"/>
                    <a:pt x="336" y="0"/>
                  </a:cubicBezTo>
                  <a:cubicBezTo>
                    <a:pt x="336" y="8"/>
                    <a:pt x="336" y="8"/>
                    <a:pt x="336" y="8"/>
                  </a:cubicBezTo>
                  <a:cubicBezTo>
                    <a:pt x="351" y="8"/>
                    <a:pt x="351" y="8"/>
                    <a:pt x="351" y="8"/>
                  </a:cubicBezTo>
                  <a:lnTo>
                    <a:pt x="351" y="0"/>
                  </a:lnTo>
                  <a:close/>
                  <a:moveTo>
                    <a:pt x="374" y="0"/>
                  </a:moveTo>
                  <a:cubicBezTo>
                    <a:pt x="359" y="0"/>
                    <a:pt x="359" y="0"/>
                    <a:pt x="359" y="0"/>
                  </a:cubicBezTo>
                  <a:cubicBezTo>
                    <a:pt x="359" y="8"/>
                    <a:pt x="359" y="8"/>
                    <a:pt x="359" y="8"/>
                  </a:cubicBezTo>
                  <a:cubicBezTo>
                    <a:pt x="374" y="8"/>
                    <a:pt x="374" y="8"/>
                    <a:pt x="374" y="8"/>
                  </a:cubicBezTo>
                  <a:lnTo>
                    <a:pt x="374" y="0"/>
                  </a:lnTo>
                  <a:close/>
                  <a:moveTo>
                    <a:pt x="397" y="0"/>
                  </a:moveTo>
                  <a:cubicBezTo>
                    <a:pt x="382" y="0"/>
                    <a:pt x="382" y="0"/>
                    <a:pt x="382" y="0"/>
                  </a:cubicBezTo>
                  <a:cubicBezTo>
                    <a:pt x="382" y="8"/>
                    <a:pt x="382" y="8"/>
                    <a:pt x="382" y="8"/>
                  </a:cubicBezTo>
                  <a:cubicBezTo>
                    <a:pt x="397" y="8"/>
                    <a:pt x="397" y="8"/>
                    <a:pt x="397" y="8"/>
                  </a:cubicBezTo>
                  <a:lnTo>
                    <a:pt x="397" y="0"/>
                  </a:lnTo>
                  <a:close/>
                  <a:moveTo>
                    <a:pt x="420" y="0"/>
                  </a:moveTo>
                  <a:cubicBezTo>
                    <a:pt x="405" y="0"/>
                    <a:pt x="405" y="0"/>
                    <a:pt x="405" y="0"/>
                  </a:cubicBezTo>
                  <a:cubicBezTo>
                    <a:pt x="405" y="8"/>
                    <a:pt x="405" y="8"/>
                    <a:pt x="405" y="8"/>
                  </a:cubicBezTo>
                  <a:cubicBezTo>
                    <a:pt x="420" y="8"/>
                    <a:pt x="420" y="8"/>
                    <a:pt x="420" y="8"/>
                  </a:cubicBezTo>
                  <a:lnTo>
                    <a:pt x="420" y="0"/>
                  </a:lnTo>
                  <a:close/>
                  <a:moveTo>
                    <a:pt x="443" y="0"/>
                  </a:moveTo>
                  <a:cubicBezTo>
                    <a:pt x="428" y="0"/>
                    <a:pt x="428" y="0"/>
                    <a:pt x="428" y="0"/>
                  </a:cubicBezTo>
                  <a:cubicBezTo>
                    <a:pt x="428" y="8"/>
                    <a:pt x="428" y="8"/>
                    <a:pt x="428" y="8"/>
                  </a:cubicBezTo>
                  <a:cubicBezTo>
                    <a:pt x="443" y="8"/>
                    <a:pt x="443" y="8"/>
                    <a:pt x="443" y="8"/>
                  </a:cubicBezTo>
                  <a:lnTo>
                    <a:pt x="443" y="0"/>
                  </a:lnTo>
                  <a:close/>
                  <a:moveTo>
                    <a:pt x="466" y="0"/>
                  </a:moveTo>
                  <a:cubicBezTo>
                    <a:pt x="450" y="0"/>
                    <a:pt x="450" y="0"/>
                    <a:pt x="450" y="0"/>
                  </a:cubicBezTo>
                  <a:cubicBezTo>
                    <a:pt x="450" y="8"/>
                    <a:pt x="450" y="8"/>
                    <a:pt x="450" y="8"/>
                  </a:cubicBezTo>
                  <a:cubicBezTo>
                    <a:pt x="466" y="8"/>
                    <a:pt x="466" y="8"/>
                    <a:pt x="466" y="8"/>
                  </a:cubicBezTo>
                  <a:lnTo>
                    <a:pt x="466" y="0"/>
                  </a:lnTo>
                  <a:close/>
                  <a:moveTo>
                    <a:pt x="488" y="0"/>
                  </a:moveTo>
                  <a:cubicBezTo>
                    <a:pt x="473" y="0"/>
                    <a:pt x="473" y="0"/>
                    <a:pt x="473" y="0"/>
                  </a:cubicBezTo>
                  <a:cubicBezTo>
                    <a:pt x="473" y="8"/>
                    <a:pt x="473" y="8"/>
                    <a:pt x="473" y="8"/>
                  </a:cubicBezTo>
                  <a:cubicBezTo>
                    <a:pt x="488" y="8"/>
                    <a:pt x="488" y="8"/>
                    <a:pt x="488" y="8"/>
                  </a:cubicBezTo>
                  <a:lnTo>
                    <a:pt x="488" y="0"/>
                  </a:lnTo>
                  <a:close/>
                  <a:moveTo>
                    <a:pt x="511" y="0"/>
                  </a:moveTo>
                  <a:cubicBezTo>
                    <a:pt x="496" y="0"/>
                    <a:pt x="496" y="0"/>
                    <a:pt x="496" y="0"/>
                  </a:cubicBezTo>
                  <a:cubicBezTo>
                    <a:pt x="496" y="8"/>
                    <a:pt x="496" y="8"/>
                    <a:pt x="496" y="8"/>
                  </a:cubicBezTo>
                  <a:cubicBezTo>
                    <a:pt x="511" y="8"/>
                    <a:pt x="511" y="8"/>
                    <a:pt x="511" y="8"/>
                  </a:cubicBezTo>
                  <a:lnTo>
                    <a:pt x="511" y="0"/>
                  </a:lnTo>
                  <a:close/>
                  <a:moveTo>
                    <a:pt x="534" y="0"/>
                  </a:moveTo>
                  <a:cubicBezTo>
                    <a:pt x="519" y="0"/>
                    <a:pt x="519" y="0"/>
                    <a:pt x="519" y="0"/>
                  </a:cubicBezTo>
                  <a:cubicBezTo>
                    <a:pt x="519" y="8"/>
                    <a:pt x="519" y="8"/>
                    <a:pt x="519" y="8"/>
                  </a:cubicBezTo>
                  <a:cubicBezTo>
                    <a:pt x="534" y="8"/>
                    <a:pt x="534" y="8"/>
                    <a:pt x="534" y="8"/>
                  </a:cubicBezTo>
                  <a:lnTo>
                    <a:pt x="534" y="0"/>
                  </a:lnTo>
                  <a:close/>
                  <a:moveTo>
                    <a:pt x="557" y="0"/>
                  </a:moveTo>
                  <a:cubicBezTo>
                    <a:pt x="542" y="0"/>
                    <a:pt x="542" y="0"/>
                    <a:pt x="542" y="0"/>
                  </a:cubicBezTo>
                  <a:cubicBezTo>
                    <a:pt x="542" y="8"/>
                    <a:pt x="542" y="8"/>
                    <a:pt x="542" y="8"/>
                  </a:cubicBezTo>
                  <a:cubicBezTo>
                    <a:pt x="557" y="8"/>
                    <a:pt x="557" y="8"/>
                    <a:pt x="557" y="8"/>
                  </a:cubicBezTo>
                  <a:lnTo>
                    <a:pt x="557" y="0"/>
                  </a:lnTo>
                  <a:close/>
                  <a:moveTo>
                    <a:pt x="580" y="0"/>
                  </a:moveTo>
                  <a:cubicBezTo>
                    <a:pt x="564" y="0"/>
                    <a:pt x="564" y="0"/>
                    <a:pt x="564" y="0"/>
                  </a:cubicBezTo>
                  <a:cubicBezTo>
                    <a:pt x="564" y="8"/>
                    <a:pt x="564" y="8"/>
                    <a:pt x="564" y="8"/>
                  </a:cubicBezTo>
                  <a:cubicBezTo>
                    <a:pt x="580" y="8"/>
                    <a:pt x="580" y="8"/>
                    <a:pt x="580" y="8"/>
                  </a:cubicBezTo>
                  <a:lnTo>
                    <a:pt x="580" y="0"/>
                  </a:lnTo>
                  <a:close/>
                  <a:moveTo>
                    <a:pt x="603" y="0"/>
                  </a:moveTo>
                  <a:cubicBezTo>
                    <a:pt x="587" y="0"/>
                    <a:pt x="587" y="0"/>
                    <a:pt x="587" y="0"/>
                  </a:cubicBezTo>
                  <a:cubicBezTo>
                    <a:pt x="587" y="8"/>
                    <a:pt x="587" y="8"/>
                    <a:pt x="587" y="8"/>
                  </a:cubicBezTo>
                  <a:cubicBezTo>
                    <a:pt x="603" y="8"/>
                    <a:pt x="603" y="8"/>
                    <a:pt x="603" y="8"/>
                  </a:cubicBezTo>
                  <a:lnTo>
                    <a:pt x="603" y="0"/>
                  </a:lnTo>
                  <a:close/>
                  <a:moveTo>
                    <a:pt x="625" y="0"/>
                  </a:moveTo>
                  <a:cubicBezTo>
                    <a:pt x="610" y="0"/>
                    <a:pt x="610" y="0"/>
                    <a:pt x="610" y="0"/>
                  </a:cubicBezTo>
                  <a:cubicBezTo>
                    <a:pt x="610" y="8"/>
                    <a:pt x="610" y="8"/>
                    <a:pt x="610" y="8"/>
                  </a:cubicBezTo>
                  <a:cubicBezTo>
                    <a:pt x="625" y="8"/>
                    <a:pt x="625" y="8"/>
                    <a:pt x="625" y="8"/>
                  </a:cubicBezTo>
                  <a:lnTo>
                    <a:pt x="625" y="0"/>
                  </a:lnTo>
                  <a:close/>
                  <a:moveTo>
                    <a:pt x="648" y="0"/>
                  </a:moveTo>
                  <a:cubicBezTo>
                    <a:pt x="633" y="0"/>
                    <a:pt x="633" y="0"/>
                    <a:pt x="633" y="0"/>
                  </a:cubicBezTo>
                  <a:cubicBezTo>
                    <a:pt x="633" y="8"/>
                    <a:pt x="633" y="8"/>
                    <a:pt x="633" y="8"/>
                  </a:cubicBezTo>
                  <a:cubicBezTo>
                    <a:pt x="648" y="8"/>
                    <a:pt x="648" y="8"/>
                    <a:pt x="648" y="8"/>
                  </a:cubicBezTo>
                  <a:lnTo>
                    <a:pt x="648" y="0"/>
                  </a:lnTo>
                  <a:close/>
                  <a:moveTo>
                    <a:pt x="671" y="0"/>
                  </a:moveTo>
                  <a:cubicBezTo>
                    <a:pt x="656" y="0"/>
                    <a:pt x="656" y="0"/>
                    <a:pt x="656" y="0"/>
                  </a:cubicBezTo>
                  <a:cubicBezTo>
                    <a:pt x="656" y="8"/>
                    <a:pt x="656" y="8"/>
                    <a:pt x="656" y="8"/>
                  </a:cubicBezTo>
                  <a:cubicBezTo>
                    <a:pt x="671" y="8"/>
                    <a:pt x="671" y="8"/>
                    <a:pt x="671" y="8"/>
                  </a:cubicBezTo>
                  <a:lnTo>
                    <a:pt x="671" y="0"/>
                  </a:lnTo>
                  <a:close/>
                  <a:moveTo>
                    <a:pt x="694" y="0"/>
                  </a:moveTo>
                  <a:cubicBezTo>
                    <a:pt x="679" y="0"/>
                    <a:pt x="679" y="0"/>
                    <a:pt x="679" y="0"/>
                  </a:cubicBezTo>
                  <a:cubicBezTo>
                    <a:pt x="679" y="8"/>
                    <a:pt x="679" y="8"/>
                    <a:pt x="679" y="8"/>
                  </a:cubicBezTo>
                  <a:cubicBezTo>
                    <a:pt x="694" y="8"/>
                    <a:pt x="694" y="8"/>
                    <a:pt x="694" y="8"/>
                  </a:cubicBezTo>
                  <a:lnTo>
                    <a:pt x="694" y="0"/>
                  </a:lnTo>
                  <a:close/>
                  <a:moveTo>
                    <a:pt x="717" y="0"/>
                  </a:moveTo>
                  <a:cubicBezTo>
                    <a:pt x="701" y="0"/>
                    <a:pt x="701" y="0"/>
                    <a:pt x="701" y="0"/>
                  </a:cubicBezTo>
                  <a:cubicBezTo>
                    <a:pt x="701" y="8"/>
                    <a:pt x="701" y="8"/>
                    <a:pt x="701" y="8"/>
                  </a:cubicBezTo>
                  <a:cubicBezTo>
                    <a:pt x="717" y="8"/>
                    <a:pt x="717" y="8"/>
                    <a:pt x="717" y="8"/>
                  </a:cubicBezTo>
                  <a:lnTo>
                    <a:pt x="717" y="0"/>
                  </a:lnTo>
                  <a:close/>
                  <a:moveTo>
                    <a:pt x="740" y="1"/>
                  </a:moveTo>
                  <a:cubicBezTo>
                    <a:pt x="735" y="0"/>
                    <a:pt x="729" y="0"/>
                    <a:pt x="724" y="0"/>
                  </a:cubicBezTo>
                  <a:cubicBezTo>
                    <a:pt x="724" y="8"/>
                    <a:pt x="724" y="8"/>
                    <a:pt x="724" y="8"/>
                  </a:cubicBezTo>
                  <a:cubicBezTo>
                    <a:pt x="729" y="8"/>
                    <a:pt x="734" y="8"/>
                    <a:pt x="739" y="8"/>
                  </a:cubicBezTo>
                  <a:cubicBezTo>
                    <a:pt x="740" y="1"/>
                    <a:pt x="740" y="1"/>
                    <a:pt x="740" y="1"/>
                  </a:cubicBezTo>
                  <a:close/>
                  <a:moveTo>
                    <a:pt x="763" y="4"/>
                  </a:moveTo>
                  <a:cubicBezTo>
                    <a:pt x="758" y="3"/>
                    <a:pt x="753" y="2"/>
                    <a:pt x="747" y="1"/>
                  </a:cubicBezTo>
                  <a:cubicBezTo>
                    <a:pt x="747" y="9"/>
                    <a:pt x="747" y="9"/>
                    <a:pt x="747" y="9"/>
                  </a:cubicBezTo>
                  <a:cubicBezTo>
                    <a:pt x="752" y="10"/>
                    <a:pt x="757" y="10"/>
                    <a:pt x="761" y="11"/>
                  </a:cubicBezTo>
                  <a:cubicBezTo>
                    <a:pt x="763" y="4"/>
                    <a:pt x="763" y="4"/>
                    <a:pt x="763" y="4"/>
                  </a:cubicBezTo>
                  <a:close/>
                  <a:moveTo>
                    <a:pt x="785" y="9"/>
                  </a:moveTo>
                  <a:cubicBezTo>
                    <a:pt x="780" y="8"/>
                    <a:pt x="775" y="6"/>
                    <a:pt x="770" y="5"/>
                  </a:cubicBezTo>
                  <a:cubicBezTo>
                    <a:pt x="769" y="13"/>
                    <a:pt x="769" y="13"/>
                    <a:pt x="769" y="13"/>
                  </a:cubicBezTo>
                  <a:cubicBezTo>
                    <a:pt x="774" y="14"/>
                    <a:pt x="778" y="15"/>
                    <a:pt x="783" y="17"/>
                  </a:cubicBezTo>
                  <a:cubicBezTo>
                    <a:pt x="785" y="9"/>
                    <a:pt x="785" y="9"/>
                    <a:pt x="785" y="9"/>
                  </a:cubicBezTo>
                  <a:close/>
                  <a:moveTo>
                    <a:pt x="807" y="17"/>
                  </a:moveTo>
                  <a:cubicBezTo>
                    <a:pt x="802" y="15"/>
                    <a:pt x="798" y="13"/>
                    <a:pt x="793" y="12"/>
                  </a:cubicBezTo>
                  <a:cubicBezTo>
                    <a:pt x="790" y="19"/>
                    <a:pt x="790" y="19"/>
                    <a:pt x="790" y="19"/>
                  </a:cubicBezTo>
                  <a:cubicBezTo>
                    <a:pt x="795" y="20"/>
                    <a:pt x="800" y="22"/>
                    <a:pt x="804" y="24"/>
                  </a:cubicBezTo>
                  <a:cubicBezTo>
                    <a:pt x="807" y="17"/>
                    <a:pt x="807" y="17"/>
                    <a:pt x="807" y="17"/>
                  </a:cubicBezTo>
                  <a:close/>
                  <a:moveTo>
                    <a:pt x="828" y="27"/>
                  </a:moveTo>
                  <a:cubicBezTo>
                    <a:pt x="824" y="25"/>
                    <a:pt x="819" y="22"/>
                    <a:pt x="814" y="20"/>
                  </a:cubicBezTo>
                  <a:cubicBezTo>
                    <a:pt x="811" y="27"/>
                    <a:pt x="811" y="27"/>
                    <a:pt x="811" y="27"/>
                  </a:cubicBezTo>
                  <a:cubicBezTo>
                    <a:pt x="815" y="29"/>
                    <a:pt x="820" y="32"/>
                    <a:pt x="824" y="34"/>
                  </a:cubicBezTo>
                  <a:cubicBezTo>
                    <a:pt x="828" y="27"/>
                    <a:pt x="828" y="27"/>
                    <a:pt x="828" y="27"/>
                  </a:cubicBezTo>
                  <a:close/>
                  <a:moveTo>
                    <a:pt x="848" y="40"/>
                  </a:moveTo>
                  <a:cubicBezTo>
                    <a:pt x="843" y="37"/>
                    <a:pt x="839" y="34"/>
                    <a:pt x="835" y="31"/>
                  </a:cubicBezTo>
                  <a:cubicBezTo>
                    <a:pt x="831" y="38"/>
                    <a:pt x="831" y="38"/>
                    <a:pt x="831" y="38"/>
                  </a:cubicBezTo>
                  <a:cubicBezTo>
                    <a:pt x="835" y="40"/>
                    <a:pt x="839" y="43"/>
                    <a:pt x="843" y="46"/>
                  </a:cubicBezTo>
                  <a:cubicBezTo>
                    <a:pt x="848" y="40"/>
                    <a:pt x="848" y="40"/>
                    <a:pt x="848" y="40"/>
                  </a:cubicBezTo>
                  <a:close/>
                  <a:moveTo>
                    <a:pt x="866" y="54"/>
                  </a:moveTo>
                  <a:cubicBezTo>
                    <a:pt x="862" y="51"/>
                    <a:pt x="858" y="47"/>
                    <a:pt x="854" y="44"/>
                  </a:cubicBezTo>
                  <a:cubicBezTo>
                    <a:pt x="849" y="50"/>
                    <a:pt x="849" y="50"/>
                    <a:pt x="849" y="50"/>
                  </a:cubicBezTo>
                  <a:cubicBezTo>
                    <a:pt x="853" y="54"/>
                    <a:pt x="857" y="57"/>
                    <a:pt x="861" y="60"/>
                  </a:cubicBezTo>
                  <a:cubicBezTo>
                    <a:pt x="866" y="54"/>
                    <a:pt x="866" y="54"/>
                    <a:pt x="866" y="54"/>
                  </a:cubicBezTo>
                  <a:close/>
                  <a:moveTo>
                    <a:pt x="882" y="71"/>
                  </a:moveTo>
                  <a:cubicBezTo>
                    <a:pt x="879" y="67"/>
                    <a:pt x="875" y="63"/>
                    <a:pt x="871" y="59"/>
                  </a:cubicBezTo>
                  <a:cubicBezTo>
                    <a:pt x="866" y="65"/>
                    <a:pt x="866" y="65"/>
                    <a:pt x="866" y="65"/>
                  </a:cubicBezTo>
                  <a:cubicBezTo>
                    <a:pt x="870" y="68"/>
                    <a:pt x="873" y="72"/>
                    <a:pt x="877" y="76"/>
                  </a:cubicBezTo>
                  <a:cubicBezTo>
                    <a:pt x="882" y="71"/>
                    <a:pt x="882" y="71"/>
                    <a:pt x="882" y="71"/>
                  </a:cubicBezTo>
                  <a:close/>
                  <a:moveTo>
                    <a:pt x="897" y="89"/>
                  </a:moveTo>
                  <a:cubicBezTo>
                    <a:pt x="894" y="84"/>
                    <a:pt x="891" y="80"/>
                    <a:pt x="887" y="76"/>
                  </a:cubicBezTo>
                  <a:cubicBezTo>
                    <a:pt x="881" y="81"/>
                    <a:pt x="881" y="81"/>
                    <a:pt x="881" y="81"/>
                  </a:cubicBezTo>
                  <a:cubicBezTo>
                    <a:pt x="885" y="85"/>
                    <a:pt x="888" y="89"/>
                    <a:pt x="891" y="93"/>
                  </a:cubicBezTo>
                  <a:cubicBezTo>
                    <a:pt x="897" y="89"/>
                    <a:pt x="897" y="89"/>
                    <a:pt x="897" y="89"/>
                  </a:cubicBezTo>
                  <a:close/>
                  <a:moveTo>
                    <a:pt x="910" y="108"/>
                  </a:moveTo>
                  <a:cubicBezTo>
                    <a:pt x="907" y="104"/>
                    <a:pt x="904" y="99"/>
                    <a:pt x="901" y="95"/>
                  </a:cubicBezTo>
                  <a:cubicBezTo>
                    <a:pt x="895" y="99"/>
                    <a:pt x="895" y="99"/>
                    <a:pt x="895" y="99"/>
                  </a:cubicBezTo>
                  <a:cubicBezTo>
                    <a:pt x="898" y="103"/>
                    <a:pt x="900" y="108"/>
                    <a:pt x="903" y="112"/>
                  </a:cubicBezTo>
                  <a:cubicBezTo>
                    <a:pt x="910" y="108"/>
                    <a:pt x="910" y="108"/>
                    <a:pt x="910" y="108"/>
                  </a:cubicBezTo>
                  <a:close/>
                  <a:moveTo>
                    <a:pt x="920" y="129"/>
                  </a:moveTo>
                  <a:cubicBezTo>
                    <a:pt x="918" y="124"/>
                    <a:pt x="916" y="119"/>
                    <a:pt x="913" y="115"/>
                  </a:cubicBezTo>
                  <a:cubicBezTo>
                    <a:pt x="906" y="118"/>
                    <a:pt x="906" y="118"/>
                    <a:pt x="906" y="118"/>
                  </a:cubicBezTo>
                  <a:cubicBezTo>
                    <a:pt x="909" y="123"/>
                    <a:pt x="911" y="127"/>
                    <a:pt x="913" y="132"/>
                  </a:cubicBezTo>
                  <a:lnTo>
                    <a:pt x="920" y="129"/>
                  </a:lnTo>
                  <a:close/>
                  <a:moveTo>
                    <a:pt x="928" y="151"/>
                  </a:moveTo>
                  <a:cubicBezTo>
                    <a:pt x="927" y="146"/>
                    <a:pt x="925" y="141"/>
                    <a:pt x="923" y="136"/>
                  </a:cubicBezTo>
                  <a:cubicBezTo>
                    <a:pt x="916" y="139"/>
                    <a:pt x="916" y="139"/>
                    <a:pt x="916" y="139"/>
                  </a:cubicBezTo>
                  <a:cubicBezTo>
                    <a:pt x="918" y="143"/>
                    <a:pt x="919" y="148"/>
                    <a:pt x="921" y="153"/>
                  </a:cubicBezTo>
                  <a:cubicBezTo>
                    <a:pt x="928" y="151"/>
                    <a:pt x="928" y="151"/>
                    <a:pt x="928" y="151"/>
                  </a:cubicBezTo>
                  <a:close/>
                  <a:moveTo>
                    <a:pt x="934" y="173"/>
                  </a:moveTo>
                  <a:cubicBezTo>
                    <a:pt x="933" y="168"/>
                    <a:pt x="932" y="163"/>
                    <a:pt x="930" y="158"/>
                  </a:cubicBezTo>
                  <a:cubicBezTo>
                    <a:pt x="923" y="160"/>
                    <a:pt x="923" y="160"/>
                    <a:pt x="923" y="160"/>
                  </a:cubicBezTo>
                  <a:cubicBezTo>
                    <a:pt x="924" y="165"/>
                    <a:pt x="925" y="170"/>
                    <a:pt x="926" y="175"/>
                  </a:cubicBezTo>
                  <a:cubicBezTo>
                    <a:pt x="934" y="173"/>
                    <a:pt x="934" y="173"/>
                    <a:pt x="934" y="173"/>
                  </a:cubicBezTo>
                  <a:close/>
                  <a:moveTo>
                    <a:pt x="937" y="196"/>
                  </a:moveTo>
                  <a:cubicBezTo>
                    <a:pt x="937" y="191"/>
                    <a:pt x="936" y="186"/>
                    <a:pt x="935" y="181"/>
                  </a:cubicBezTo>
                  <a:cubicBezTo>
                    <a:pt x="928" y="182"/>
                    <a:pt x="928" y="182"/>
                    <a:pt x="928" y="182"/>
                  </a:cubicBezTo>
                  <a:cubicBezTo>
                    <a:pt x="928" y="187"/>
                    <a:pt x="929" y="192"/>
                    <a:pt x="929" y="197"/>
                  </a:cubicBezTo>
                  <a:lnTo>
                    <a:pt x="937" y="196"/>
                  </a:lnTo>
                  <a:close/>
                  <a:moveTo>
                    <a:pt x="938" y="219"/>
                  </a:moveTo>
                  <a:cubicBezTo>
                    <a:pt x="938" y="214"/>
                    <a:pt x="938" y="214"/>
                    <a:pt x="938" y="214"/>
                  </a:cubicBezTo>
                  <a:cubicBezTo>
                    <a:pt x="938" y="211"/>
                    <a:pt x="938" y="207"/>
                    <a:pt x="938" y="204"/>
                  </a:cubicBezTo>
                  <a:cubicBezTo>
                    <a:pt x="930" y="204"/>
                    <a:pt x="930" y="204"/>
                    <a:pt x="930" y="204"/>
                  </a:cubicBezTo>
                  <a:cubicBezTo>
                    <a:pt x="930" y="207"/>
                    <a:pt x="930" y="211"/>
                    <a:pt x="930" y="214"/>
                  </a:cubicBezTo>
                  <a:cubicBezTo>
                    <a:pt x="930" y="219"/>
                    <a:pt x="930" y="219"/>
                    <a:pt x="930" y="219"/>
                  </a:cubicBezTo>
                  <a:cubicBezTo>
                    <a:pt x="938" y="219"/>
                    <a:pt x="938" y="219"/>
                    <a:pt x="938" y="219"/>
                  </a:cubicBezTo>
                  <a:close/>
                  <a:moveTo>
                    <a:pt x="937" y="242"/>
                  </a:moveTo>
                  <a:cubicBezTo>
                    <a:pt x="938" y="237"/>
                    <a:pt x="938" y="232"/>
                    <a:pt x="938" y="227"/>
                  </a:cubicBezTo>
                  <a:cubicBezTo>
                    <a:pt x="930" y="227"/>
                    <a:pt x="930" y="227"/>
                    <a:pt x="930" y="227"/>
                  </a:cubicBezTo>
                  <a:cubicBezTo>
                    <a:pt x="930" y="232"/>
                    <a:pt x="930" y="237"/>
                    <a:pt x="930" y="242"/>
                  </a:cubicBezTo>
                  <a:cubicBezTo>
                    <a:pt x="937" y="242"/>
                    <a:pt x="937" y="242"/>
                    <a:pt x="937" y="242"/>
                  </a:cubicBezTo>
                  <a:close/>
                  <a:moveTo>
                    <a:pt x="934" y="265"/>
                  </a:moveTo>
                  <a:cubicBezTo>
                    <a:pt x="935" y="260"/>
                    <a:pt x="936" y="255"/>
                    <a:pt x="937" y="250"/>
                  </a:cubicBezTo>
                  <a:cubicBezTo>
                    <a:pt x="929" y="249"/>
                    <a:pt x="929" y="249"/>
                    <a:pt x="929" y="249"/>
                  </a:cubicBezTo>
                  <a:cubicBezTo>
                    <a:pt x="928" y="254"/>
                    <a:pt x="928" y="259"/>
                    <a:pt x="927" y="264"/>
                  </a:cubicBezTo>
                  <a:cubicBezTo>
                    <a:pt x="934" y="265"/>
                    <a:pt x="934" y="265"/>
                    <a:pt x="934" y="265"/>
                  </a:cubicBezTo>
                  <a:close/>
                  <a:moveTo>
                    <a:pt x="929" y="288"/>
                  </a:moveTo>
                  <a:cubicBezTo>
                    <a:pt x="930" y="283"/>
                    <a:pt x="931" y="278"/>
                    <a:pt x="933" y="273"/>
                  </a:cubicBezTo>
                  <a:cubicBezTo>
                    <a:pt x="925" y="271"/>
                    <a:pt x="925" y="271"/>
                    <a:pt x="925" y="271"/>
                  </a:cubicBezTo>
                  <a:cubicBezTo>
                    <a:pt x="924" y="276"/>
                    <a:pt x="923" y="281"/>
                    <a:pt x="921" y="286"/>
                  </a:cubicBezTo>
                  <a:cubicBezTo>
                    <a:pt x="929" y="288"/>
                    <a:pt x="929" y="288"/>
                    <a:pt x="929" y="288"/>
                  </a:cubicBezTo>
                  <a:close/>
                  <a:moveTo>
                    <a:pt x="921" y="310"/>
                  </a:moveTo>
                  <a:cubicBezTo>
                    <a:pt x="923" y="305"/>
                    <a:pt x="925" y="300"/>
                    <a:pt x="926" y="295"/>
                  </a:cubicBezTo>
                  <a:cubicBezTo>
                    <a:pt x="919" y="293"/>
                    <a:pt x="919" y="293"/>
                    <a:pt x="919" y="293"/>
                  </a:cubicBezTo>
                  <a:cubicBezTo>
                    <a:pt x="917" y="298"/>
                    <a:pt x="916" y="302"/>
                    <a:pt x="914" y="307"/>
                  </a:cubicBezTo>
                  <a:cubicBezTo>
                    <a:pt x="921" y="310"/>
                    <a:pt x="921" y="310"/>
                    <a:pt x="921" y="310"/>
                  </a:cubicBezTo>
                  <a:close/>
                  <a:moveTo>
                    <a:pt x="910" y="331"/>
                  </a:moveTo>
                  <a:cubicBezTo>
                    <a:pt x="913" y="326"/>
                    <a:pt x="915" y="321"/>
                    <a:pt x="918" y="317"/>
                  </a:cubicBezTo>
                  <a:cubicBezTo>
                    <a:pt x="911" y="314"/>
                    <a:pt x="911" y="314"/>
                    <a:pt x="911" y="314"/>
                  </a:cubicBezTo>
                  <a:cubicBezTo>
                    <a:pt x="908" y="318"/>
                    <a:pt x="906" y="322"/>
                    <a:pt x="904" y="327"/>
                  </a:cubicBezTo>
                  <a:cubicBezTo>
                    <a:pt x="910" y="331"/>
                    <a:pt x="910" y="331"/>
                    <a:pt x="910" y="331"/>
                  </a:cubicBezTo>
                  <a:close/>
                  <a:moveTo>
                    <a:pt x="898" y="350"/>
                  </a:moveTo>
                  <a:cubicBezTo>
                    <a:pt x="901" y="346"/>
                    <a:pt x="904" y="342"/>
                    <a:pt x="906" y="337"/>
                  </a:cubicBezTo>
                  <a:cubicBezTo>
                    <a:pt x="900" y="333"/>
                    <a:pt x="900" y="333"/>
                    <a:pt x="900" y="333"/>
                  </a:cubicBezTo>
                  <a:cubicBezTo>
                    <a:pt x="897" y="337"/>
                    <a:pt x="895" y="342"/>
                    <a:pt x="892" y="346"/>
                  </a:cubicBezTo>
                  <a:cubicBezTo>
                    <a:pt x="898" y="350"/>
                    <a:pt x="898" y="350"/>
                    <a:pt x="898" y="350"/>
                  </a:cubicBezTo>
                  <a:close/>
                  <a:moveTo>
                    <a:pt x="883" y="368"/>
                  </a:moveTo>
                  <a:cubicBezTo>
                    <a:pt x="887" y="364"/>
                    <a:pt x="890" y="360"/>
                    <a:pt x="893" y="356"/>
                  </a:cubicBezTo>
                  <a:cubicBezTo>
                    <a:pt x="887" y="352"/>
                    <a:pt x="887" y="352"/>
                    <a:pt x="887" y="352"/>
                  </a:cubicBezTo>
                  <a:cubicBezTo>
                    <a:pt x="884" y="356"/>
                    <a:pt x="881" y="359"/>
                    <a:pt x="878" y="363"/>
                  </a:cubicBezTo>
                  <a:cubicBezTo>
                    <a:pt x="883" y="368"/>
                    <a:pt x="883" y="368"/>
                    <a:pt x="883" y="368"/>
                  </a:cubicBezTo>
                  <a:close/>
                  <a:moveTo>
                    <a:pt x="867" y="385"/>
                  </a:moveTo>
                  <a:cubicBezTo>
                    <a:pt x="871" y="381"/>
                    <a:pt x="875" y="378"/>
                    <a:pt x="878" y="374"/>
                  </a:cubicBezTo>
                  <a:cubicBezTo>
                    <a:pt x="873" y="369"/>
                    <a:pt x="873" y="369"/>
                    <a:pt x="873" y="369"/>
                  </a:cubicBezTo>
                  <a:cubicBezTo>
                    <a:pt x="869" y="372"/>
                    <a:pt x="866" y="376"/>
                    <a:pt x="862" y="379"/>
                  </a:cubicBezTo>
                  <a:cubicBezTo>
                    <a:pt x="867" y="385"/>
                    <a:pt x="867" y="385"/>
                    <a:pt x="867" y="385"/>
                  </a:cubicBezTo>
                  <a:close/>
                  <a:moveTo>
                    <a:pt x="849" y="399"/>
                  </a:moveTo>
                  <a:cubicBezTo>
                    <a:pt x="853" y="396"/>
                    <a:pt x="857" y="393"/>
                    <a:pt x="861" y="390"/>
                  </a:cubicBezTo>
                  <a:cubicBezTo>
                    <a:pt x="856" y="384"/>
                    <a:pt x="856" y="384"/>
                    <a:pt x="856" y="384"/>
                  </a:cubicBezTo>
                  <a:cubicBezTo>
                    <a:pt x="852" y="387"/>
                    <a:pt x="848" y="390"/>
                    <a:pt x="844" y="393"/>
                  </a:cubicBezTo>
                  <a:lnTo>
                    <a:pt x="849" y="399"/>
                  </a:lnTo>
                  <a:close/>
                  <a:moveTo>
                    <a:pt x="829" y="412"/>
                  </a:moveTo>
                  <a:cubicBezTo>
                    <a:pt x="834" y="409"/>
                    <a:pt x="838" y="407"/>
                    <a:pt x="843" y="404"/>
                  </a:cubicBezTo>
                  <a:cubicBezTo>
                    <a:pt x="838" y="397"/>
                    <a:pt x="838" y="397"/>
                    <a:pt x="838" y="397"/>
                  </a:cubicBezTo>
                  <a:cubicBezTo>
                    <a:pt x="834" y="400"/>
                    <a:pt x="830" y="403"/>
                    <a:pt x="826" y="405"/>
                  </a:cubicBezTo>
                  <a:lnTo>
                    <a:pt x="829" y="412"/>
                  </a:lnTo>
                  <a:close/>
                  <a:moveTo>
                    <a:pt x="809" y="422"/>
                  </a:moveTo>
                  <a:cubicBezTo>
                    <a:pt x="813" y="420"/>
                    <a:pt x="818" y="418"/>
                    <a:pt x="823" y="416"/>
                  </a:cubicBezTo>
                  <a:cubicBezTo>
                    <a:pt x="819" y="409"/>
                    <a:pt x="819" y="409"/>
                    <a:pt x="819" y="409"/>
                  </a:cubicBezTo>
                  <a:cubicBezTo>
                    <a:pt x="815" y="411"/>
                    <a:pt x="810" y="413"/>
                    <a:pt x="806" y="415"/>
                  </a:cubicBezTo>
                  <a:lnTo>
                    <a:pt x="809" y="422"/>
                  </a:lnTo>
                  <a:close/>
                  <a:moveTo>
                    <a:pt x="787" y="430"/>
                  </a:moveTo>
                  <a:cubicBezTo>
                    <a:pt x="792" y="429"/>
                    <a:pt x="797" y="427"/>
                    <a:pt x="801" y="425"/>
                  </a:cubicBezTo>
                  <a:cubicBezTo>
                    <a:pt x="799" y="418"/>
                    <a:pt x="799" y="418"/>
                    <a:pt x="799" y="418"/>
                  </a:cubicBezTo>
                  <a:cubicBezTo>
                    <a:pt x="794" y="420"/>
                    <a:pt x="789" y="422"/>
                    <a:pt x="785" y="423"/>
                  </a:cubicBezTo>
                  <a:lnTo>
                    <a:pt x="787" y="430"/>
                  </a:lnTo>
                  <a:close/>
                  <a:moveTo>
                    <a:pt x="764" y="436"/>
                  </a:moveTo>
                  <a:cubicBezTo>
                    <a:pt x="769" y="435"/>
                    <a:pt x="774" y="434"/>
                    <a:pt x="779" y="433"/>
                  </a:cubicBezTo>
                  <a:cubicBezTo>
                    <a:pt x="777" y="425"/>
                    <a:pt x="777" y="425"/>
                    <a:pt x="777" y="425"/>
                  </a:cubicBezTo>
                  <a:cubicBezTo>
                    <a:pt x="773" y="426"/>
                    <a:pt x="768" y="427"/>
                    <a:pt x="763" y="428"/>
                  </a:cubicBezTo>
                  <a:lnTo>
                    <a:pt x="764" y="436"/>
                  </a:lnTo>
                  <a:close/>
                  <a:moveTo>
                    <a:pt x="741" y="439"/>
                  </a:moveTo>
                  <a:cubicBezTo>
                    <a:pt x="746" y="439"/>
                    <a:pt x="752" y="438"/>
                    <a:pt x="757" y="437"/>
                  </a:cubicBezTo>
                  <a:cubicBezTo>
                    <a:pt x="755" y="430"/>
                    <a:pt x="755" y="430"/>
                    <a:pt x="755" y="430"/>
                  </a:cubicBezTo>
                  <a:cubicBezTo>
                    <a:pt x="751" y="430"/>
                    <a:pt x="746" y="431"/>
                    <a:pt x="741" y="431"/>
                  </a:cubicBezTo>
                  <a:lnTo>
                    <a:pt x="741" y="439"/>
                  </a:lnTo>
                  <a:close/>
                  <a:moveTo>
                    <a:pt x="718" y="440"/>
                  </a:moveTo>
                  <a:cubicBezTo>
                    <a:pt x="724" y="440"/>
                    <a:pt x="724" y="440"/>
                    <a:pt x="724" y="440"/>
                  </a:cubicBezTo>
                  <a:cubicBezTo>
                    <a:pt x="727" y="440"/>
                    <a:pt x="730" y="440"/>
                    <a:pt x="733" y="440"/>
                  </a:cubicBezTo>
                  <a:cubicBezTo>
                    <a:pt x="733" y="432"/>
                    <a:pt x="733" y="432"/>
                    <a:pt x="733" y="432"/>
                  </a:cubicBezTo>
                  <a:cubicBezTo>
                    <a:pt x="730" y="432"/>
                    <a:pt x="727" y="432"/>
                    <a:pt x="724" y="432"/>
                  </a:cubicBezTo>
                  <a:cubicBezTo>
                    <a:pt x="718" y="432"/>
                    <a:pt x="718" y="432"/>
                    <a:pt x="718" y="432"/>
                  </a:cubicBezTo>
                  <a:cubicBezTo>
                    <a:pt x="718" y="440"/>
                    <a:pt x="718" y="440"/>
                    <a:pt x="718" y="440"/>
                  </a:cubicBez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lnTo>
                    <a:pt x="86" y="397"/>
                  </a:ln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106"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endParaRPr kumimoji="0" lang="en-US" sz="4705" b="0" i="0" u="none" strike="noStrike" kern="1200" cap="none" spc="-100"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endParaRPr>
          </a:p>
        </p:txBody>
      </p:sp>
      <p:sp>
        <p:nvSpPr>
          <p:cNvPr id="107"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dirty="0">
                <a:gradFill>
                  <a:gsLst>
                    <a:gs pos="1250">
                      <a:srgbClr val="0078D7"/>
                    </a:gs>
                    <a:gs pos="99000">
                      <a:srgbClr val="0078D7"/>
                    </a:gs>
                  </a:gsLst>
                  <a:lin ang="5400000" scaled="0"/>
                </a:gradFill>
                <a:latin typeface="Segoe UI Light"/>
              </a:rPr>
              <a:t>Example: Timer based processing</a:t>
            </a:r>
            <a:endParaRPr kumimoji="0" lang="en-US" sz="3921" b="0" i="0" u="none" strike="noStrike" kern="1200" cap="none" spc="0" normalizeH="0" baseline="0" noProof="0" dirty="0">
              <a:ln>
                <a:noFill/>
              </a:ln>
              <a:gradFill>
                <a:gsLst>
                  <a:gs pos="1250">
                    <a:srgbClr val="0078D7"/>
                  </a:gs>
                  <a:gs pos="99000">
                    <a:srgbClr val="0078D7"/>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22851755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35175" y="1905000"/>
            <a:ext cx="812165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2" name="Group 1"/>
          <p:cNvGrpSpPr/>
          <p:nvPr/>
        </p:nvGrpSpPr>
        <p:grpSpPr>
          <a:xfrm>
            <a:off x="2035175" y="1908175"/>
            <a:ext cx="1771650" cy="3090863"/>
            <a:chOff x="2035175" y="1908175"/>
            <a:chExt cx="1771650" cy="3090863"/>
          </a:xfrm>
        </p:grpSpPr>
        <p:sp>
          <p:nvSpPr>
            <p:cNvPr id="6" name="Rectangle 5"/>
            <p:cNvSpPr>
              <a:spLocks noChangeArrowheads="1"/>
            </p:cNvSpPr>
            <p:nvPr/>
          </p:nvSpPr>
          <p:spPr bwMode="auto">
            <a:xfrm>
              <a:off x="2147888" y="4475163"/>
              <a:ext cx="11525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rPr>
                <a:t>File added to</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7" name="Rectangle 6"/>
            <p:cNvSpPr>
              <a:spLocks noChangeArrowheads="1"/>
            </p:cNvSpPr>
            <p:nvPr/>
          </p:nvSpPr>
          <p:spPr bwMode="auto">
            <a:xfrm>
              <a:off x="2155825" y="4694238"/>
              <a:ext cx="1138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rPr>
                <a:t>Blob Storage</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14" name="Freeform 13"/>
            <p:cNvSpPr>
              <a:spLocks noEditPoints="1"/>
            </p:cNvSpPr>
            <p:nvPr/>
          </p:nvSpPr>
          <p:spPr bwMode="auto">
            <a:xfrm>
              <a:off x="2624138" y="2541588"/>
              <a:ext cx="30163" cy="300038"/>
            </a:xfrm>
            <a:custGeom>
              <a:avLst/>
              <a:gdLst>
                <a:gd name="T0" fmla="*/ 0 w 19"/>
                <a:gd name="T1" fmla="*/ 168 h 189"/>
                <a:gd name="T2" fmla="*/ 0 w 19"/>
                <a:gd name="T3" fmla="*/ 189 h 189"/>
                <a:gd name="T4" fmla="*/ 19 w 19"/>
                <a:gd name="T5" fmla="*/ 189 h 189"/>
                <a:gd name="T6" fmla="*/ 19 w 19"/>
                <a:gd name="T7" fmla="*/ 168 h 189"/>
                <a:gd name="T8" fmla="*/ 0 w 19"/>
                <a:gd name="T9" fmla="*/ 168 h 189"/>
                <a:gd name="T10" fmla="*/ 0 w 19"/>
                <a:gd name="T11" fmla="*/ 168 h 189"/>
                <a:gd name="T12" fmla="*/ 0 w 19"/>
                <a:gd name="T13" fmla="*/ 168 h 189"/>
                <a:gd name="T14" fmla="*/ 19 w 19"/>
                <a:gd name="T15" fmla="*/ 168 h 189"/>
                <a:gd name="T16" fmla="*/ 19 w 19"/>
                <a:gd name="T17" fmla="*/ 168 h 189"/>
                <a:gd name="T18" fmla="*/ 0 w 19"/>
                <a:gd name="T19" fmla="*/ 168 h 189"/>
                <a:gd name="T20" fmla="*/ 0 w 19"/>
                <a:gd name="T21" fmla="*/ 111 h 189"/>
                <a:gd name="T22" fmla="*/ 0 w 19"/>
                <a:gd name="T23" fmla="*/ 149 h 189"/>
                <a:gd name="T24" fmla="*/ 19 w 19"/>
                <a:gd name="T25" fmla="*/ 149 h 189"/>
                <a:gd name="T26" fmla="*/ 19 w 19"/>
                <a:gd name="T27" fmla="*/ 111 h 189"/>
                <a:gd name="T28" fmla="*/ 0 w 19"/>
                <a:gd name="T29" fmla="*/ 111 h 189"/>
                <a:gd name="T30" fmla="*/ 0 w 19"/>
                <a:gd name="T31" fmla="*/ 111 h 189"/>
                <a:gd name="T32" fmla="*/ 0 w 19"/>
                <a:gd name="T33" fmla="*/ 111 h 189"/>
                <a:gd name="T34" fmla="*/ 19 w 19"/>
                <a:gd name="T35" fmla="*/ 111 h 189"/>
                <a:gd name="T36" fmla="*/ 19 w 19"/>
                <a:gd name="T37" fmla="*/ 111 h 189"/>
                <a:gd name="T38" fmla="*/ 0 w 19"/>
                <a:gd name="T39" fmla="*/ 111 h 189"/>
                <a:gd name="T40" fmla="*/ 0 w 19"/>
                <a:gd name="T41" fmla="*/ 57 h 189"/>
                <a:gd name="T42" fmla="*/ 0 w 19"/>
                <a:gd name="T43" fmla="*/ 94 h 189"/>
                <a:gd name="T44" fmla="*/ 19 w 19"/>
                <a:gd name="T45" fmla="*/ 94 h 189"/>
                <a:gd name="T46" fmla="*/ 19 w 19"/>
                <a:gd name="T47" fmla="*/ 57 h 189"/>
                <a:gd name="T48" fmla="*/ 0 w 19"/>
                <a:gd name="T49" fmla="*/ 57 h 189"/>
                <a:gd name="T50" fmla="*/ 0 w 19"/>
                <a:gd name="T51" fmla="*/ 57 h 189"/>
                <a:gd name="T52" fmla="*/ 0 w 19"/>
                <a:gd name="T53" fmla="*/ 57 h 189"/>
                <a:gd name="T54" fmla="*/ 19 w 19"/>
                <a:gd name="T55" fmla="*/ 57 h 189"/>
                <a:gd name="T56" fmla="*/ 19 w 19"/>
                <a:gd name="T57" fmla="*/ 57 h 189"/>
                <a:gd name="T58" fmla="*/ 0 w 19"/>
                <a:gd name="T59" fmla="*/ 57 h 189"/>
                <a:gd name="T60" fmla="*/ 0 w 19"/>
                <a:gd name="T61" fmla="*/ 0 h 189"/>
                <a:gd name="T62" fmla="*/ 0 w 19"/>
                <a:gd name="T63" fmla="*/ 38 h 189"/>
                <a:gd name="T64" fmla="*/ 19 w 19"/>
                <a:gd name="T65" fmla="*/ 38 h 189"/>
                <a:gd name="T66" fmla="*/ 19 w 19"/>
                <a:gd name="T67" fmla="*/ 0 h 189"/>
                <a:gd name="T68" fmla="*/ 0 w 19"/>
                <a:gd name="T6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0" y="168"/>
                  </a:moveTo>
                  <a:lnTo>
                    <a:pt x="0" y="189"/>
                  </a:lnTo>
                  <a:lnTo>
                    <a:pt x="19" y="189"/>
                  </a:lnTo>
                  <a:lnTo>
                    <a:pt x="19" y="168"/>
                  </a:lnTo>
                  <a:lnTo>
                    <a:pt x="0" y="168"/>
                  </a:lnTo>
                  <a:close/>
                  <a:moveTo>
                    <a:pt x="0" y="168"/>
                  </a:moveTo>
                  <a:lnTo>
                    <a:pt x="0" y="168"/>
                  </a:lnTo>
                  <a:lnTo>
                    <a:pt x="19" y="168"/>
                  </a:lnTo>
                  <a:lnTo>
                    <a:pt x="19" y="168"/>
                  </a:lnTo>
                  <a:lnTo>
                    <a:pt x="0" y="168"/>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7"/>
                  </a:moveTo>
                  <a:lnTo>
                    <a:pt x="0" y="94"/>
                  </a:lnTo>
                  <a:lnTo>
                    <a:pt x="19" y="94"/>
                  </a:lnTo>
                  <a:lnTo>
                    <a:pt x="19" y="57"/>
                  </a:lnTo>
                  <a:lnTo>
                    <a:pt x="0" y="57"/>
                  </a:lnTo>
                  <a:close/>
                  <a:moveTo>
                    <a:pt x="0" y="57"/>
                  </a:moveTo>
                  <a:lnTo>
                    <a:pt x="0" y="57"/>
                  </a:lnTo>
                  <a:lnTo>
                    <a:pt x="19" y="57"/>
                  </a:lnTo>
                  <a:lnTo>
                    <a:pt x="19" y="57"/>
                  </a:lnTo>
                  <a:lnTo>
                    <a:pt x="0" y="57"/>
                  </a:lnTo>
                  <a:close/>
                  <a:moveTo>
                    <a:pt x="0" y="0"/>
                  </a:moveTo>
                  <a:lnTo>
                    <a:pt x="0" y="38"/>
                  </a:lnTo>
                  <a:lnTo>
                    <a:pt x="19" y="38"/>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Freeform 14"/>
            <p:cNvSpPr>
              <a:spLocks/>
            </p:cNvSpPr>
            <p:nvPr/>
          </p:nvSpPr>
          <p:spPr bwMode="auto">
            <a:xfrm>
              <a:off x="2565400" y="2819400"/>
              <a:ext cx="149225" cy="128588"/>
            </a:xfrm>
            <a:custGeom>
              <a:avLst/>
              <a:gdLst>
                <a:gd name="T0" fmla="*/ 0 w 94"/>
                <a:gd name="T1" fmla="*/ 0 h 81"/>
                <a:gd name="T2" fmla="*/ 47 w 94"/>
                <a:gd name="T3" fmla="*/ 81 h 81"/>
                <a:gd name="T4" fmla="*/ 94 w 94"/>
                <a:gd name="T5" fmla="*/ 0 h 81"/>
                <a:gd name="T6" fmla="*/ 0 w 94"/>
                <a:gd name="T7" fmla="*/ 0 h 81"/>
              </a:gdLst>
              <a:ahLst/>
              <a:cxnLst>
                <a:cxn ang="0">
                  <a:pos x="T0" y="T1"/>
                </a:cxn>
                <a:cxn ang="0">
                  <a:pos x="T2" y="T3"/>
                </a:cxn>
                <a:cxn ang="0">
                  <a:pos x="T4" y="T5"/>
                </a:cxn>
                <a:cxn ang="0">
                  <a:pos x="T6" y="T7"/>
                </a:cxn>
              </a:cxnLst>
              <a:rect l="0" t="0" r="r" b="b"/>
              <a:pathLst>
                <a:path w="94" h="81">
                  <a:moveTo>
                    <a:pt x="0" y="0"/>
                  </a:moveTo>
                  <a:lnTo>
                    <a:pt x="47" y="81"/>
                  </a:lnTo>
                  <a:lnTo>
                    <a:pt x="94"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Freeform 15"/>
            <p:cNvSpPr>
              <a:spLocks noEditPoints="1"/>
            </p:cNvSpPr>
            <p:nvPr/>
          </p:nvSpPr>
          <p:spPr bwMode="auto">
            <a:xfrm>
              <a:off x="3402013"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Freeform 16"/>
            <p:cNvSpPr>
              <a:spLocks/>
            </p:cNvSpPr>
            <p:nvPr/>
          </p:nvSpPr>
          <p:spPr bwMode="auto">
            <a:xfrm>
              <a:off x="3676650" y="3511550"/>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4" name="Freeform 63"/>
            <p:cNvSpPr>
              <a:spLocks noEditPoints="1"/>
            </p:cNvSpPr>
            <p:nvPr/>
          </p:nvSpPr>
          <p:spPr bwMode="auto">
            <a:xfrm>
              <a:off x="2035175" y="3082925"/>
              <a:ext cx="1201738"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1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7 w 320"/>
                <a:gd name="T31" fmla="*/ 55 h 278"/>
                <a:gd name="T32" fmla="*/ 240 w 320"/>
                <a:gd name="T33" fmla="*/ 89 h 278"/>
                <a:gd name="T34" fmla="*/ 240 w 320"/>
                <a:gd name="T35" fmla="*/ 106 h 278"/>
                <a:gd name="T36" fmla="*/ 240 w 320"/>
                <a:gd name="T37" fmla="*/ 201 h 278"/>
                <a:gd name="T38" fmla="*/ 241 w 320"/>
                <a:gd name="T39"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1" y="201"/>
                  </a:moveTo>
                  <a:cubicBezTo>
                    <a:pt x="241"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7" y="55"/>
                    <a:pt x="207" y="55"/>
                    <a:pt x="207" y="55"/>
                  </a:cubicBezTo>
                  <a:cubicBezTo>
                    <a:pt x="240" y="89"/>
                    <a:pt x="240" y="89"/>
                    <a:pt x="240" y="89"/>
                  </a:cubicBezTo>
                  <a:cubicBezTo>
                    <a:pt x="240" y="106"/>
                    <a:pt x="240" y="106"/>
                    <a:pt x="240" y="106"/>
                  </a:cubicBezTo>
                  <a:cubicBezTo>
                    <a:pt x="240" y="201"/>
                    <a:pt x="240" y="201"/>
                    <a:pt x="240" y="201"/>
                  </a:cubicBezTo>
                  <a:cubicBezTo>
                    <a:pt x="241" y="201"/>
                    <a:pt x="241" y="201"/>
                    <a:pt x="241"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5" name="Freeform 64"/>
            <p:cNvSpPr>
              <a:spLocks/>
            </p:cNvSpPr>
            <p:nvPr/>
          </p:nvSpPr>
          <p:spPr bwMode="auto">
            <a:xfrm>
              <a:off x="2538413" y="3662363"/>
              <a:ext cx="52388" cy="128588"/>
            </a:xfrm>
            <a:custGeom>
              <a:avLst/>
              <a:gdLst>
                <a:gd name="T0" fmla="*/ 14 w 14"/>
                <a:gd name="T1" fmla="*/ 8 h 34"/>
                <a:gd name="T2" fmla="*/ 13 w 14"/>
                <a:gd name="T3" fmla="*/ 4 h 34"/>
                <a:gd name="T4" fmla="*/ 12 w 14"/>
                <a:gd name="T5" fmla="*/ 2 h 34"/>
                <a:gd name="T6" fmla="*/ 10 w 14"/>
                <a:gd name="T7" fmla="*/ 1 h 34"/>
                <a:gd name="T8" fmla="*/ 7 w 14"/>
                <a:gd name="T9" fmla="*/ 0 h 34"/>
                <a:gd name="T10" fmla="*/ 4 w 14"/>
                <a:gd name="T11" fmla="*/ 2 h 34"/>
                <a:gd name="T12" fmla="*/ 2 w 14"/>
                <a:gd name="T13" fmla="*/ 5 h 34"/>
                <a:gd name="T14" fmla="*/ 0 w 14"/>
                <a:gd name="T15" fmla="*/ 10 h 34"/>
                <a:gd name="T16" fmla="*/ 0 w 14"/>
                <a:gd name="T17" fmla="*/ 17 h 34"/>
                <a:gd name="T18" fmla="*/ 0 w 14"/>
                <a:gd name="T19" fmla="*/ 25 h 34"/>
                <a:gd name="T20" fmla="*/ 2 w 14"/>
                <a:gd name="T21" fmla="*/ 31 h 34"/>
                <a:gd name="T22" fmla="*/ 4 w 14"/>
                <a:gd name="T23" fmla="*/ 33 h 34"/>
                <a:gd name="T24" fmla="*/ 7 w 14"/>
                <a:gd name="T25" fmla="*/ 34 h 34"/>
                <a:gd name="T26" fmla="*/ 9 w 14"/>
                <a:gd name="T27" fmla="*/ 33 h 34"/>
                <a:gd name="T28" fmla="*/ 11 w 14"/>
                <a:gd name="T29" fmla="*/ 32 h 34"/>
                <a:gd name="T30" fmla="*/ 13 w 14"/>
                <a:gd name="T31" fmla="*/ 29 h 34"/>
                <a:gd name="T32" fmla="*/ 13 w 14"/>
                <a:gd name="T33" fmla="*/ 26 h 34"/>
                <a:gd name="T34" fmla="*/ 14 w 14"/>
                <a:gd name="T35" fmla="*/ 22 h 34"/>
                <a:gd name="T36" fmla="*/ 14 w 14"/>
                <a:gd name="T37" fmla="*/ 17 h 34"/>
                <a:gd name="T38" fmla="*/ 14 w 14"/>
                <a:gd name="T39" fmla="*/ 11 h 34"/>
                <a:gd name="T40" fmla="*/ 14 w 14"/>
                <a:gd name="T4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4">
                  <a:moveTo>
                    <a:pt x="14" y="8"/>
                  </a:moveTo>
                  <a:cubicBezTo>
                    <a:pt x="14" y="6"/>
                    <a:pt x="13" y="5"/>
                    <a:pt x="13" y="4"/>
                  </a:cubicBezTo>
                  <a:cubicBezTo>
                    <a:pt x="13" y="4"/>
                    <a:pt x="13" y="3"/>
                    <a:pt x="12" y="2"/>
                  </a:cubicBezTo>
                  <a:cubicBezTo>
                    <a:pt x="11" y="2"/>
                    <a:pt x="11" y="2"/>
                    <a:pt x="10" y="1"/>
                  </a:cubicBezTo>
                  <a:cubicBezTo>
                    <a:pt x="9" y="1"/>
                    <a:pt x="9" y="0"/>
                    <a:pt x="7" y="0"/>
                  </a:cubicBezTo>
                  <a:cubicBezTo>
                    <a:pt x="6" y="0"/>
                    <a:pt x="5" y="1"/>
                    <a:pt x="4" y="2"/>
                  </a:cubicBezTo>
                  <a:cubicBezTo>
                    <a:pt x="3" y="2"/>
                    <a:pt x="2" y="4"/>
                    <a:pt x="2" y="5"/>
                  </a:cubicBezTo>
                  <a:cubicBezTo>
                    <a:pt x="1" y="6"/>
                    <a:pt x="1" y="8"/>
                    <a:pt x="0" y="10"/>
                  </a:cubicBezTo>
                  <a:cubicBezTo>
                    <a:pt x="0" y="12"/>
                    <a:pt x="0" y="15"/>
                    <a:pt x="0" y="17"/>
                  </a:cubicBezTo>
                  <a:cubicBezTo>
                    <a:pt x="0" y="20"/>
                    <a:pt x="0" y="24"/>
                    <a:pt x="0" y="25"/>
                  </a:cubicBezTo>
                  <a:cubicBezTo>
                    <a:pt x="0" y="27"/>
                    <a:pt x="1" y="29"/>
                    <a:pt x="2" y="31"/>
                  </a:cubicBezTo>
                  <a:cubicBezTo>
                    <a:pt x="2" y="32"/>
                    <a:pt x="3" y="32"/>
                    <a:pt x="4" y="33"/>
                  </a:cubicBezTo>
                  <a:cubicBezTo>
                    <a:pt x="4" y="34"/>
                    <a:pt x="6" y="34"/>
                    <a:pt x="7" y="34"/>
                  </a:cubicBezTo>
                  <a:cubicBezTo>
                    <a:pt x="7" y="34"/>
                    <a:pt x="9" y="34"/>
                    <a:pt x="9" y="33"/>
                  </a:cubicBezTo>
                  <a:cubicBezTo>
                    <a:pt x="10" y="33"/>
                    <a:pt x="11" y="32"/>
                    <a:pt x="11" y="32"/>
                  </a:cubicBezTo>
                  <a:cubicBezTo>
                    <a:pt x="12" y="31"/>
                    <a:pt x="13" y="31"/>
                    <a:pt x="13" y="29"/>
                  </a:cubicBezTo>
                  <a:cubicBezTo>
                    <a:pt x="13" y="29"/>
                    <a:pt x="13" y="27"/>
                    <a:pt x="13" y="26"/>
                  </a:cubicBezTo>
                  <a:cubicBezTo>
                    <a:pt x="13" y="25"/>
                    <a:pt x="14" y="24"/>
                    <a:pt x="14" y="22"/>
                  </a:cubicBezTo>
                  <a:cubicBezTo>
                    <a:pt x="14" y="21"/>
                    <a:pt x="14" y="19"/>
                    <a:pt x="14" y="17"/>
                  </a:cubicBezTo>
                  <a:cubicBezTo>
                    <a:pt x="14" y="15"/>
                    <a:pt x="14" y="13"/>
                    <a:pt x="14" y="11"/>
                  </a:cubicBezTo>
                  <a:cubicBezTo>
                    <a:pt x="14" y="10"/>
                    <a:pt x="14" y="9"/>
                    <a:pt x="14" y="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6" name="Freeform 65"/>
            <p:cNvSpPr>
              <a:spLocks/>
            </p:cNvSpPr>
            <p:nvPr/>
          </p:nvSpPr>
          <p:spPr bwMode="auto">
            <a:xfrm>
              <a:off x="2681288" y="3421063"/>
              <a:ext cx="52388" cy="125413"/>
            </a:xfrm>
            <a:custGeom>
              <a:avLst/>
              <a:gdLst>
                <a:gd name="T0" fmla="*/ 14 w 14"/>
                <a:gd name="T1" fmla="*/ 7 h 33"/>
                <a:gd name="T2" fmla="*/ 13 w 14"/>
                <a:gd name="T3" fmla="*/ 4 h 33"/>
                <a:gd name="T4" fmla="*/ 12 w 14"/>
                <a:gd name="T5" fmla="*/ 2 h 33"/>
                <a:gd name="T6" fmla="*/ 10 w 14"/>
                <a:gd name="T7" fmla="*/ 0 h 33"/>
                <a:gd name="T8" fmla="*/ 7 w 14"/>
                <a:gd name="T9" fmla="*/ 0 h 33"/>
                <a:gd name="T10" fmla="*/ 3 w 14"/>
                <a:gd name="T11" fmla="*/ 1 h 33"/>
                <a:gd name="T12" fmla="*/ 1 w 14"/>
                <a:gd name="T13" fmla="*/ 4 h 33"/>
                <a:gd name="T14" fmla="*/ 0 w 14"/>
                <a:gd name="T15" fmla="*/ 9 h 33"/>
                <a:gd name="T16" fmla="*/ 0 w 14"/>
                <a:gd name="T17" fmla="*/ 16 h 33"/>
                <a:gd name="T18" fmla="*/ 0 w 14"/>
                <a:gd name="T19" fmla="*/ 25 h 33"/>
                <a:gd name="T20" fmla="*/ 1 w 14"/>
                <a:gd name="T21" fmla="*/ 30 h 33"/>
                <a:gd name="T22" fmla="*/ 3 w 14"/>
                <a:gd name="T23" fmla="*/ 32 h 33"/>
                <a:gd name="T24" fmla="*/ 7 w 14"/>
                <a:gd name="T25" fmla="*/ 33 h 33"/>
                <a:gd name="T26" fmla="*/ 9 w 14"/>
                <a:gd name="T27" fmla="*/ 32 h 33"/>
                <a:gd name="T28" fmla="*/ 11 w 14"/>
                <a:gd name="T29" fmla="*/ 31 h 33"/>
                <a:gd name="T30" fmla="*/ 12 w 14"/>
                <a:gd name="T31" fmla="*/ 29 h 33"/>
                <a:gd name="T32" fmla="*/ 13 w 14"/>
                <a:gd name="T33" fmla="*/ 25 h 33"/>
                <a:gd name="T34" fmla="*/ 14 w 14"/>
                <a:gd name="T35" fmla="*/ 22 h 33"/>
                <a:gd name="T36" fmla="*/ 14 w 14"/>
                <a:gd name="T37" fmla="*/ 16 h 33"/>
                <a:gd name="T38" fmla="*/ 14 w 14"/>
                <a:gd name="T39" fmla="*/ 11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6"/>
                    <a:pt x="13" y="4"/>
                    <a:pt x="13" y="4"/>
                  </a:cubicBezTo>
                  <a:cubicBezTo>
                    <a:pt x="12" y="3"/>
                    <a:pt x="12" y="2"/>
                    <a:pt x="12" y="2"/>
                  </a:cubicBezTo>
                  <a:cubicBezTo>
                    <a:pt x="11" y="1"/>
                    <a:pt x="10" y="1"/>
                    <a:pt x="10" y="0"/>
                  </a:cubicBezTo>
                  <a:cubicBezTo>
                    <a:pt x="9" y="0"/>
                    <a:pt x="8" y="0"/>
                    <a:pt x="7" y="0"/>
                  </a:cubicBezTo>
                  <a:cubicBezTo>
                    <a:pt x="6" y="0"/>
                    <a:pt x="5" y="0"/>
                    <a:pt x="3" y="1"/>
                  </a:cubicBezTo>
                  <a:cubicBezTo>
                    <a:pt x="3" y="2"/>
                    <a:pt x="1" y="3"/>
                    <a:pt x="1" y="4"/>
                  </a:cubicBezTo>
                  <a:cubicBezTo>
                    <a:pt x="1" y="6"/>
                    <a:pt x="1" y="8"/>
                    <a:pt x="0" y="9"/>
                  </a:cubicBezTo>
                  <a:cubicBezTo>
                    <a:pt x="0" y="11"/>
                    <a:pt x="0" y="14"/>
                    <a:pt x="0" y="16"/>
                  </a:cubicBezTo>
                  <a:cubicBezTo>
                    <a:pt x="0" y="20"/>
                    <a:pt x="0" y="23"/>
                    <a:pt x="0" y="25"/>
                  </a:cubicBezTo>
                  <a:cubicBezTo>
                    <a:pt x="0" y="27"/>
                    <a:pt x="1" y="29"/>
                    <a:pt x="1" y="30"/>
                  </a:cubicBezTo>
                  <a:cubicBezTo>
                    <a:pt x="2" y="31"/>
                    <a:pt x="3" y="32"/>
                    <a:pt x="3" y="32"/>
                  </a:cubicBezTo>
                  <a:cubicBezTo>
                    <a:pt x="4" y="33"/>
                    <a:pt x="5" y="33"/>
                    <a:pt x="7" y="33"/>
                  </a:cubicBezTo>
                  <a:cubicBezTo>
                    <a:pt x="7" y="33"/>
                    <a:pt x="8" y="33"/>
                    <a:pt x="9" y="32"/>
                  </a:cubicBezTo>
                  <a:cubicBezTo>
                    <a:pt x="10" y="32"/>
                    <a:pt x="10" y="32"/>
                    <a:pt x="11" y="31"/>
                  </a:cubicBezTo>
                  <a:cubicBezTo>
                    <a:pt x="12" y="31"/>
                    <a:pt x="12" y="30"/>
                    <a:pt x="12" y="29"/>
                  </a:cubicBezTo>
                  <a:cubicBezTo>
                    <a:pt x="13" y="28"/>
                    <a:pt x="13" y="27"/>
                    <a:pt x="13" y="25"/>
                  </a:cubicBezTo>
                  <a:cubicBezTo>
                    <a:pt x="13" y="24"/>
                    <a:pt x="14" y="23"/>
                    <a:pt x="14" y="22"/>
                  </a:cubicBezTo>
                  <a:cubicBezTo>
                    <a:pt x="14" y="20"/>
                    <a:pt x="14" y="18"/>
                    <a:pt x="14" y="16"/>
                  </a:cubicBezTo>
                  <a:cubicBezTo>
                    <a:pt x="14" y="15"/>
                    <a:pt x="14" y="12"/>
                    <a:pt x="14" y="11"/>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7" name="Freeform 66"/>
            <p:cNvSpPr>
              <a:spLocks noEditPoints="1"/>
            </p:cNvSpPr>
            <p:nvPr/>
          </p:nvSpPr>
          <p:spPr bwMode="auto">
            <a:xfrm>
              <a:off x="2381250" y="3335338"/>
              <a:ext cx="509588" cy="541338"/>
            </a:xfrm>
            <a:custGeom>
              <a:avLst/>
              <a:gdLst>
                <a:gd name="T0" fmla="*/ 96 w 136"/>
                <a:gd name="T1" fmla="*/ 0 h 144"/>
                <a:gd name="T2" fmla="*/ 0 w 136"/>
                <a:gd name="T3" fmla="*/ 10 h 144"/>
                <a:gd name="T4" fmla="*/ 9 w 136"/>
                <a:gd name="T5" fmla="*/ 144 h 144"/>
                <a:gd name="T6" fmla="*/ 136 w 136"/>
                <a:gd name="T7" fmla="*/ 134 h 144"/>
                <a:gd name="T8" fmla="*/ 110 w 136"/>
                <a:gd name="T9" fmla="*/ 28 h 144"/>
                <a:gd name="T10" fmla="*/ 35 w 136"/>
                <a:gd name="T11" fmla="*/ 25 h 144"/>
                <a:gd name="T12" fmla="*/ 36 w 136"/>
                <a:gd name="T13" fmla="*/ 23 h 144"/>
                <a:gd name="T14" fmla="*/ 47 w 136"/>
                <a:gd name="T15" fmla="*/ 16 h 144"/>
                <a:gd name="T16" fmla="*/ 48 w 136"/>
                <a:gd name="T17" fmla="*/ 16 h 144"/>
                <a:gd name="T18" fmla="*/ 51 w 136"/>
                <a:gd name="T19" fmla="*/ 16 h 144"/>
                <a:gd name="T20" fmla="*/ 55 w 136"/>
                <a:gd name="T21" fmla="*/ 16 h 144"/>
                <a:gd name="T22" fmla="*/ 55 w 136"/>
                <a:gd name="T23" fmla="*/ 18 h 144"/>
                <a:gd name="T24" fmla="*/ 63 w 136"/>
                <a:gd name="T25" fmla="*/ 57 h 144"/>
                <a:gd name="T26" fmla="*/ 64 w 136"/>
                <a:gd name="T27" fmla="*/ 57 h 144"/>
                <a:gd name="T28" fmla="*/ 64 w 136"/>
                <a:gd name="T29" fmla="*/ 61 h 144"/>
                <a:gd name="T30" fmla="*/ 64 w 136"/>
                <a:gd name="T31" fmla="*/ 64 h 144"/>
                <a:gd name="T32" fmla="*/ 63 w 136"/>
                <a:gd name="T33" fmla="*/ 64 h 144"/>
                <a:gd name="T34" fmla="*/ 36 w 136"/>
                <a:gd name="T35" fmla="*/ 64 h 144"/>
                <a:gd name="T36" fmla="*/ 35 w 136"/>
                <a:gd name="T37" fmla="*/ 63 h 144"/>
                <a:gd name="T38" fmla="*/ 35 w 136"/>
                <a:gd name="T39" fmla="*/ 59 h 144"/>
                <a:gd name="T40" fmla="*/ 36 w 136"/>
                <a:gd name="T41" fmla="*/ 57 h 144"/>
                <a:gd name="T42" fmla="*/ 46 w 136"/>
                <a:gd name="T43" fmla="*/ 57 h 144"/>
                <a:gd name="T44" fmla="*/ 38 w 136"/>
                <a:gd name="T45" fmla="*/ 31 h 144"/>
                <a:gd name="T46" fmla="*/ 36 w 136"/>
                <a:gd name="T47" fmla="*/ 31 h 144"/>
                <a:gd name="T48" fmla="*/ 35 w 136"/>
                <a:gd name="T49" fmla="*/ 28 h 144"/>
                <a:gd name="T50" fmla="*/ 65 w 136"/>
                <a:gd name="T51" fmla="*/ 114 h 144"/>
                <a:gd name="T52" fmla="*/ 56 w 136"/>
                <a:gd name="T53" fmla="*/ 127 h 144"/>
                <a:gd name="T54" fmla="*/ 40 w 136"/>
                <a:gd name="T55" fmla="*/ 127 h 144"/>
                <a:gd name="T56" fmla="*/ 32 w 136"/>
                <a:gd name="T57" fmla="*/ 115 h 144"/>
                <a:gd name="T58" fmla="*/ 32 w 136"/>
                <a:gd name="T59" fmla="*/ 95 h 144"/>
                <a:gd name="T60" fmla="*/ 40 w 136"/>
                <a:gd name="T61" fmla="*/ 82 h 144"/>
                <a:gd name="T62" fmla="*/ 57 w 136"/>
                <a:gd name="T63" fmla="*/ 82 h 144"/>
                <a:gd name="T64" fmla="*/ 65 w 136"/>
                <a:gd name="T65" fmla="*/ 94 h 144"/>
                <a:gd name="T66" fmla="*/ 65 w 136"/>
                <a:gd name="T67" fmla="*/ 114 h 144"/>
                <a:gd name="T68" fmla="*/ 102 w 136"/>
                <a:gd name="T69" fmla="*/ 127 h 144"/>
                <a:gd name="T70" fmla="*/ 101 w 136"/>
                <a:gd name="T71" fmla="*/ 128 h 144"/>
                <a:gd name="T72" fmla="*/ 74 w 136"/>
                <a:gd name="T73" fmla="*/ 128 h 144"/>
                <a:gd name="T74" fmla="*/ 73 w 136"/>
                <a:gd name="T75" fmla="*/ 126 h 144"/>
                <a:gd name="T76" fmla="*/ 73 w 136"/>
                <a:gd name="T77" fmla="*/ 122 h 144"/>
                <a:gd name="T78" fmla="*/ 74 w 136"/>
                <a:gd name="T79" fmla="*/ 120 h 144"/>
                <a:gd name="T80" fmla="*/ 83 w 136"/>
                <a:gd name="T81" fmla="*/ 120 h 144"/>
                <a:gd name="T82" fmla="*/ 76 w 136"/>
                <a:gd name="T83" fmla="*/ 94 h 144"/>
                <a:gd name="T84" fmla="*/ 74 w 136"/>
                <a:gd name="T85" fmla="*/ 95 h 144"/>
                <a:gd name="T86" fmla="*/ 73 w 136"/>
                <a:gd name="T87" fmla="*/ 91 h 144"/>
                <a:gd name="T88" fmla="*/ 73 w 136"/>
                <a:gd name="T89" fmla="*/ 89 h 144"/>
                <a:gd name="T90" fmla="*/ 74 w 136"/>
                <a:gd name="T91" fmla="*/ 87 h 144"/>
                <a:gd name="T92" fmla="*/ 85 w 136"/>
                <a:gd name="T93" fmla="*/ 81 h 144"/>
                <a:gd name="T94" fmla="*/ 87 w 136"/>
                <a:gd name="T95" fmla="*/ 81 h 144"/>
                <a:gd name="T96" fmla="*/ 91 w 136"/>
                <a:gd name="T97" fmla="*/ 81 h 144"/>
                <a:gd name="T98" fmla="*/ 93 w 136"/>
                <a:gd name="T99" fmla="*/ 82 h 144"/>
                <a:gd name="T100" fmla="*/ 93 w 136"/>
                <a:gd name="T101" fmla="*/ 121 h 144"/>
                <a:gd name="T102" fmla="*/ 101 w 136"/>
                <a:gd name="T103" fmla="*/ 121 h 144"/>
                <a:gd name="T104" fmla="*/ 102 w 136"/>
                <a:gd name="T105" fmla="*/ 123 h 144"/>
                <a:gd name="T106" fmla="*/ 102 w 136"/>
                <a:gd name="T107" fmla="*/ 126 h 144"/>
                <a:gd name="T108" fmla="*/ 99 w 136"/>
                <a:gd name="T109" fmla="*/ 57 h 144"/>
                <a:gd name="T110" fmla="*/ 86 w 136"/>
                <a:gd name="T111" fmla="*/ 64 h 144"/>
                <a:gd name="T112" fmla="*/ 72 w 136"/>
                <a:gd name="T113" fmla="*/ 58 h 144"/>
                <a:gd name="T114" fmla="*/ 69 w 136"/>
                <a:gd name="T115" fmla="*/ 40 h 144"/>
                <a:gd name="T116" fmla="*/ 73 w 136"/>
                <a:gd name="T117" fmla="*/ 22 h 144"/>
                <a:gd name="T118" fmla="*/ 87 w 136"/>
                <a:gd name="T119" fmla="*/ 15 h 144"/>
                <a:gd name="T120" fmla="*/ 100 w 136"/>
                <a:gd name="T121" fmla="*/ 22 h 144"/>
                <a:gd name="T122" fmla="*/ 103 w 136"/>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44">
                  <a:moveTo>
                    <a:pt x="110" y="0"/>
                  </a:moveTo>
                  <a:cubicBezTo>
                    <a:pt x="106" y="0"/>
                    <a:pt x="101" y="0"/>
                    <a:pt x="96" y="0"/>
                  </a:cubicBezTo>
                  <a:cubicBezTo>
                    <a:pt x="9" y="0"/>
                    <a:pt x="9" y="0"/>
                    <a:pt x="9" y="0"/>
                  </a:cubicBezTo>
                  <a:cubicBezTo>
                    <a:pt x="4" y="0"/>
                    <a:pt x="0" y="5"/>
                    <a:pt x="0" y="10"/>
                  </a:cubicBezTo>
                  <a:cubicBezTo>
                    <a:pt x="0" y="134"/>
                    <a:pt x="0" y="134"/>
                    <a:pt x="0" y="134"/>
                  </a:cubicBezTo>
                  <a:cubicBezTo>
                    <a:pt x="0" y="139"/>
                    <a:pt x="4" y="144"/>
                    <a:pt x="9" y="144"/>
                  </a:cubicBezTo>
                  <a:cubicBezTo>
                    <a:pt x="127" y="144"/>
                    <a:pt x="127" y="144"/>
                    <a:pt x="127" y="144"/>
                  </a:cubicBezTo>
                  <a:cubicBezTo>
                    <a:pt x="132" y="144"/>
                    <a:pt x="136" y="139"/>
                    <a:pt x="136" y="134"/>
                  </a:cubicBezTo>
                  <a:cubicBezTo>
                    <a:pt x="136" y="28"/>
                    <a:pt x="136" y="28"/>
                    <a:pt x="136" y="28"/>
                  </a:cubicBezTo>
                  <a:cubicBezTo>
                    <a:pt x="110" y="28"/>
                    <a:pt x="110" y="28"/>
                    <a:pt x="110" y="28"/>
                  </a:cubicBezTo>
                  <a:cubicBezTo>
                    <a:pt x="110" y="0"/>
                    <a:pt x="110" y="0"/>
                    <a:pt x="110" y="0"/>
                  </a:cubicBezTo>
                  <a:close/>
                  <a:moveTo>
                    <a:pt x="35" y="25"/>
                  </a:moveTo>
                  <a:cubicBezTo>
                    <a:pt x="35" y="25"/>
                    <a:pt x="35" y="25"/>
                    <a:pt x="35" y="24"/>
                  </a:cubicBezTo>
                  <a:cubicBezTo>
                    <a:pt x="35" y="24"/>
                    <a:pt x="35" y="23"/>
                    <a:pt x="36" y="23"/>
                  </a:cubicBezTo>
                  <a:cubicBezTo>
                    <a:pt x="37" y="23"/>
                    <a:pt x="37" y="23"/>
                    <a:pt x="37" y="23"/>
                  </a:cubicBezTo>
                  <a:cubicBezTo>
                    <a:pt x="47" y="16"/>
                    <a:pt x="47" y="16"/>
                    <a:pt x="47" y="16"/>
                  </a:cubicBezTo>
                  <a:cubicBezTo>
                    <a:pt x="47" y="16"/>
                    <a:pt x="47" y="16"/>
                    <a:pt x="48" y="16"/>
                  </a:cubicBezTo>
                  <a:cubicBezTo>
                    <a:pt x="48" y="16"/>
                    <a:pt x="48" y="16"/>
                    <a:pt x="48" y="16"/>
                  </a:cubicBezTo>
                  <a:cubicBezTo>
                    <a:pt x="48" y="16"/>
                    <a:pt x="49" y="16"/>
                    <a:pt x="49" y="16"/>
                  </a:cubicBezTo>
                  <a:cubicBezTo>
                    <a:pt x="50" y="16"/>
                    <a:pt x="51" y="16"/>
                    <a:pt x="51" y="16"/>
                  </a:cubicBezTo>
                  <a:cubicBezTo>
                    <a:pt x="52" y="16"/>
                    <a:pt x="53" y="16"/>
                    <a:pt x="53" y="16"/>
                  </a:cubicBezTo>
                  <a:cubicBezTo>
                    <a:pt x="54" y="16"/>
                    <a:pt x="55" y="16"/>
                    <a:pt x="55" y="16"/>
                  </a:cubicBezTo>
                  <a:cubicBezTo>
                    <a:pt x="55" y="16"/>
                    <a:pt x="55" y="16"/>
                    <a:pt x="55" y="17"/>
                  </a:cubicBezTo>
                  <a:cubicBezTo>
                    <a:pt x="55" y="18"/>
                    <a:pt x="55" y="18"/>
                    <a:pt x="55" y="18"/>
                  </a:cubicBezTo>
                  <a:cubicBezTo>
                    <a:pt x="55" y="57"/>
                    <a:pt x="55" y="57"/>
                    <a:pt x="55" y="57"/>
                  </a:cubicBezTo>
                  <a:cubicBezTo>
                    <a:pt x="63" y="57"/>
                    <a:pt x="63" y="57"/>
                    <a:pt x="63" y="57"/>
                  </a:cubicBezTo>
                  <a:cubicBezTo>
                    <a:pt x="64" y="57"/>
                    <a:pt x="64" y="57"/>
                    <a:pt x="64" y="57"/>
                  </a:cubicBezTo>
                  <a:cubicBezTo>
                    <a:pt x="64" y="57"/>
                    <a:pt x="64" y="57"/>
                    <a:pt x="64" y="57"/>
                  </a:cubicBezTo>
                  <a:cubicBezTo>
                    <a:pt x="64" y="57"/>
                    <a:pt x="64" y="58"/>
                    <a:pt x="64" y="59"/>
                  </a:cubicBezTo>
                  <a:cubicBezTo>
                    <a:pt x="64" y="59"/>
                    <a:pt x="64" y="60"/>
                    <a:pt x="64" y="61"/>
                  </a:cubicBezTo>
                  <a:cubicBezTo>
                    <a:pt x="64" y="61"/>
                    <a:pt x="64" y="62"/>
                    <a:pt x="64" y="63"/>
                  </a:cubicBezTo>
                  <a:cubicBezTo>
                    <a:pt x="64" y="63"/>
                    <a:pt x="64" y="63"/>
                    <a:pt x="64" y="64"/>
                  </a:cubicBezTo>
                  <a:cubicBezTo>
                    <a:pt x="64" y="64"/>
                    <a:pt x="64" y="64"/>
                    <a:pt x="64" y="64"/>
                  </a:cubicBezTo>
                  <a:cubicBezTo>
                    <a:pt x="63" y="64"/>
                    <a:pt x="63" y="64"/>
                    <a:pt x="63" y="64"/>
                  </a:cubicBezTo>
                  <a:cubicBezTo>
                    <a:pt x="37" y="64"/>
                    <a:pt x="37" y="64"/>
                    <a:pt x="37" y="64"/>
                  </a:cubicBezTo>
                  <a:cubicBezTo>
                    <a:pt x="36" y="64"/>
                    <a:pt x="36" y="64"/>
                    <a:pt x="36" y="64"/>
                  </a:cubicBezTo>
                  <a:cubicBezTo>
                    <a:pt x="35" y="64"/>
                    <a:pt x="35" y="64"/>
                    <a:pt x="35" y="64"/>
                  </a:cubicBezTo>
                  <a:cubicBezTo>
                    <a:pt x="35" y="64"/>
                    <a:pt x="35" y="63"/>
                    <a:pt x="35" y="63"/>
                  </a:cubicBezTo>
                  <a:cubicBezTo>
                    <a:pt x="35" y="62"/>
                    <a:pt x="35" y="61"/>
                    <a:pt x="35" y="61"/>
                  </a:cubicBezTo>
                  <a:cubicBezTo>
                    <a:pt x="35" y="60"/>
                    <a:pt x="35" y="59"/>
                    <a:pt x="35" y="59"/>
                  </a:cubicBezTo>
                  <a:cubicBezTo>
                    <a:pt x="35" y="58"/>
                    <a:pt x="35" y="58"/>
                    <a:pt x="35" y="57"/>
                  </a:cubicBezTo>
                  <a:cubicBezTo>
                    <a:pt x="35" y="57"/>
                    <a:pt x="35" y="57"/>
                    <a:pt x="36" y="57"/>
                  </a:cubicBezTo>
                  <a:cubicBezTo>
                    <a:pt x="37" y="57"/>
                    <a:pt x="37" y="57"/>
                    <a:pt x="37" y="57"/>
                  </a:cubicBezTo>
                  <a:cubicBezTo>
                    <a:pt x="46" y="57"/>
                    <a:pt x="46" y="57"/>
                    <a:pt x="46" y="57"/>
                  </a:cubicBezTo>
                  <a:cubicBezTo>
                    <a:pt x="46" y="26"/>
                    <a:pt x="46" y="26"/>
                    <a:pt x="46" y="26"/>
                  </a:cubicBezTo>
                  <a:cubicBezTo>
                    <a:pt x="38" y="31"/>
                    <a:pt x="38" y="31"/>
                    <a:pt x="38" y="31"/>
                  </a:cubicBezTo>
                  <a:cubicBezTo>
                    <a:pt x="37" y="31"/>
                    <a:pt x="37" y="31"/>
                    <a:pt x="37" y="31"/>
                  </a:cubicBezTo>
                  <a:cubicBezTo>
                    <a:pt x="36" y="31"/>
                    <a:pt x="36" y="31"/>
                    <a:pt x="36" y="31"/>
                  </a:cubicBezTo>
                  <a:cubicBezTo>
                    <a:pt x="36" y="31"/>
                    <a:pt x="35" y="31"/>
                    <a:pt x="35" y="30"/>
                  </a:cubicBezTo>
                  <a:cubicBezTo>
                    <a:pt x="35" y="29"/>
                    <a:pt x="35" y="29"/>
                    <a:pt x="35" y="28"/>
                  </a:cubicBezTo>
                  <a:cubicBezTo>
                    <a:pt x="35" y="26"/>
                    <a:pt x="35" y="25"/>
                    <a:pt x="35" y="25"/>
                  </a:cubicBezTo>
                  <a:close/>
                  <a:moveTo>
                    <a:pt x="65" y="114"/>
                  </a:moveTo>
                  <a:cubicBezTo>
                    <a:pt x="64" y="118"/>
                    <a:pt x="64" y="120"/>
                    <a:pt x="62" y="122"/>
                  </a:cubicBezTo>
                  <a:cubicBezTo>
                    <a:pt x="60" y="124"/>
                    <a:pt x="58" y="126"/>
                    <a:pt x="56" y="127"/>
                  </a:cubicBezTo>
                  <a:cubicBezTo>
                    <a:pt x="55" y="128"/>
                    <a:pt x="51" y="129"/>
                    <a:pt x="48" y="129"/>
                  </a:cubicBezTo>
                  <a:cubicBezTo>
                    <a:pt x="45" y="129"/>
                    <a:pt x="42" y="128"/>
                    <a:pt x="40" y="127"/>
                  </a:cubicBezTo>
                  <a:cubicBezTo>
                    <a:pt x="38" y="126"/>
                    <a:pt x="36" y="125"/>
                    <a:pt x="35" y="123"/>
                  </a:cubicBezTo>
                  <a:cubicBezTo>
                    <a:pt x="33" y="121"/>
                    <a:pt x="33" y="118"/>
                    <a:pt x="32" y="115"/>
                  </a:cubicBezTo>
                  <a:cubicBezTo>
                    <a:pt x="32" y="112"/>
                    <a:pt x="32" y="109"/>
                    <a:pt x="32" y="105"/>
                  </a:cubicBezTo>
                  <a:cubicBezTo>
                    <a:pt x="32" y="101"/>
                    <a:pt x="32" y="98"/>
                    <a:pt x="32" y="95"/>
                  </a:cubicBezTo>
                  <a:cubicBezTo>
                    <a:pt x="33" y="91"/>
                    <a:pt x="34" y="89"/>
                    <a:pt x="35" y="87"/>
                  </a:cubicBezTo>
                  <a:cubicBezTo>
                    <a:pt x="37" y="85"/>
                    <a:pt x="39" y="83"/>
                    <a:pt x="40" y="82"/>
                  </a:cubicBezTo>
                  <a:cubicBezTo>
                    <a:pt x="42" y="80"/>
                    <a:pt x="46" y="80"/>
                    <a:pt x="49" y="80"/>
                  </a:cubicBezTo>
                  <a:cubicBezTo>
                    <a:pt x="52" y="80"/>
                    <a:pt x="55" y="80"/>
                    <a:pt x="57" y="82"/>
                  </a:cubicBezTo>
                  <a:cubicBezTo>
                    <a:pt x="59" y="83"/>
                    <a:pt x="61" y="84"/>
                    <a:pt x="62" y="86"/>
                  </a:cubicBezTo>
                  <a:cubicBezTo>
                    <a:pt x="64" y="88"/>
                    <a:pt x="64" y="91"/>
                    <a:pt x="65" y="94"/>
                  </a:cubicBezTo>
                  <a:cubicBezTo>
                    <a:pt x="65" y="97"/>
                    <a:pt x="65" y="100"/>
                    <a:pt x="65" y="104"/>
                  </a:cubicBezTo>
                  <a:cubicBezTo>
                    <a:pt x="66" y="108"/>
                    <a:pt x="65" y="111"/>
                    <a:pt x="65" y="114"/>
                  </a:cubicBezTo>
                  <a:close/>
                  <a:moveTo>
                    <a:pt x="102" y="126"/>
                  </a:moveTo>
                  <a:cubicBezTo>
                    <a:pt x="102" y="127"/>
                    <a:pt x="102" y="127"/>
                    <a:pt x="102" y="127"/>
                  </a:cubicBezTo>
                  <a:cubicBezTo>
                    <a:pt x="102" y="127"/>
                    <a:pt x="102" y="128"/>
                    <a:pt x="101" y="128"/>
                  </a:cubicBezTo>
                  <a:cubicBezTo>
                    <a:pt x="101" y="128"/>
                    <a:pt x="101" y="128"/>
                    <a:pt x="101" y="128"/>
                  </a:cubicBezTo>
                  <a:cubicBezTo>
                    <a:pt x="74" y="128"/>
                    <a:pt x="74" y="128"/>
                    <a:pt x="74" y="128"/>
                  </a:cubicBezTo>
                  <a:cubicBezTo>
                    <a:pt x="74" y="128"/>
                    <a:pt x="74" y="128"/>
                    <a:pt x="74" y="128"/>
                  </a:cubicBezTo>
                  <a:cubicBezTo>
                    <a:pt x="73" y="127"/>
                    <a:pt x="73" y="127"/>
                    <a:pt x="73" y="127"/>
                  </a:cubicBezTo>
                  <a:cubicBezTo>
                    <a:pt x="73" y="127"/>
                    <a:pt x="73" y="127"/>
                    <a:pt x="73" y="126"/>
                  </a:cubicBezTo>
                  <a:cubicBezTo>
                    <a:pt x="73" y="125"/>
                    <a:pt x="73" y="125"/>
                    <a:pt x="73" y="124"/>
                  </a:cubicBezTo>
                  <a:cubicBezTo>
                    <a:pt x="73" y="123"/>
                    <a:pt x="73" y="123"/>
                    <a:pt x="73" y="122"/>
                  </a:cubicBezTo>
                  <a:cubicBezTo>
                    <a:pt x="73" y="121"/>
                    <a:pt x="73" y="121"/>
                    <a:pt x="73" y="121"/>
                  </a:cubicBezTo>
                  <a:cubicBezTo>
                    <a:pt x="73" y="121"/>
                    <a:pt x="73" y="120"/>
                    <a:pt x="74" y="120"/>
                  </a:cubicBezTo>
                  <a:cubicBezTo>
                    <a:pt x="74" y="120"/>
                    <a:pt x="74" y="120"/>
                    <a:pt x="74" y="120"/>
                  </a:cubicBezTo>
                  <a:cubicBezTo>
                    <a:pt x="83" y="120"/>
                    <a:pt x="83" y="120"/>
                    <a:pt x="83" y="120"/>
                  </a:cubicBezTo>
                  <a:cubicBezTo>
                    <a:pt x="83" y="89"/>
                    <a:pt x="83" y="89"/>
                    <a:pt x="83" y="89"/>
                  </a:cubicBezTo>
                  <a:cubicBezTo>
                    <a:pt x="76" y="94"/>
                    <a:pt x="76" y="94"/>
                    <a:pt x="76" y="94"/>
                  </a:cubicBezTo>
                  <a:cubicBezTo>
                    <a:pt x="75" y="94"/>
                    <a:pt x="74" y="95"/>
                    <a:pt x="74" y="95"/>
                  </a:cubicBezTo>
                  <a:cubicBezTo>
                    <a:pt x="74" y="95"/>
                    <a:pt x="74" y="95"/>
                    <a:pt x="74" y="95"/>
                  </a:cubicBezTo>
                  <a:cubicBezTo>
                    <a:pt x="74" y="95"/>
                    <a:pt x="73" y="94"/>
                    <a:pt x="73" y="93"/>
                  </a:cubicBezTo>
                  <a:cubicBezTo>
                    <a:pt x="73" y="93"/>
                    <a:pt x="73" y="92"/>
                    <a:pt x="73" y="91"/>
                  </a:cubicBezTo>
                  <a:cubicBezTo>
                    <a:pt x="73" y="91"/>
                    <a:pt x="73" y="90"/>
                    <a:pt x="73" y="90"/>
                  </a:cubicBezTo>
                  <a:cubicBezTo>
                    <a:pt x="73" y="89"/>
                    <a:pt x="73" y="89"/>
                    <a:pt x="73" y="89"/>
                  </a:cubicBezTo>
                  <a:cubicBezTo>
                    <a:pt x="73" y="89"/>
                    <a:pt x="73" y="88"/>
                    <a:pt x="74" y="88"/>
                  </a:cubicBezTo>
                  <a:cubicBezTo>
                    <a:pt x="74" y="87"/>
                    <a:pt x="74" y="87"/>
                    <a:pt x="74" y="87"/>
                  </a:cubicBezTo>
                  <a:cubicBezTo>
                    <a:pt x="85" y="81"/>
                    <a:pt x="85" y="81"/>
                    <a:pt x="85" y="81"/>
                  </a:cubicBezTo>
                  <a:cubicBezTo>
                    <a:pt x="85" y="81"/>
                    <a:pt x="85" y="81"/>
                    <a:pt x="85" y="81"/>
                  </a:cubicBezTo>
                  <a:cubicBezTo>
                    <a:pt x="86" y="81"/>
                    <a:pt x="86" y="81"/>
                    <a:pt x="86" y="81"/>
                  </a:cubicBezTo>
                  <a:cubicBezTo>
                    <a:pt x="86" y="81"/>
                    <a:pt x="87" y="81"/>
                    <a:pt x="87" y="81"/>
                  </a:cubicBezTo>
                  <a:cubicBezTo>
                    <a:pt x="88" y="81"/>
                    <a:pt x="88" y="81"/>
                    <a:pt x="89" y="81"/>
                  </a:cubicBezTo>
                  <a:cubicBezTo>
                    <a:pt x="90" y="81"/>
                    <a:pt x="91" y="81"/>
                    <a:pt x="91" y="81"/>
                  </a:cubicBezTo>
                  <a:cubicBezTo>
                    <a:pt x="92" y="81"/>
                    <a:pt x="92" y="81"/>
                    <a:pt x="92" y="81"/>
                  </a:cubicBezTo>
                  <a:cubicBezTo>
                    <a:pt x="92" y="81"/>
                    <a:pt x="93" y="81"/>
                    <a:pt x="93" y="82"/>
                  </a:cubicBezTo>
                  <a:cubicBezTo>
                    <a:pt x="93" y="82"/>
                    <a:pt x="93" y="82"/>
                    <a:pt x="93" y="82"/>
                  </a:cubicBezTo>
                  <a:cubicBezTo>
                    <a:pt x="93" y="121"/>
                    <a:pt x="93" y="121"/>
                    <a:pt x="93" y="121"/>
                  </a:cubicBezTo>
                  <a:cubicBezTo>
                    <a:pt x="101" y="121"/>
                    <a:pt x="101" y="121"/>
                    <a:pt x="101" y="121"/>
                  </a:cubicBezTo>
                  <a:cubicBezTo>
                    <a:pt x="101" y="121"/>
                    <a:pt x="101" y="121"/>
                    <a:pt x="101" y="121"/>
                  </a:cubicBezTo>
                  <a:cubicBezTo>
                    <a:pt x="102" y="122"/>
                    <a:pt x="102" y="122"/>
                    <a:pt x="102" y="122"/>
                  </a:cubicBezTo>
                  <a:cubicBezTo>
                    <a:pt x="102" y="122"/>
                    <a:pt x="102" y="123"/>
                    <a:pt x="102" y="123"/>
                  </a:cubicBezTo>
                  <a:cubicBezTo>
                    <a:pt x="102" y="124"/>
                    <a:pt x="102" y="125"/>
                    <a:pt x="102" y="125"/>
                  </a:cubicBezTo>
                  <a:cubicBezTo>
                    <a:pt x="103" y="125"/>
                    <a:pt x="103" y="126"/>
                    <a:pt x="102" y="126"/>
                  </a:cubicBezTo>
                  <a:close/>
                  <a:moveTo>
                    <a:pt x="103" y="50"/>
                  </a:moveTo>
                  <a:cubicBezTo>
                    <a:pt x="102" y="53"/>
                    <a:pt x="101" y="55"/>
                    <a:pt x="99" y="57"/>
                  </a:cubicBezTo>
                  <a:cubicBezTo>
                    <a:pt x="98" y="59"/>
                    <a:pt x="96" y="61"/>
                    <a:pt x="94" y="63"/>
                  </a:cubicBezTo>
                  <a:cubicBezTo>
                    <a:pt x="92" y="64"/>
                    <a:pt x="89" y="64"/>
                    <a:pt x="86" y="64"/>
                  </a:cubicBezTo>
                  <a:cubicBezTo>
                    <a:pt x="83" y="64"/>
                    <a:pt x="80" y="64"/>
                    <a:pt x="78" y="63"/>
                  </a:cubicBezTo>
                  <a:cubicBezTo>
                    <a:pt x="76" y="61"/>
                    <a:pt x="74" y="60"/>
                    <a:pt x="72" y="58"/>
                  </a:cubicBezTo>
                  <a:cubicBezTo>
                    <a:pt x="71" y="56"/>
                    <a:pt x="71" y="54"/>
                    <a:pt x="70" y="50"/>
                  </a:cubicBezTo>
                  <a:cubicBezTo>
                    <a:pt x="69" y="47"/>
                    <a:pt x="69" y="44"/>
                    <a:pt x="69" y="40"/>
                  </a:cubicBezTo>
                  <a:cubicBezTo>
                    <a:pt x="69" y="36"/>
                    <a:pt x="69" y="33"/>
                    <a:pt x="70" y="30"/>
                  </a:cubicBezTo>
                  <a:cubicBezTo>
                    <a:pt x="71" y="27"/>
                    <a:pt x="72" y="24"/>
                    <a:pt x="73" y="22"/>
                  </a:cubicBezTo>
                  <a:cubicBezTo>
                    <a:pt x="74" y="20"/>
                    <a:pt x="76" y="18"/>
                    <a:pt x="78" y="17"/>
                  </a:cubicBezTo>
                  <a:cubicBezTo>
                    <a:pt x="80" y="16"/>
                    <a:pt x="83" y="15"/>
                    <a:pt x="87" y="15"/>
                  </a:cubicBezTo>
                  <a:cubicBezTo>
                    <a:pt x="90" y="15"/>
                    <a:pt x="92" y="16"/>
                    <a:pt x="95" y="17"/>
                  </a:cubicBezTo>
                  <a:cubicBezTo>
                    <a:pt x="97" y="18"/>
                    <a:pt x="99" y="20"/>
                    <a:pt x="100" y="22"/>
                  </a:cubicBezTo>
                  <a:cubicBezTo>
                    <a:pt x="101" y="23"/>
                    <a:pt x="102" y="26"/>
                    <a:pt x="103" y="29"/>
                  </a:cubicBezTo>
                  <a:cubicBezTo>
                    <a:pt x="103" y="32"/>
                    <a:pt x="103" y="36"/>
                    <a:pt x="103" y="39"/>
                  </a:cubicBezTo>
                  <a:cubicBezTo>
                    <a:pt x="104" y="43"/>
                    <a:pt x="103" y="47"/>
                    <a:pt x="103" y="5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8" name="Freeform 67"/>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 name="Freeform 68"/>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 name="Freeform 69"/>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 name="Freeform 70"/>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 name="Freeform 71"/>
            <p:cNvSpPr>
              <a:spLocks/>
            </p:cNvSpPr>
            <p:nvPr/>
          </p:nvSpPr>
          <p:spPr bwMode="auto">
            <a:xfrm>
              <a:off x="2497138" y="2297113"/>
              <a:ext cx="239713" cy="28575"/>
            </a:xfrm>
            <a:custGeom>
              <a:avLst/>
              <a:gdLst>
                <a:gd name="T0" fmla="*/ 64 w 64"/>
                <a:gd name="T1" fmla="*/ 4 h 8"/>
                <a:gd name="T2" fmla="*/ 60 w 64"/>
                <a:gd name="T3" fmla="*/ 8 h 8"/>
                <a:gd name="T4" fmla="*/ 4 w 64"/>
                <a:gd name="T5" fmla="*/ 8 h 8"/>
                <a:gd name="T6" fmla="*/ 0 w 64"/>
                <a:gd name="T7" fmla="*/ 4 h 8"/>
                <a:gd name="T8" fmla="*/ 4 w 64"/>
                <a:gd name="T9" fmla="*/ 0 h 8"/>
                <a:gd name="T10" fmla="*/ 60 w 64"/>
                <a:gd name="T11" fmla="*/ 0 h 8"/>
                <a:gd name="T12" fmla="*/ 64 w 64"/>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64" h="8">
                  <a:moveTo>
                    <a:pt x="64" y="4"/>
                  </a:moveTo>
                  <a:cubicBezTo>
                    <a:pt x="64" y="7"/>
                    <a:pt x="62" y="8"/>
                    <a:pt x="60" y="8"/>
                  </a:cubicBezTo>
                  <a:cubicBezTo>
                    <a:pt x="4" y="8"/>
                    <a:pt x="4" y="8"/>
                    <a:pt x="4" y="8"/>
                  </a:cubicBezTo>
                  <a:cubicBezTo>
                    <a:pt x="2" y="8"/>
                    <a:pt x="0" y="7"/>
                    <a:pt x="0" y="4"/>
                  </a:cubicBezTo>
                  <a:cubicBezTo>
                    <a:pt x="0" y="2"/>
                    <a:pt x="2" y="0"/>
                    <a:pt x="4" y="0"/>
                  </a:cubicBezTo>
                  <a:cubicBezTo>
                    <a:pt x="60" y="0"/>
                    <a:pt x="60" y="0"/>
                    <a:pt x="60" y="0"/>
                  </a:cubicBezTo>
                  <a:cubicBezTo>
                    <a:pt x="62" y="0"/>
                    <a:pt x="64" y="2"/>
                    <a:pt x="64"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 name="Freeform 72"/>
            <p:cNvSpPr>
              <a:spLocks/>
            </p:cNvSpPr>
            <p:nvPr/>
          </p:nvSpPr>
          <p:spPr bwMode="auto">
            <a:xfrm>
              <a:off x="2497138" y="2146300"/>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 name="Freeform 73"/>
            <p:cNvSpPr>
              <a:spLocks/>
            </p:cNvSpPr>
            <p:nvPr/>
          </p:nvSpPr>
          <p:spPr bwMode="auto">
            <a:xfrm>
              <a:off x="2497138" y="2220913"/>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 name="Freeform 74"/>
            <p:cNvSpPr>
              <a:spLocks/>
            </p:cNvSpPr>
            <p:nvPr/>
          </p:nvSpPr>
          <p:spPr bwMode="auto">
            <a:xfrm>
              <a:off x="2497138" y="2066925"/>
              <a:ext cx="280988" cy="33338"/>
            </a:xfrm>
            <a:custGeom>
              <a:avLst/>
              <a:gdLst>
                <a:gd name="T0" fmla="*/ 75 w 75"/>
                <a:gd name="T1" fmla="*/ 4 h 9"/>
                <a:gd name="T2" fmla="*/ 71 w 75"/>
                <a:gd name="T3" fmla="*/ 9 h 9"/>
                <a:gd name="T4" fmla="*/ 4 w 75"/>
                <a:gd name="T5" fmla="*/ 9 h 9"/>
                <a:gd name="T6" fmla="*/ 0 w 75"/>
                <a:gd name="T7" fmla="*/ 4 h 9"/>
                <a:gd name="T8" fmla="*/ 4 w 75"/>
                <a:gd name="T9" fmla="*/ 0 h 9"/>
                <a:gd name="T10" fmla="*/ 71 w 75"/>
                <a:gd name="T11" fmla="*/ 0 h 9"/>
                <a:gd name="T12" fmla="*/ 75 w 75"/>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75" h="9">
                  <a:moveTo>
                    <a:pt x="75" y="4"/>
                  </a:moveTo>
                  <a:cubicBezTo>
                    <a:pt x="75" y="7"/>
                    <a:pt x="73" y="9"/>
                    <a:pt x="71" y="9"/>
                  </a:cubicBezTo>
                  <a:cubicBezTo>
                    <a:pt x="4" y="9"/>
                    <a:pt x="4" y="9"/>
                    <a:pt x="4" y="9"/>
                  </a:cubicBezTo>
                  <a:cubicBezTo>
                    <a:pt x="2" y="9"/>
                    <a:pt x="0" y="7"/>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3" name="Group 2"/>
          <p:cNvGrpSpPr/>
          <p:nvPr/>
        </p:nvGrpSpPr>
        <p:grpSpPr>
          <a:xfrm>
            <a:off x="3927475" y="2759075"/>
            <a:ext cx="3913188" cy="2020888"/>
            <a:chOff x="3927475" y="2759075"/>
            <a:chExt cx="3913188" cy="2020888"/>
          </a:xfrm>
        </p:grpSpPr>
        <p:sp>
          <p:nvSpPr>
            <p:cNvPr id="18" name="Freeform 17"/>
            <p:cNvSpPr>
              <a:spLocks noEditPoints="1"/>
            </p:cNvSpPr>
            <p:nvPr/>
          </p:nvSpPr>
          <p:spPr bwMode="auto">
            <a:xfrm>
              <a:off x="5346700"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Freeform 18"/>
            <p:cNvSpPr>
              <a:spLocks/>
            </p:cNvSpPr>
            <p:nvPr/>
          </p:nvSpPr>
          <p:spPr bwMode="auto">
            <a:xfrm>
              <a:off x="562133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Freeform 21"/>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22"/>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Rectangle 23"/>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Rectangle 24"/>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Rectangle 25"/>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Rectangle 26"/>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 name="Rectangle 27"/>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 name="Rectangle 28"/>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 name="Rectangle 29"/>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Rectangle 30"/>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Rectangle 31"/>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 name="Rectangle 32"/>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 name="Rectangle 33"/>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 name="Rectangle 34"/>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 name="Rectangle 35"/>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 name="Rectangle 36"/>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 name="Rectangle 37"/>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 name="Freeform 38"/>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 name="Freeform 39"/>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Freeform 40"/>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Freeform 41"/>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 name="Freeform 42"/>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 name="Freeform 43"/>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Rectangle 44"/>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Rectangle 45"/>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Rectangle 46"/>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Rectangle 47"/>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Freeform 48"/>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Freeform 49"/>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Freeform 50"/>
            <p:cNvSpPr>
              <a:spLocks/>
            </p:cNvSpPr>
            <p:nvPr/>
          </p:nvSpPr>
          <p:spPr bwMode="auto">
            <a:xfrm>
              <a:off x="4397375" y="2887663"/>
              <a:ext cx="225425" cy="398463"/>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Freeform 51"/>
            <p:cNvSpPr>
              <a:spLocks/>
            </p:cNvSpPr>
            <p:nvPr/>
          </p:nvSpPr>
          <p:spPr bwMode="auto">
            <a:xfrm>
              <a:off x="3927475" y="2887663"/>
              <a:ext cx="222250" cy="398463"/>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Freeform 52"/>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Freeform 53"/>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Freeform 54"/>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Freeform 55"/>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 name="Rectangle 56"/>
            <p:cNvSpPr>
              <a:spLocks noChangeArrowheads="1"/>
            </p:cNvSpPr>
            <p:nvPr/>
          </p:nvSpPr>
          <p:spPr bwMode="auto">
            <a:xfrm>
              <a:off x="4854575" y="4475163"/>
              <a:ext cx="198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T</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58" name="Rectangle 57"/>
            <p:cNvSpPr>
              <a:spLocks noChangeArrowheads="1"/>
            </p:cNvSpPr>
            <p:nvPr/>
          </p:nvSpPr>
          <p:spPr bwMode="auto">
            <a:xfrm>
              <a:off x="4922838" y="4475163"/>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ransfo</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59" name="Rectangle 58"/>
            <p:cNvSpPr>
              <a:spLocks noChangeArrowheads="1"/>
            </p:cNvSpPr>
            <p:nvPr/>
          </p:nvSpPr>
          <p:spPr bwMode="auto">
            <a:xfrm>
              <a:off x="5387975"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r</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60" name="Rectangle 59"/>
            <p:cNvSpPr>
              <a:spLocks noChangeArrowheads="1"/>
            </p:cNvSpPr>
            <p:nvPr/>
          </p:nvSpPr>
          <p:spPr bwMode="auto">
            <a:xfrm>
              <a:off x="5448300" y="4475163"/>
              <a:ext cx="1265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m CSV to data</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61" name="Rectangle 60"/>
            <p:cNvSpPr>
              <a:spLocks noChangeArrowheads="1"/>
            </p:cNvSpPr>
            <p:nvPr/>
          </p:nvSpPr>
          <p:spPr bwMode="auto">
            <a:xfrm>
              <a:off x="6589713"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r</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62" name="Rectangle 61"/>
            <p:cNvSpPr>
              <a:spLocks noChangeArrowheads="1"/>
            </p:cNvSpPr>
            <p:nvPr/>
          </p:nvSpPr>
          <p:spPr bwMode="auto">
            <a:xfrm>
              <a:off x="6646863" y="4475163"/>
              <a:ext cx="412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ows</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63" name="Freeform 62"/>
            <p:cNvSpPr>
              <a:spLocks noEditPoints="1"/>
            </p:cNvSpPr>
            <p:nvPr/>
          </p:nvSpPr>
          <p:spPr bwMode="auto">
            <a:xfrm>
              <a:off x="3949700" y="2759075"/>
              <a:ext cx="3890963" cy="1655763"/>
            </a:xfrm>
            <a:custGeom>
              <a:avLst/>
              <a:gdLst>
                <a:gd name="T0" fmla="*/ 183 w 1036"/>
                <a:gd name="T1" fmla="*/ 10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1 h 440"/>
                <a:gd name="T34" fmla="*/ 867 w 1036"/>
                <a:gd name="T35" fmla="*/ 5 h 440"/>
                <a:gd name="T36" fmla="*/ 908 w 1036"/>
                <a:gd name="T37" fmla="*/ 27 h 440"/>
                <a:gd name="T38" fmla="*/ 934 w 1036"/>
                <a:gd name="T39" fmla="*/ 41 h 440"/>
                <a:gd name="T40" fmla="*/ 974 w 1036"/>
                <a:gd name="T41" fmla="*/ 64 h 440"/>
                <a:gd name="T42" fmla="*/ 1011 w 1036"/>
                <a:gd name="T43" fmla="*/ 114 h 440"/>
                <a:gd name="T44" fmla="*/ 1021 w 1036"/>
                <a:gd name="T45" fmla="*/ 135 h 440"/>
                <a:gd name="T46" fmla="*/ 1025 w 1036"/>
                <a:gd name="T47" fmla="*/ 181 h 440"/>
                <a:gd name="T48" fmla="*/ 1036 w 1036"/>
                <a:gd name="T49" fmla="*/ 211 h 440"/>
                <a:gd name="T50" fmla="*/ 1035 w 1036"/>
                <a:gd name="T51" fmla="*/ 249 h 440"/>
                <a:gd name="T52" fmla="*/ 1017 w 1036"/>
                <a:gd name="T53" fmla="*/ 292 h 440"/>
                <a:gd name="T54" fmla="*/ 1006 w 1036"/>
                <a:gd name="T55" fmla="*/ 319 h 440"/>
                <a:gd name="T56" fmla="*/ 987 w 1036"/>
                <a:gd name="T57" fmla="*/ 362 h 440"/>
                <a:gd name="T58" fmla="*/ 941 w 1036"/>
                <a:gd name="T59" fmla="*/ 403 h 440"/>
                <a:gd name="T60" fmla="*/ 921 w 1036"/>
                <a:gd name="T61" fmla="*/ 415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0 h 440"/>
                <a:gd name="T102" fmla="*/ 80 w 1036"/>
                <a:gd name="T103" fmla="*/ 392 h 440"/>
                <a:gd name="T104" fmla="*/ 38 w 1036"/>
                <a:gd name="T105" fmla="*/ 347 h 440"/>
                <a:gd name="T106" fmla="*/ 26 w 1036"/>
                <a:gd name="T107" fmla="*/ 327 h 440"/>
                <a:gd name="T108" fmla="*/ 16 w 1036"/>
                <a:gd name="T109" fmla="*/ 282 h 440"/>
                <a:gd name="T110" fmla="*/ 10 w 1036"/>
                <a:gd name="T111" fmla="*/ 253 h 440"/>
                <a:gd name="T112" fmla="*/ 0 w 1036"/>
                <a:gd name="T113" fmla="*/ 215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7"/>
                  </a:moveTo>
                  <a:cubicBezTo>
                    <a:pt x="156" y="8"/>
                    <a:pt x="152" y="9"/>
                    <a:pt x="149" y="10"/>
                  </a:cubicBezTo>
                  <a:cubicBezTo>
                    <a:pt x="151" y="18"/>
                    <a:pt x="151" y="18"/>
                    <a:pt x="151" y="18"/>
                  </a:cubicBezTo>
                  <a:cubicBezTo>
                    <a:pt x="154" y="17"/>
                    <a:pt x="158" y="16"/>
                    <a:pt x="161" y="15"/>
                  </a:cubicBezTo>
                  <a:cubicBezTo>
                    <a:pt x="159" y="7"/>
                    <a:pt x="159" y="7"/>
                    <a:pt x="159" y="7"/>
                  </a:cubicBezTo>
                  <a:close/>
                  <a:moveTo>
                    <a:pt x="182" y="3"/>
                  </a:moveTo>
                  <a:cubicBezTo>
                    <a:pt x="177" y="3"/>
                    <a:pt x="172" y="4"/>
                    <a:pt x="167" y="6"/>
                  </a:cubicBezTo>
                  <a:cubicBezTo>
                    <a:pt x="168" y="13"/>
                    <a:pt x="168" y="13"/>
                    <a:pt x="168" y="13"/>
                  </a:cubicBezTo>
                  <a:cubicBezTo>
                    <a:pt x="173" y="12"/>
                    <a:pt x="178" y="11"/>
                    <a:pt x="183" y="10"/>
                  </a:cubicBezTo>
                  <a:cubicBezTo>
                    <a:pt x="182" y="3"/>
                    <a:pt x="182" y="3"/>
                    <a:pt x="182" y="3"/>
                  </a:cubicBezTo>
                  <a:close/>
                  <a:moveTo>
                    <a:pt x="205" y="0"/>
                  </a:moveTo>
                  <a:cubicBezTo>
                    <a:pt x="200" y="1"/>
                    <a:pt x="195" y="1"/>
                    <a:pt x="189" y="2"/>
                  </a:cubicBezTo>
                  <a:cubicBezTo>
                    <a:pt x="190" y="9"/>
                    <a:pt x="190" y="9"/>
                    <a:pt x="190" y="9"/>
                  </a:cubicBezTo>
                  <a:cubicBezTo>
                    <a:pt x="195" y="9"/>
                    <a:pt x="200" y="8"/>
                    <a:pt x="205" y="8"/>
                  </a:cubicBezTo>
                  <a:lnTo>
                    <a:pt x="205" y="0"/>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1"/>
                  </a:moveTo>
                  <a:cubicBezTo>
                    <a:pt x="839" y="1"/>
                    <a:pt x="834" y="0"/>
                    <a:pt x="829" y="0"/>
                  </a:cubicBezTo>
                  <a:cubicBezTo>
                    <a:pt x="829" y="8"/>
                    <a:pt x="829" y="8"/>
                    <a:pt x="829" y="8"/>
                  </a:cubicBezTo>
                  <a:cubicBezTo>
                    <a:pt x="834" y="8"/>
                    <a:pt x="839" y="9"/>
                    <a:pt x="844" y="9"/>
                  </a:cubicBezTo>
                  <a:cubicBezTo>
                    <a:pt x="845" y="1"/>
                    <a:pt x="845" y="1"/>
                    <a:pt x="845" y="1"/>
                  </a:cubicBezTo>
                  <a:close/>
                  <a:moveTo>
                    <a:pt x="867" y="5"/>
                  </a:moveTo>
                  <a:cubicBezTo>
                    <a:pt x="862" y="4"/>
                    <a:pt x="857" y="3"/>
                    <a:pt x="852" y="2"/>
                  </a:cubicBezTo>
                  <a:cubicBezTo>
                    <a:pt x="851" y="10"/>
                    <a:pt x="851" y="10"/>
                    <a:pt x="851" y="10"/>
                  </a:cubicBezTo>
                  <a:cubicBezTo>
                    <a:pt x="856" y="11"/>
                    <a:pt x="861" y="12"/>
                    <a:pt x="866" y="13"/>
                  </a:cubicBezTo>
                  <a:cubicBezTo>
                    <a:pt x="867" y="5"/>
                    <a:pt x="867" y="5"/>
                    <a:pt x="867" y="5"/>
                  </a:cubicBezTo>
                  <a:close/>
                  <a:moveTo>
                    <a:pt x="890" y="11"/>
                  </a:moveTo>
                  <a:cubicBezTo>
                    <a:pt x="885" y="10"/>
                    <a:pt x="880" y="8"/>
                    <a:pt x="875" y="7"/>
                  </a:cubicBezTo>
                  <a:cubicBezTo>
                    <a:pt x="873" y="14"/>
                    <a:pt x="873" y="14"/>
                    <a:pt x="873" y="14"/>
                  </a:cubicBezTo>
                  <a:cubicBezTo>
                    <a:pt x="878" y="16"/>
                    <a:pt x="883" y="17"/>
                    <a:pt x="887" y="19"/>
                  </a:cubicBezTo>
                  <a:cubicBezTo>
                    <a:pt x="890" y="11"/>
                    <a:pt x="890" y="11"/>
                    <a:pt x="890" y="11"/>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3"/>
                  </a:cubicBezTo>
                  <a:cubicBezTo>
                    <a:pt x="915" y="30"/>
                    <a:pt x="915" y="30"/>
                    <a:pt x="915" y="30"/>
                  </a:cubicBezTo>
                  <a:cubicBezTo>
                    <a:pt x="919" y="32"/>
                    <a:pt x="924" y="35"/>
                    <a:pt x="928" y="37"/>
                  </a:cubicBezTo>
                  <a:cubicBezTo>
                    <a:pt x="932" y="31"/>
                    <a:pt x="932" y="31"/>
                    <a:pt x="932" y="31"/>
                  </a:cubicBezTo>
                  <a:close/>
                  <a:moveTo>
                    <a:pt x="951" y="44"/>
                  </a:moveTo>
                  <a:cubicBezTo>
                    <a:pt x="947" y="41"/>
                    <a:pt x="943" y="38"/>
                    <a:pt x="938" y="35"/>
                  </a:cubicBezTo>
                  <a:cubicBezTo>
                    <a:pt x="934" y="41"/>
                    <a:pt x="934" y="41"/>
                    <a:pt x="934" y="41"/>
                  </a:cubicBezTo>
                  <a:cubicBezTo>
                    <a:pt x="938" y="44"/>
                    <a:pt x="942" y="47"/>
                    <a:pt x="946" y="50"/>
                  </a:cubicBezTo>
                  <a:cubicBezTo>
                    <a:pt x="951" y="44"/>
                    <a:pt x="951" y="44"/>
                    <a:pt x="951" y="44"/>
                  </a:cubicBezTo>
                  <a:close/>
                  <a:moveTo>
                    <a:pt x="969" y="59"/>
                  </a:moveTo>
                  <a:cubicBezTo>
                    <a:pt x="965" y="55"/>
                    <a:pt x="961" y="52"/>
                    <a:pt x="957" y="49"/>
                  </a:cubicBezTo>
                  <a:cubicBezTo>
                    <a:pt x="952" y="55"/>
                    <a:pt x="952" y="55"/>
                    <a:pt x="952" y="55"/>
                  </a:cubicBezTo>
                  <a:cubicBezTo>
                    <a:pt x="956" y="58"/>
                    <a:pt x="960" y="61"/>
                    <a:pt x="963" y="64"/>
                  </a:cubicBezTo>
                  <a:cubicBezTo>
                    <a:pt x="969" y="59"/>
                    <a:pt x="969" y="59"/>
                    <a:pt x="969" y="59"/>
                  </a:cubicBezTo>
                  <a:close/>
                  <a:moveTo>
                    <a:pt x="985" y="76"/>
                  </a:moveTo>
                  <a:cubicBezTo>
                    <a:pt x="981" y="72"/>
                    <a:pt x="978" y="68"/>
                    <a:pt x="974" y="64"/>
                  </a:cubicBezTo>
                  <a:cubicBezTo>
                    <a:pt x="969" y="70"/>
                    <a:pt x="969" y="70"/>
                    <a:pt x="969" y="70"/>
                  </a:cubicBezTo>
                  <a:cubicBezTo>
                    <a:pt x="972" y="73"/>
                    <a:pt x="976" y="77"/>
                    <a:pt x="979" y="81"/>
                  </a:cubicBezTo>
                  <a:cubicBezTo>
                    <a:pt x="985" y="76"/>
                    <a:pt x="985" y="76"/>
                    <a:pt x="985" y="76"/>
                  </a:cubicBezTo>
                  <a:close/>
                  <a:moveTo>
                    <a:pt x="999" y="94"/>
                  </a:moveTo>
                  <a:cubicBezTo>
                    <a:pt x="996" y="90"/>
                    <a:pt x="993" y="86"/>
                    <a:pt x="990" y="82"/>
                  </a:cubicBezTo>
                  <a:cubicBezTo>
                    <a:pt x="984" y="86"/>
                    <a:pt x="984" y="86"/>
                    <a:pt x="984" y="86"/>
                  </a:cubicBezTo>
                  <a:cubicBezTo>
                    <a:pt x="987" y="90"/>
                    <a:pt x="990" y="94"/>
                    <a:pt x="992" y="98"/>
                  </a:cubicBezTo>
                  <a:lnTo>
                    <a:pt x="999" y="94"/>
                  </a:lnTo>
                  <a:close/>
                  <a:moveTo>
                    <a:pt x="1011" y="114"/>
                  </a:moveTo>
                  <a:cubicBezTo>
                    <a:pt x="1008" y="109"/>
                    <a:pt x="1006" y="105"/>
                    <a:pt x="1003" y="101"/>
                  </a:cubicBezTo>
                  <a:cubicBezTo>
                    <a:pt x="997" y="105"/>
                    <a:pt x="997" y="105"/>
                    <a:pt x="997" y="105"/>
                  </a:cubicBezTo>
                  <a:cubicBezTo>
                    <a:pt x="999" y="109"/>
                    <a:pt x="1002" y="113"/>
                    <a:pt x="1004" y="118"/>
                  </a:cubicBezTo>
                  <a:cubicBezTo>
                    <a:pt x="1011" y="114"/>
                    <a:pt x="1011" y="114"/>
                    <a:pt x="1011" y="114"/>
                  </a:cubicBezTo>
                  <a:close/>
                  <a:moveTo>
                    <a:pt x="1021" y="135"/>
                  </a:moveTo>
                  <a:cubicBezTo>
                    <a:pt x="1019" y="130"/>
                    <a:pt x="1017" y="126"/>
                    <a:pt x="1014" y="121"/>
                  </a:cubicBezTo>
                  <a:cubicBezTo>
                    <a:pt x="1007" y="124"/>
                    <a:pt x="1007" y="124"/>
                    <a:pt x="1007" y="124"/>
                  </a:cubicBezTo>
                  <a:cubicBezTo>
                    <a:pt x="1010" y="129"/>
                    <a:pt x="1012" y="133"/>
                    <a:pt x="1014" y="138"/>
                  </a:cubicBezTo>
                  <a:cubicBezTo>
                    <a:pt x="1021" y="135"/>
                    <a:pt x="1021" y="135"/>
                    <a:pt x="1021" y="135"/>
                  </a:cubicBezTo>
                  <a:close/>
                  <a:moveTo>
                    <a:pt x="1028" y="157"/>
                  </a:moveTo>
                  <a:cubicBezTo>
                    <a:pt x="1027" y="152"/>
                    <a:pt x="1025" y="147"/>
                    <a:pt x="1023" y="142"/>
                  </a:cubicBezTo>
                  <a:cubicBezTo>
                    <a:pt x="1016" y="145"/>
                    <a:pt x="1016" y="145"/>
                    <a:pt x="1016" y="145"/>
                  </a:cubicBezTo>
                  <a:cubicBezTo>
                    <a:pt x="1018" y="150"/>
                    <a:pt x="1019" y="154"/>
                    <a:pt x="1021" y="159"/>
                  </a:cubicBezTo>
                  <a:cubicBezTo>
                    <a:pt x="1028" y="157"/>
                    <a:pt x="1028" y="157"/>
                    <a:pt x="1028" y="157"/>
                  </a:cubicBezTo>
                  <a:close/>
                  <a:moveTo>
                    <a:pt x="1033" y="180"/>
                  </a:moveTo>
                  <a:cubicBezTo>
                    <a:pt x="1032" y="175"/>
                    <a:pt x="1031" y="170"/>
                    <a:pt x="1030" y="165"/>
                  </a:cubicBezTo>
                  <a:cubicBezTo>
                    <a:pt x="1023" y="166"/>
                    <a:pt x="1023" y="166"/>
                    <a:pt x="1023" y="166"/>
                  </a:cubicBezTo>
                  <a:cubicBezTo>
                    <a:pt x="1024" y="171"/>
                    <a:pt x="1025" y="176"/>
                    <a:pt x="1025" y="181"/>
                  </a:cubicBezTo>
                  <a:cubicBezTo>
                    <a:pt x="1033" y="180"/>
                    <a:pt x="1033" y="180"/>
                    <a:pt x="1033" y="180"/>
                  </a:cubicBezTo>
                  <a:close/>
                  <a:moveTo>
                    <a:pt x="1036" y="203"/>
                  </a:moveTo>
                  <a:cubicBezTo>
                    <a:pt x="1035" y="198"/>
                    <a:pt x="1035" y="193"/>
                    <a:pt x="1034" y="188"/>
                  </a:cubicBezTo>
                  <a:cubicBezTo>
                    <a:pt x="1027" y="188"/>
                    <a:pt x="1027" y="188"/>
                    <a:pt x="1027" y="188"/>
                  </a:cubicBezTo>
                  <a:cubicBezTo>
                    <a:pt x="1027" y="193"/>
                    <a:pt x="1028" y="198"/>
                    <a:pt x="1028" y="203"/>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49"/>
                  </a:moveTo>
                  <a:cubicBezTo>
                    <a:pt x="1035" y="244"/>
                    <a:pt x="1036" y="239"/>
                    <a:pt x="1036" y="234"/>
                  </a:cubicBezTo>
                  <a:cubicBezTo>
                    <a:pt x="1028" y="233"/>
                    <a:pt x="1028" y="233"/>
                    <a:pt x="1028" y="233"/>
                  </a:cubicBezTo>
                  <a:cubicBezTo>
                    <a:pt x="1028" y="238"/>
                    <a:pt x="1027" y="243"/>
                    <a:pt x="1027" y="248"/>
                  </a:cubicBezTo>
                  <a:cubicBezTo>
                    <a:pt x="1035" y="249"/>
                    <a:pt x="1035" y="249"/>
                    <a:pt x="1035" y="249"/>
                  </a:cubicBezTo>
                  <a:close/>
                  <a:moveTo>
                    <a:pt x="1031" y="272"/>
                  </a:moveTo>
                  <a:cubicBezTo>
                    <a:pt x="1032" y="267"/>
                    <a:pt x="1033" y="262"/>
                    <a:pt x="1034" y="257"/>
                  </a:cubicBezTo>
                  <a:cubicBezTo>
                    <a:pt x="1026" y="256"/>
                    <a:pt x="1026" y="256"/>
                    <a:pt x="1026" y="256"/>
                  </a:cubicBezTo>
                  <a:cubicBezTo>
                    <a:pt x="1025" y="261"/>
                    <a:pt x="1024" y="266"/>
                    <a:pt x="1023" y="270"/>
                  </a:cubicBezTo>
                  <a:lnTo>
                    <a:pt x="1031" y="272"/>
                  </a:lnTo>
                  <a:close/>
                  <a:moveTo>
                    <a:pt x="1025" y="294"/>
                  </a:moveTo>
                  <a:cubicBezTo>
                    <a:pt x="1026" y="290"/>
                    <a:pt x="1028" y="285"/>
                    <a:pt x="1029" y="280"/>
                  </a:cubicBezTo>
                  <a:cubicBezTo>
                    <a:pt x="1022" y="278"/>
                    <a:pt x="1022" y="278"/>
                    <a:pt x="1022" y="278"/>
                  </a:cubicBezTo>
                  <a:cubicBezTo>
                    <a:pt x="1020" y="282"/>
                    <a:pt x="1019" y="287"/>
                    <a:pt x="1017" y="292"/>
                  </a:cubicBezTo>
                  <a:lnTo>
                    <a:pt x="1025" y="294"/>
                  </a:lnTo>
                  <a:close/>
                  <a:moveTo>
                    <a:pt x="1016" y="316"/>
                  </a:moveTo>
                  <a:cubicBezTo>
                    <a:pt x="1018" y="311"/>
                    <a:pt x="1020" y="307"/>
                    <a:pt x="1022" y="302"/>
                  </a:cubicBezTo>
                  <a:cubicBezTo>
                    <a:pt x="1015" y="299"/>
                    <a:pt x="1015" y="299"/>
                    <a:pt x="1015" y="299"/>
                  </a:cubicBezTo>
                  <a:cubicBezTo>
                    <a:pt x="1013" y="304"/>
                    <a:pt x="1011" y="308"/>
                    <a:pt x="1009" y="313"/>
                  </a:cubicBezTo>
                  <a:cubicBezTo>
                    <a:pt x="1016" y="316"/>
                    <a:pt x="1016" y="316"/>
                    <a:pt x="1016" y="316"/>
                  </a:cubicBezTo>
                  <a:close/>
                  <a:moveTo>
                    <a:pt x="1005" y="336"/>
                  </a:moveTo>
                  <a:cubicBezTo>
                    <a:pt x="1008" y="332"/>
                    <a:pt x="1010" y="328"/>
                    <a:pt x="1013" y="323"/>
                  </a:cubicBezTo>
                  <a:cubicBezTo>
                    <a:pt x="1006" y="319"/>
                    <a:pt x="1006" y="319"/>
                    <a:pt x="1006" y="319"/>
                  </a:cubicBezTo>
                  <a:cubicBezTo>
                    <a:pt x="1003" y="324"/>
                    <a:pt x="1001" y="328"/>
                    <a:pt x="998" y="332"/>
                  </a:cubicBezTo>
                  <a:cubicBezTo>
                    <a:pt x="1005" y="336"/>
                    <a:pt x="1005" y="336"/>
                    <a:pt x="1005" y="336"/>
                  </a:cubicBezTo>
                  <a:close/>
                  <a:moveTo>
                    <a:pt x="992" y="356"/>
                  </a:moveTo>
                  <a:cubicBezTo>
                    <a:pt x="995" y="352"/>
                    <a:pt x="998" y="347"/>
                    <a:pt x="1001" y="343"/>
                  </a:cubicBezTo>
                  <a:cubicBezTo>
                    <a:pt x="994" y="339"/>
                    <a:pt x="994" y="339"/>
                    <a:pt x="994" y="339"/>
                  </a:cubicBezTo>
                  <a:cubicBezTo>
                    <a:pt x="992" y="343"/>
                    <a:pt x="989" y="347"/>
                    <a:pt x="986" y="351"/>
                  </a:cubicBezTo>
                  <a:lnTo>
                    <a:pt x="992" y="356"/>
                  </a:lnTo>
                  <a:close/>
                  <a:moveTo>
                    <a:pt x="977" y="373"/>
                  </a:moveTo>
                  <a:cubicBezTo>
                    <a:pt x="980" y="370"/>
                    <a:pt x="984" y="366"/>
                    <a:pt x="987" y="362"/>
                  </a:cubicBezTo>
                  <a:cubicBezTo>
                    <a:pt x="981" y="357"/>
                    <a:pt x="981" y="357"/>
                    <a:pt x="981" y="357"/>
                  </a:cubicBezTo>
                  <a:cubicBezTo>
                    <a:pt x="978" y="361"/>
                    <a:pt x="975" y="364"/>
                    <a:pt x="971" y="368"/>
                  </a:cubicBezTo>
                  <a:cubicBezTo>
                    <a:pt x="977" y="373"/>
                    <a:pt x="977" y="373"/>
                    <a:pt x="977" y="373"/>
                  </a:cubicBezTo>
                  <a:close/>
                  <a:moveTo>
                    <a:pt x="960" y="389"/>
                  </a:moveTo>
                  <a:cubicBezTo>
                    <a:pt x="964" y="386"/>
                    <a:pt x="968" y="382"/>
                    <a:pt x="971" y="379"/>
                  </a:cubicBezTo>
                  <a:cubicBezTo>
                    <a:pt x="966" y="373"/>
                    <a:pt x="966" y="373"/>
                    <a:pt x="966" y="373"/>
                  </a:cubicBezTo>
                  <a:cubicBezTo>
                    <a:pt x="962" y="377"/>
                    <a:pt x="959" y="380"/>
                    <a:pt x="955" y="383"/>
                  </a:cubicBezTo>
                  <a:cubicBezTo>
                    <a:pt x="960" y="389"/>
                    <a:pt x="960" y="389"/>
                    <a:pt x="960" y="389"/>
                  </a:cubicBezTo>
                  <a:close/>
                  <a:moveTo>
                    <a:pt x="941" y="403"/>
                  </a:moveTo>
                  <a:cubicBezTo>
                    <a:pt x="946" y="400"/>
                    <a:pt x="950" y="397"/>
                    <a:pt x="954" y="394"/>
                  </a:cubicBezTo>
                  <a:cubicBezTo>
                    <a:pt x="949" y="388"/>
                    <a:pt x="949" y="388"/>
                    <a:pt x="949" y="388"/>
                  </a:cubicBezTo>
                  <a:cubicBezTo>
                    <a:pt x="945" y="391"/>
                    <a:pt x="941" y="394"/>
                    <a:pt x="937" y="397"/>
                  </a:cubicBezTo>
                  <a:cubicBezTo>
                    <a:pt x="941" y="403"/>
                    <a:pt x="941" y="403"/>
                    <a:pt x="941" y="403"/>
                  </a:cubicBezTo>
                  <a:close/>
                  <a:moveTo>
                    <a:pt x="921" y="415"/>
                  </a:moveTo>
                  <a:cubicBezTo>
                    <a:pt x="926" y="413"/>
                    <a:pt x="930" y="410"/>
                    <a:pt x="935" y="407"/>
                  </a:cubicBezTo>
                  <a:cubicBezTo>
                    <a:pt x="931" y="401"/>
                    <a:pt x="931" y="401"/>
                    <a:pt x="931" y="401"/>
                  </a:cubicBezTo>
                  <a:cubicBezTo>
                    <a:pt x="927" y="404"/>
                    <a:pt x="922" y="406"/>
                    <a:pt x="918" y="408"/>
                  </a:cubicBezTo>
                  <a:cubicBezTo>
                    <a:pt x="921" y="415"/>
                    <a:pt x="921" y="415"/>
                    <a:pt x="921" y="415"/>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2"/>
                  </a:moveTo>
                  <a:cubicBezTo>
                    <a:pt x="883" y="431"/>
                    <a:pt x="888" y="429"/>
                    <a:pt x="893" y="428"/>
                  </a:cubicBezTo>
                  <a:cubicBezTo>
                    <a:pt x="890" y="420"/>
                    <a:pt x="890" y="420"/>
                    <a:pt x="890" y="420"/>
                  </a:cubicBezTo>
                  <a:cubicBezTo>
                    <a:pt x="886" y="422"/>
                    <a:pt x="881" y="424"/>
                    <a:pt x="876" y="425"/>
                  </a:cubicBezTo>
                  <a:lnTo>
                    <a:pt x="878" y="432"/>
                  </a:lnTo>
                  <a:close/>
                  <a:moveTo>
                    <a:pt x="856" y="437"/>
                  </a:moveTo>
                  <a:cubicBezTo>
                    <a:pt x="861" y="436"/>
                    <a:pt x="866" y="435"/>
                    <a:pt x="871" y="434"/>
                  </a:cubicBezTo>
                  <a:cubicBezTo>
                    <a:pt x="869" y="427"/>
                    <a:pt x="869" y="427"/>
                    <a:pt x="869" y="427"/>
                  </a:cubicBezTo>
                  <a:cubicBezTo>
                    <a:pt x="864" y="428"/>
                    <a:pt x="859" y="429"/>
                    <a:pt x="854" y="430"/>
                  </a:cubicBezTo>
                  <a:cubicBezTo>
                    <a:pt x="856" y="437"/>
                    <a:pt x="856" y="437"/>
                    <a:pt x="856" y="437"/>
                  </a:cubicBezTo>
                  <a:close/>
                  <a:moveTo>
                    <a:pt x="832" y="440"/>
                  </a:moveTo>
                  <a:cubicBezTo>
                    <a:pt x="838" y="439"/>
                    <a:pt x="843" y="439"/>
                    <a:pt x="848" y="438"/>
                  </a:cubicBezTo>
                  <a:cubicBezTo>
                    <a:pt x="847" y="431"/>
                    <a:pt x="847" y="431"/>
                    <a:pt x="847" y="431"/>
                  </a:cubicBezTo>
                  <a:cubicBezTo>
                    <a:pt x="842" y="431"/>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lnTo>
                    <a:pt x="16" y="306"/>
                  </a:lnTo>
                  <a:close/>
                  <a:moveTo>
                    <a:pt x="8" y="284"/>
                  </a:moveTo>
                  <a:cubicBezTo>
                    <a:pt x="10" y="289"/>
                    <a:pt x="11" y="294"/>
                    <a:pt x="13" y="299"/>
                  </a:cubicBezTo>
                  <a:cubicBezTo>
                    <a:pt x="20" y="296"/>
                    <a:pt x="20" y="296"/>
                    <a:pt x="20" y="296"/>
                  </a:cubicBezTo>
                  <a:cubicBezTo>
                    <a:pt x="19" y="292"/>
                    <a:pt x="17" y="287"/>
                    <a:pt x="16" y="282"/>
                  </a:cubicBezTo>
                  <a:lnTo>
                    <a:pt x="8" y="284"/>
                  </a:ln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 name="Freeform 75"/>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7" name="Freeform 76"/>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8" name="Freeform 77"/>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9" name="Freeform 78"/>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 name="Rectangle 79"/>
            <p:cNvSpPr>
              <a:spLocks noChangeArrowheads="1"/>
            </p:cNvSpPr>
            <p:nvPr/>
          </p:nvSpPr>
          <p:spPr bwMode="auto">
            <a:xfrm>
              <a:off x="4821238" y="3549650"/>
              <a:ext cx="38258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0" cap="none" spc="0" normalizeH="0" baseline="0" noProof="0">
                  <a:ln>
                    <a:noFill/>
                  </a:ln>
                  <a:solidFill>
                    <a:srgbClr val="0072C6"/>
                  </a:solidFill>
                  <a:effectLst/>
                  <a:uLnTx/>
                  <a:uFillTx/>
                  <a:latin typeface="Segoe UI Black" panose="020B0A02040204020203" pitchFamily="34" charset="0"/>
                </a:rPr>
                <a:t>CSV</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grpSp>
      <p:grpSp>
        <p:nvGrpSpPr>
          <p:cNvPr id="92" name="Group 91"/>
          <p:cNvGrpSpPr/>
          <p:nvPr/>
        </p:nvGrpSpPr>
        <p:grpSpPr>
          <a:xfrm>
            <a:off x="7983538" y="2759075"/>
            <a:ext cx="2176462" cy="2239963"/>
            <a:chOff x="7983538" y="2759075"/>
            <a:chExt cx="2176462" cy="2239963"/>
          </a:xfrm>
        </p:grpSpPr>
        <p:sp>
          <p:nvSpPr>
            <p:cNvPr id="8" name="Freeform 7"/>
            <p:cNvSpPr>
              <a:spLocks noEditPoints="1"/>
            </p:cNvSpPr>
            <p:nvPr/>
          </p:nvSpPr>
          <p:spPr bwMode="auto">
            <a:xfrm>
              <a:off x="8509000" y="2759075"/>
              <a:ext cx="1651000" cy="1655763"/>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 name="Rectangle 8"/>
            <p:cNvSpPr>
              <a:spLocks noChangeArrowheads="1"/>
            </p:cNvSpPr>
            <p:nvPr/>
          </p:nvSpPr>
          <p:spPr bwMode="auto">
            <a:xfrm>
              <a:off x="9012238" y="4475163"/>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P</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10" name="Rectangle 9"/>
            <p:cNvSpPr>
              <a:spLocks noChangeArrowheads="1"/>
            </p:cNvSpPr>
            <p:nvPr/>
          </p:nvSpPr>
          <p:spPr bwMode="auto">
            <a:xfrm>
              <a:off x="9097963" y="4475163"/>
              <a:ext cx="7016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ower BI</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11" name="Rectangle 10"/>
            <p:cNvSpPr>
              <a:spLocks noChangeArrowheads="1"/>
            </p:cNvSpPr>
            <p:nvPr/>
          </p:nvSpPr>
          <p:spPr bwMode="auto">
            <a:xfrm>
              <a:off x="8820150" y="4694238"/>
              <a:ext cx="4206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Cha</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12" name="Rectangle 11"/>
            <p:cNvSpPr>
              <a:spLocks noChangeArrowheads="1"/>
            </p:cNvSpPr>
            <p:nvPr/>
          </p:nvSpPr>
          <p:spPr bwMode="auto">
            <a:xfrm>
              <a:off x="9117013" y="46942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r</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13" name="Rectangle 12"/>
            <p:cNvSpPr>
              <a:spLocks noChangeArrowheads="1"/>
            </p:cNvSpPr>
            <p:nvPr/>
          </p:nvSpPr>
          <p:spPr bwMode="auto">
            <a:xfrm>
              <a:off x="9185275" y="4694238"/>
              <a:ext cx="8143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t graphic</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20" name="Freeform 19"/>
            <p:cNvSpPr>
              <a:spLocks noEditPoints="1"/>
            </p:cNvSpPr>
            <p:nvPr/>
          </p:nvSpPr>
          <p:spPr bwMode="auto">
            <a:xfrm>
              <a:off x="7983538" y="3571875"/>
              <a:ext cx="295275" cy="30163"/>
            </a:xfrm>
            <a:custGeom>
              <a:avLst/>
              <a:gdLst>
                <a:gd name="T0" fmla="*/ 168 w 186"/>
                <a:gd name="T1" fmla="*/ 19 h 19"/>
                <a:gd name="T2" fmla="*/ 186 w 186"/>
                <a:gd name="T3" fmla="*/ 19 h 19"/>
                <a:gd name="T4" fmla="*/ 186 w 186"/>
                <a:gd name="T5" fmla="*/ 0 h 19"/>
                <a:gd name="T6" fmla="*/ 168 w 186"/>
                <a:gd name="T7" fmla="*/ 0 h 19"/>
                <a:gd name="T8" fmla="*/ 168 w 186"/>
                <a:gd name="T9" fmla="*/ 19 h 19"/>
                <a:gd name="T10" fmla="*/ 168 w 186"/>
                <a:gd name="T11" fmla="*/ 19 h 19"/>
                <a:gd name="T12" fmla="*/ 168 w 186"/>
                <a:gd name="T13" fmla="*/ 19 h 19"/>
                <a:gd name="T14" fmla="*/ 168 w 186"/>
                <a:gd name="T15" fmla="*/ 0 h 19"/>
                <a:gd name="T16" fmla="*/ 168 w 186"/>
                <a:gd name="T17" fmla="*/ 0 h 19"/>
                <a:gd name="T18" fmla="*/ 168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8" y="19"/>
                  </a:moveTo>
                  <a:lnTo>
                    <a:pt x="186" y="19"/>
                  </a:lnTo>
                  <a:lnTo>
                    <a:pt x="186"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Freeform 20"/>
            <p:cNvSpPr>
              <a:spLocks/>
            </p:cNvSpPr>
            <p:nvPr/>
          </p:nvSpPr>
          <p:spPr bwMode="auto">
            <a:xfrm>
              <a:off x="825658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1" name="Rectangle 80"/>
            <p:cNvSpPr>
              <a:spLocks noChangeArrowheads="1"/>
            </p:cNvSpPr>
            <p:nvPr/>
          </p:nvSpPr>
          <p:spPr bwMode="auto">
            <a:xfrm>
              <a:off x="8847138" y="3602038"/>
              <a:ext cx="171450" cy="496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 name="Rectangle 81"/>
            <p:cNvSpPr>
              <a:spLocks noChangeArrowheads="1"/>
            </p:cNvSpPr>
            <p:nvPr/>
          </p:nvSpPr>
          <p:spPr bwMode="auto">
            <a:xfrm>
              <a:off x="9113838" y="3467100"/>
              <a:ext cx="171450" cy="6318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 name="Rectangle 82"/>
            <p:cNvSpPr>
              <a:spLocks noChangeArrowheads="1"/>
            </p:cNvSpPr>
            <p:nvPr/>
          </p:nvSpPr>
          <p:spPr bwMode="auto">
            <a:xfrm>
              <a:off x="9383713" y="3681413"/>
              <a:ext cx="173038" cy="41751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Rectangle 83"/>
            <p:cNvSpPr>
              <a:spLocks noChangeArrowheads="1"/>
            </p:cNvSpPr>
            <p:nvPr/>
          </p:nvSpPr>
          <p:spPr bwMode="auto">
            <a:xfrm>
              <a:off x="9650413" y="3533775"/>
              <a:ext cx="173038" cy="5651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5" name="Freeform 84"/>
            <p:cNvSpPr>
              <a:spLocks/>
            </p:cNvSpPr>
            <p:nvPr/>
          </p:nvSpPr>
          <p:spPr bwMode="auto">
            <a:xfrm>
              <a:off x="8905875" y="3176588"/>
              <a:ext cx="868363" cy="339725"/>
            </a:xfrm>
            <a:custGeom>
              <a:avLst/>
              <a:gdLst>
                <a:gd name="T0" fmla="*/ 346 w 547"/>
                <a:gd name="T1" fmla="*/ 214 h 214"/>
                <a:gd name="T2" fmla="*/ 225 w 547"/>
                <a:gd name="T3" fmla="*/ 38 h 214"/>
                <a:gd name="T4" fmla="*/ 17 w 547"/>
                <a:gd name="T5" fmla="*/ 192 h 214"/>
                <a:gd name="T6" fmla="*/ 0 w 547"/>
                <a:gd name="T7" fmla="*/ 169 h 214"/>
                <a:gd name="T8" fmla="*/ 230 w 547"/>
                <a:gd name="T9" fmla="*/ 0 h 214"/>
                <a:gd name="T10" fmla="*/ 351 w 547"/>
                <a:gd name="T11" fmla="*/ 173 h 214"/>
                <a:gd name="T12" fmla="*/ 535 w 547"/>
                <a:gd name="T13" fmla="*/ 10 h 214"/>
                <a:gd name="T14" fmla="*/ 547 w 547"/>
                <a:gd name="T15" fmla="*/ 24 h 214"/>
                <a:gd name="T16" fmla="*/ 537 w 547"/>
                <a:gd name="T17" fmla="*/ 33 h 214"/>
                <a:gd name="T18" fmla="*/ 542 w 547"/>
                <a:gd name="T19" fmla="*/ 41 h 214"/>
                <a:gd name="T20" fmla="*/ 346 w 547"/>
                <a:gd name="T2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4">
                  <a:moveTo>
                    <a:pt x="346" y="214"/>
                  </a:moveTo>
                  <a:lnTo>
                    <a:pt x="225" y="38"/>
                  </a:lnTo>
                  <a:lnTo>
                    <a:pt x="17" y="192"/>
                  </a:lnTo>
                  <a:lnTo>
                    <a:pt x="0" y="169"/>
                  </a:lnTo>
                  <a:lnTo>
                    <a:pt x="230" y="0"/>
                  </a:lnTo>
                  <a:lnTo>
                    <a:pt x="351" y="173"/>
                  </a:lnTo>
                  <a:lnTo>
                    <a:pt x="535" y="10"/>
                  </a:lnTo>
                  <a:lnTo>
                    <a:pt x="547" y="24"/>
                  </a:lnTo>
                  <a:lnTo>
                    <a:pt x="537" y="33"/>
                  </a:lnTo>
                  <a:lnTo>
                    <a:pt x="542" y="41"/>
                  </a:lnTo>
                  <a:lnTo>
                    <a:pt x="346" y="21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6" name="Oval 85"/>
            <p:cNvSpPr>
              <a:spLocks noChangeArrowheads="1"/>
            </p:cNvSpPr>
            <p:nvPr/>
          </p:nvSpPr>
          <p:spPr bwMode="auto">
            <a:xfrm>
              <a:off x="8847138" y="3402013"/>
              <a:ext cx="127000"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7" name="Oval 86"/>
            <p:cNvSpPr>
              <a:spLocks noChangeArrowheads="1"/>
            </p:cNvSpPr>
            <p:nvPr/>
          </p:nvSpPr>
          <p:spPr bwMode="auto">
            <a:xfrm>
              <a:off x="9202738" y="3151188"/>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8" name="Oval 87"/>
            <p:cNvSpPr>
              <a:spLocks noChangeArrowheads="1"/>
            </p:cNvSpPr>
            <p:nvPr/>
          </p:nvSpPr>
          <p:spPr bwMode="auto">
            <a:xfrm>
              <a:off x="9386888" y="3421063"/>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 name="Oval 88"/>
            <p:cNvSpPr>
              <a:spLocks noChangeArrowheads="1"/>
            </p:cNvSpPr>
            <p:nvPr/>
          </p:nvSpPr>
          <p:spPr bwMode="auto">
            <a:xfrm>
              <a:off x="9694863" y="3157538"/>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90"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endParaRPr kumimoji="0" lang="en-US" sz="4705" b="0" i="0" u="none" strike="noStrike" kern="1200" cap="none" spc="-100"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endParaRPr>
          </a:p>
        </p:txBody>
      </p:sp>
      <p:sp>
        <p:nvSpPr>
          <p:cNvPr id="91"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dirty="0">
                <a:gradFill>
                  <a:gsLst>
                    <a:gs pos="1250">
                      <a:srgbClr val="0078D7"/>
                    </a:gs>
                    <a:gs pos="99000">
                      <a:srgbClr val="0078D7"/>
                    </a:gs>
                  </a:gsLst>
                  <a:lin ang="5400000" scaled="0"/>
                </a:gradFill>
                <a:latin typeface="Segoe UI Light"/>
              </a:rPr>
              <a:t>Example: Azure service event processing</a:t>
            </a:r>
            <a:endParaRPr kumimoji="0" lang="en-US" sz="3921" b="0" i="0" u="none" strike="noStrike" kern="1200" cap="none" spc="0" normalizeH="0" baseline="0" noProof="0" dirty="0">
              <a:ln>
                <a:noFill/>
              </a:ln>
              <a:gradFill>
                <a:gsLst>
                  <a:gs pos="1250">
                    <a:srgbClr val="0078D7"/>
                  </a:gs>
                  <a:gs pos="99000">
                    <a:srgbClr val="0078D7"/>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2665019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57400" y="1905000"/>
            <a:ext cx="807720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2" name="Group 1"/>
          <p:cNvGrpSpPr/>
          <p:nvPr/>
        </p:nvGrpSpPr>
        <p:grpSpPr>
          <a:xfrm>
            <a:off x="2057400" y="1905000"/>
            <a:ext cx="1727201" cy="3086100"/>
            <a:chOff x="2057400" y="1905000"/>
            <a:chExt cx="1727201" cy="3086100"/>
          </a:xfrm>
        </p:grpSpPr>
        <p:sp>
          <p:nvSpPr>
            <p:cNvPr id="6" name="Rectangle 5"/>
            <p:cNvSpPr>
              <a:spLocks noChangeArrowheads="1"/>
            </p:cNvSpPr>
            <p:nvPr/>
          </p:nvSpPr>
          <p:spPr bwMode="auto">
            <a:xfrm>
              <a:off x="2057400" y="4471988"/>
              <a:ext cx="1295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rPr>
                <a:t>Excel file saved</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7" name="Rectangle 6"/>
            <p:cNvSpPr>
              <a:spLocks noChangeArrowheads="1"/>
            </p:cNvSpPr>
            <p:nvPr/>
          </p:nvSpPr>
          <p:spPr bwMode="auto">
            <a:xfrm>
              <a:off x="2159000" y="4686300"/>
              <a:ext cx="10810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rPr>
                <a:t>to OneDrive</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15" name="Freeform 14"/>
            <p:cNvSpPr>
              <a:spLocks noEditPoints="1"/>
            </p:cNvSpPr>
            <p:nvPr/>
          </p:nvSpPr>
          <p:spPr bwMode="auto">
            <a:xfrm>
              <a:off x="2601913" y="2541588"/>
              <a:ext cx="30163" cy="296863"/>
            </a:xfrm>
            <a:custGeom>
              <a:avLst/>
              <a:gdLst>
                <a:gd name="T0" fmla="*/ 0 w 19"/>
                <a:gd name="T1" fmla="*/ 165 h 187"/>
                <a:gd name="T2" fmla="*/ 0 w 19"/>
                <a:gd name="T3" fmla="*/ 187 h 187"/>
                <a:gd name="T4" fmla="*/ 19 w 19"/>
                <a:gd name="T5" fmla="*/ 187 h 187"/>
                <a:gd name="T6" fmla="*/ 19 w 19"/>
                <a:gd name="T7" fmla="*/ 165 h 187"/>
                <a:gd name="T8" fmla="*/ 0 w 19"/>
                <a:gd name="T9" fmla="*/ 165 h 187"/>
                <a:gd name="T10" fmla="*/ 0 w 19"/>
                <a:gd name="T11" fmla="*/ 165 h 187"/>
                <a:gd name="T12" fmla="*/ 0 w 19"/>
                <a:gd name="T13" fmla="*/ 165 h 187"/>
                <a:gd name="T14" fmla="*/ 19 w 19"/>
                <a:gd name="T15" fmla="*/ 165 h 187"/>
                <a:gd name="T16" fmla="*/ 19 w 19"/>
                <a:gd name="T17" fmla="*/ 165 h 187"/>
                <a:gd name="T18" fmla="*/ 0 w 19"/>
                <a:gd name="T19" fmla="*/ 165 h 187"/>
                <a:gd name="T20" fmla="*/ 0 w 19"/>
                <a:gd name="T21" fmla="*/ 111 h 187"/>
                <a:gd name="T22" fmla="*/ 0 w 19"/>
                <a:gd name="T23" fmla="*/ 149 h 187"/>
                <a:gd name="T24" fmla="*/ 19 w 19"/>
                <a:gd name="T25" fmla="*/ 149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5"/>
                  </a:moveTo>
                  <a:lnTo>
                    <a:pt x="0" y="187"/>
                  </a:lnTo>
                  <a:lnTo>
                    <a:pt x="19" y="187"/>
                  </a:lnTo>
                  <a:lnTo>
                    <a:pt x="19" y="165"/>
                  </a:lnTo>
                  <a:lnTo>
                    <a:pt x="0" y="165"/>
                  </a:lnTo>
                  <a:close/>
                  <a:moveTo>
                    <a:pt x="0" y="165"/>
                  </a:moveTo>
                  <a:lnTo>
                    <a:pt x="0" y="165"/>
                  </a:lnTo>
                  <a:lnTo>
                    <a:pt x="19" y="165"/>
                  </a:lnTo>
                  <a:lnTo>
                    <a:pt x="19" y="165"/>
                  </a:lnTo>
                  <a:lnTo>
                    <a:pt x="0" y="165"/>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Freeform 15"/>
            <p:cNvSpPr>
              <a:spLocks/>
            </p:cNvSpPr>
            <p:nvPr/>
          </p:nvSpPr>
          <p:spPr bwMode="auto">
            <a:xfrm>
              <a:off x="2541588" y="2816225"/>
              <a:ext cx="150813" cy="131763"/>
            </a:xfrm>
            <a:custGeom>
              <a:avLst/>
              <a:gdLst>
                <a:gd name="T0" fmla="*/ 0 w 95"/>
                <a:gd name="T1" fmla="*/ 0 h 83"/>
                <a:gd name="T2" fmla="*/ 47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7"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Freeform 16"/>
            <p:cNvSpPr>
              <a:spLocks noEditPoints="1"/>
            </p:cNvSpPr>
            <p:nvPr/>
          </p:nvSpPr>
          <p:spPr bwMode="auto">
            <a:xfrm>
              <a:off x="3379788" y="3568700"/>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6 w 187"/>
                <a:gd name="T41" fmla="*/ 19 h 19"/>
                <a:gd name="T42" fmla="*/ 92 w 187"/>
                <a:gd name="T43" fmla="*/ 19 h 19"/>
                <a:gd name="T44" fmla="*/ 92 w 187"/>
                <a:gd name="T45" fmla="*/ 0 h 19"/>
                <a:gd name="T46" fmla="*/ 56 w 187"/>
                <a:gd name="T47" fmla="*/ 0 h 19"/>
                <a:gd name="T48" fmla="*/ 56 w 187"/>
                <a:gd name="T49" fmla="*/ 19 h 19"/>
                <a:gd name="T50" fmla="*/ 56 w 187"/>
                <a:gd name="T51" fmla="*/ 19 h 19"/>
                <a:gd name="T52" fmla="*/ 56 w 187"/>
                <a:gd name="T53" fmla="*/ 19 h 19"/>
                <a:gd name="T54" fmla="*/ 56 w 187"/>
                <a:gd name="T55" fmla="*/ 0 h 19"/>
                <a:gd name="T56" fmla="*/ 56 w 187"/>
                <a:gd name="T57" fmla="*/ 0 h 19"/>
                <a:gd name="T58" fmla="*/ 56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 name="Freeform 17"/>
            <p:cNvSpPr>
              <a:spLocks/>
            </p:cNvSpPr>
            <p:nvPr/>
          </p:nvSpPr>
          <p:spPr bwMode="auto">
            <a:xfrm>
              <a:off x="3652838"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3" name="Freeform 62"/>
            <p:cNvSpPr>
              <a:spLocks/>
            </p:cNvSpPr>
            <p:nvPr/>
          </p:nvSpPr>
          <p:spPr bwMode="auto">
            <a:xfrm>
              <a:off x="2384425" y="1905000"/>
              <a:ext cx="457200" cy="500063"/>
            </a:xfrm>
            <a:custGeom>
              <a:avLst/>
              <a:gdLst>
                <a:gd name="T0" fmla="*/ 269 w 288"/>
                <a:gd name="T1" fmla="*/ 59 h 315"/>
                <a:gd name="T2" fmla="*/ 229 w 288"/>
                <a:gd name="T3" fmla="*/ 17 h 315"/>
                <a:gd name="T4" fmla="*/ 210 w 288"/>
                <a:gd name="T5" fmla="*/ 0 h 315"/>
                <a:gd name="T6" fmla="*/ 210 w 288"/>
                <a:gd name="T7" fmla="*/ 0 h 315"/>
                <a:gd name="T8" fmla="*/ 0 w 288"/>
                <a:gd name="T9" fmla="*/ 0 h 315"/>
                <a:gd name="T10" fmla="*/ 0 w 288"/>
                <a:gd name="T11" fmla="*/ 315 h 315"/>
                <a:gd name="T12" fmla="*/ 288 w 288"/>
                <a:gd name="T13" fmla="*/ 315 h 315"/>
                <a:gd name="T14" fmla="*/ 288 w 288"/>
                <a:gd name="T15" fmla="*/ 78 h 315"/>
                <a:gd name="T16" fmla="*/ 288 w 288"/>
                <a:gd name="T17" fmla="*/ 76 h 315"/>
                <a:gd name="T18" fmla="*/ 269 w 288"/>
                <a:gd name="T19" fmla="*/ 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315">
                  <a:moveTo>
                    <a:pt x="269" y="59"/>
                  </a:moveTo>
                  <a:lnTo>
                    <a:pt x="229" y="17"/>
                  </a:lnTo>
                  <a:lnTo>
                    <a:pt x="210" y="0"/>
                  </a:lnTo>
                  <a:lnTo>
                    <a:pt x="210" y="0"/>
                  </a:lnTo>
                  <a:lnTo>
                    <a:pt x="0" y="0"/>
                  </a:lnTo>
                  <a:lnTo>
                    <a:pt x="0" y="315"/>
                  </a:lnTo>
                  <a:lnTo>
                    <a:pt x="288" y="315"/>
                  </a:lnTo>
                  <a:lnTo>
                    <a:pt x="288" y="78"/>
                  </a:lnTo>
                  <a:lnTo>
                    <a:pt x="288" y="76"/>
                  </a:lnTo>
                  <a:lnTo>
                    <a:pt x="269" y="5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4" name="Freeform 63"/>
            <p:cNvSpPr>
              <a:spLocks/>
            </p:cNvSpPr>
            <p:nvPr/>
          </p:nvSpPr>
          <p:spPr bwMode="auto">
            <a:xfrm>
              <a:off x="2414588" y="1931988"/>
              <a:ext cx="396875" cy="442913"/>
            </a:xfrm>
            <a:custGeom>
              <a:avLst/>
              <a:gdLst>
                <a:gd name="T0" fmla="*/ 191 w 250"/>
                <a:gd name="T1" fmla="*/ 0 h 279"/>
                <a:gd name="T2" fmla="*/ 0 w 250"/>
                <a:gd name="T3" fmla="*/ 0 h 279"/>
                <a:gd name="T4" fmla="*/ 0 w 250"/>
                <a:gd name="T5" fmla="*/ 279 h 279"/>
                <a:gd name="T6" fmla="*/ 250 w 250"/>
                <a:gd name="T7" fmla="*/ 279 h 279"/>
                <a:gd name="T8" fmla="*/ 250 w 250"/>
                <a:gd name="T9" fmla="*/ 61 h 279"/>
                <a:gd name="T10" fmla="*/ 191 w 250"/>
                <a:gd name="T11" fmla="*/ 61 h 279"/>
                <a:gd name="T12" fmla="*/ 191 w 250"/>
                <a:gd name="T13" fmla="*/ 0 h 279"/>
              </a:gdLst>
              <a:ahLst/>
              <a:cxnLst>
                <a:cxn ang="0">
                  <a:pos x="T0" y="T1"/>
                </a:cxn>
                <a:cxn ang="0">
                  <a:pos x="T2" y="T3"/>
                </a:cxn>
                <a:cxn ang="0">
                  <a:pos x="T4" y="T5"/>
                </a:cxn>
                <a:cxn ang="0">
                  <a:pos x="T6" y="T7"/>
                </a:cxn>
                <a:cxn ang="0">
                  <a:pos x="T8" y="T9"/>
                </a:cxn>
                <a:cxn ang="0">
                  <a:pos x="T10" y="T11"/>
                </a:cxn>
                <a:cxn ang="0">
                  <a:pos x="T12" y="T13"/>
                </a:cxn>
              </a:cxnLst>
              <a:rect l="0" t="0" r="r" b="b"/>
              <a:pathLst>
                <a:path w="250" h="279">
                  <a:moveTo>
                    <a:pt x="191" y="0"/>
                  </a:moveTo>
                  <a:lnTo>
                    <a:pt x="0" y="0"/>
                  </a:lnTo>
                  <a:lnTo>
                    <a:pt x="0" y="279"/>
                  </a:lnTo>
                  <a:lnTo>
                    <a:pt x="250" y="279"/>
                  </a:lnTo>
                  <a:lnTo>
                    <a:pt x="250" y="61"/>
                  </a:lnTo>
                  <a:lnTo>
                    <a:pt x="191" y="61"/>
                  </a:lnTo>
                  <a:lnTo>
                    <a:pt x="1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 name="Rectangle 73"/>
            <p:cNvSpPr>
              <a:spLocks noChangeArrowheads="1"/>
            </p:cNvSpPr>
            <p:nvPr/>
          </p:nvSpPr>
          <p:spPr bwMode="auto">
            <a:xfrm>
              <a:off x="2687638" y="21161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 name="Rectangle 74"/>
            <p:cNvSpPr>
              <a:spLocks noChangeArrowheads="1"/>
            </p:cNvSpPr>
            <p:nvPr/>
          </p:nvSpPr>
          <p:spPr bwMode="auto">
            <a:xfrm>
              <a:off x="2687638" y="21605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 name="Rectangle 75"/>
            <p:cNvSpPr>
              <a:spLocks noChangeArrowheads="1"/>
            </p:cNvSpPr>
            <p:nvPr/>
          </p:nvSpPr>
          <p:spPr bwMode="auto">
            <a:xfrm>
              <a:off x="2687638" y="22066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7" name="Rectangle 76"/>
            <p:cNvSpPr>
              <a:spLocks noChangeArrowheads="1"/>
            </p:cNvSpPr>
            <p:nvPr/>
          </p:nvSpPr>
          <p:spPr bwMode="auto">
            <a:xfrm>
              <a:off x="2687638" y="22510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8" name="Freeform 77"/>
            <p:cNvSpPr>
              <a:spLocks noEditPoints="1"/>
            </p:cNvSpPr>
            <p:nvPr/>
          </p:nvSpPr>
          <p:spPr bwMode="auto">
            <a:xfrm>
              <a:off x="2463800" y="2036763"/>
              <a:ext cx="300038"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9" name="Rectangle 78"/>
            <p:cNvSpPr>
              <a:spLocks noChangeArrowheads="1"/>
            </p:cNvSpPr>
            <p:nvPr/>
          </p:nvSpPr>
          <p:spPr bwMode="auto">
            <a:xfrm>
              <a:off x="2120900" y="3090863"/>
              <a:ext cx="987425" cy="989013"/>
            </a:xfrm>
            <a:prstGeom prst="rect">
              <a:avLst/>
            </a:prstGeom>
            <a:solidFill>
              <a:srgbClr val="094A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 name="Freeform 79"/>
            <p:cNvSpPr>
              <a:spLocks/>
            </p:cNvSpPr>
            <p:nvPr/>
          </p:nvSpPr>
          <p:spPr bwMode="auto">
            <a:xfrm>
              <a:off x="2428875" y="3473450"/>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1" name="Freeform 80"/>
            <p:cNvSpPr>
              <a:spLocks/>
            </p:cNvSpPr>
            <p:nvPr/>
          </p:nvSpPr>
          <p:spPr bwMode="auto">
            <a:xfrm>
              <a:off x="2238375" y="3341688"/>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3" name="Group 2"/>
          <p:cNvGrpSpPr/>
          <p:nvPr/>
        </p:nvGrpSpPr>
        <p:grpSpPr>
          <a:xfrm>
            <a:off x="3905250" y="2755900"/>
            <a:ext cx="3913188" cy="2020888"/>
            <a:chOff x="3905250" y="2755900"/>
            <a:chExt cx="3913188" cy="2020888"/>
          </a:xfrm>
        </p:grpSpPr>
        <p:sp>
          <p:nvSpPr>
            <p:cNvPr id="21" name="Freeform 20"/>
            <p:cNvSpPr>
              <a:spLocks/>
            </p:cNvSpPr>
            <p:nvPr/>
          </p:nvSpPr>
          <p:spPr bwMode="auto">
            <a:xfrm>
              <a:off x="5865813" y="3305175"/>
              <a:ext cx="1125538" cy="788988"/>
            </a:xfrm>
            <a:custGeom>
              <a:avLst/>
              <a:gdLst>
                <a:gd name="T0" fmla="*/ 0 w 300"/>
                <a:gd name="T1" fmla="*/ 199 h 210"/>
                <a:gd name="T2" fmla="*/ 11 w 300"/>
                <a:gd name="T3" fmla="*/ 210 h 210"/>
                <a:gd name="T4" fmla="*/ 289 w 300"/>
                <a:gd name="T5" fmla="*/ 210 h 210"/>
                <a:gd name="T6" fmla="*/ 300 w 300"/>
                <a:gd name="T7" fmla="*/ 199 h 210"/>
                <a:gd name="T8" fmla="*/ 300 w 300"/>
                <a:gd name="T9" fmla="*/ 0 h 210"/>
                <a:gd name="T10" fmla="*/ 0 w 300"/>
                <a:gd name="T11" fmla="*/ 0 h 210"/>
                <a:gd name="T12" fmla="*/ 0 w 300"/>
                <a:gd name="T13" fmla="*/ 199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9"/>
                  </a:moveTo>
                  <a:cubicBezTo>
                    <a:pt x="0" y="205"/>
                    <a:pt x="4" y="210"/>
                    <a:pt x="11" y="210"/>
                  </a:cubicBezTo>
                  <a:cubicBezTo>
                    <a:pt x="289" y="210"/>
                    <a:pt x="289" y="210"/>
                    <a:pt x="289" y="210"/>
                  </a:cubicBezTo>
                  <a:cubicBezTo>
                    <a:pt x="295" y="210"/>
                    <a:pt x="300" y="206"/>
                    <a:pt x="300" y="199"/>
                  </a:cubicBezTo>
                  <a:cubicBezTo>
                    <a:pt x="300" y="0"/>
                    <a:pt x="300" y="0"/>
                    <a:pt x="300" y="0"/>
                  </a:cubicBezTo>
                  <a:cubicBezTo>
                    <a:pt x="0" y="0"/>
                    <a:pt x="0" y="0"/>
                    <a:pt x="0" y="0"/>
                  </a:cubicBezTo>
                  <a:cubicBezTo>
                    <a:pt x="0" y="199"/>
                    <a:pt x="0" y="199"/>
                    <a:pt x="0" y="199"/>
                  </a:cubicBezTo>
                </a:path>
              </a:pathLst>
            </a:custGeom>
            <a:solidFill>
              <a:srgbClr val="3B9B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Freeform 21"/>
            <p:cNvSpPr>
              <a:spLocks/>
            </p:cNvSpPr>
            <p:nvPr/>
          </p:nvSpPr>
          <p:spPr bwMode="auto">
            <a:xfrm>
              <a:off x="5865813" y="3132138"/>
              <a:ext cx="1125538" cy="173038"/>
            </a:xfrm>
            <a:custGeom>
              <a:avLst/>
              <a:gdLst>
                <a:gd name="T0" fmla="*/ 289 w 300"/>
                <a:gd name="T1" fmla="*/ 0 h 46"/>
                <a:gd name="T2" fmla="*/ 11 w 300"/>
                <a:gd name="T3" fmla="*/ 0 h 46"/>
                <a:gd name="T4" fmla="*/ 0 w 300"/>
                <a:gd name="T5" fmla="*/ 12 h 46"/>
                <a:gd name="T6" fmla="*/ 0 w 300"/>
                <a:gd name="T7" fmla="*/ 46 h 46"/>
                <a:gd name="T8" fmla="*/ 300 w 300"/>
                <a:gd name="T9" fmla="*/ 46 h 46"/>
                <a:gd name="T10" fmla="*/ 300 w 300"/>
                <a:gd name="T11" fmla="*/ 12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6"/>
                    <a:pt x="0" y="12"/>
                  </a:cubicBezTo>
                  <a:cubicBezTo>
                    <a:pt x="0" y="46"/>
                    <a:pt x="0" y="46"/>
                    <a:pt x="0" y="46"/>
                  </a:cubicBezTo>
                  <a:cubicBezTo>
                    <a:pt x="300" y="46"/>
                    <a:pt x="300" y="46"/>
                    <a:pt x="300" y="46"/>
                  </a:cubicBezTo>
                  <a:cubicBezTo>
                    <a:pt x="300" y="12"/>
                    <a:pt x="300" y="12"/>
                    <a:pt x="300" y="12"/>
                  </a:cubicBezTo>
                  <a:cubicBezTo>
                    <a:pt x="300" y="6"/>
                    <a:pt x="296" y="0"/>
                    <a:pt x="289" y="0"/>
                  </a:cubicBezTo>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Rectangle 22"/>
            <p:cNvSpPr>
              <a:spLocks noChangeArrowheads="1"/>
            </p:cNvSpPr>
            <p:nvPr/>
          </p:nvSpPr>
          <p:spPr bwMode="auto">
            <a:xfrm>
              <a:off x="6289675"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Rectangle 23"/>
            <p:cNvSpPr>
              <a:spLocks noChangeArrowheads="1"/>
            </p:cNvSpPr>
            <p:nvPr/>
          </p:nvSpPr>
          <p:spPr bwMode="auto">
            <a:xfrm>
              <a:off x="6289675"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Rectangle 24"/>
            <p:cNvSpPr>
              <a:spLocks noChangeArrowheads="1"/>
            </p:cNvSpPr>
            <p:nvPr/>
          </p:nvSpPr>
          <p:spPr bwMode="auto">
            <a:xfrm>
              <a:off x="6289675"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Rectangle 25"/>
            <p:cNvSpPr>
              <a:spLocks noChangeArrowheads="1"/>
            </p:cNvSpPr>
            <p:nvPr/>
          </p:nvSpPr>
          <p:spPr bwMode="auto">
            <a:xfrm>
              <a:off x="6289675"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Rectangle 26"/>
            <p:cNvSpPr>
              <a:spLocks noChangeArrowheads="1"/>
            </p:cNvSpPr>
            <p:nvPr/>
          </p:nvSpPr>
          <p:spPr bwMode="auto">
            <a:xfrm>
              <a:off x="6627813"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 name="Rectangle 27"/>
            <p:cNvSpPr>
              <a:spLocks noChangeArrowheads="1"/>
            </p:cNvSpPr>
            <p:nvPr/>
          </p:nvSpPr>
          <p:spPr bwMode="auto">
            <a:xfrm>
              <a:off x="6627813"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 name="Rectangle 28"/>
            <p:cNvSpPr>
              <a:spLocks noChangeArrowheads="1"/>
            </p:cNvSpPr>
            <p:nvPr/>
          </p:nvSpPr>
          <p:spPr bwMode="auto">
            <a:xfrm>
              <a:off x="6627813"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 name="Rectangle 29"/>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Rectangle 30"/>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Rectangle 31"/>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 name="Rectangle 32"/>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 name="Rectangle 33"/>
            <p:cNvSpPr>
              <a:spLocks noChangeArrowheads="1"/>
            </p:cNvSpPr>
            <p:nvPr/>
          </p:nvSpPr>
          <p:spPr bwMode="auto">
            <a:xfrm>
              <a:off x="5951538"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 name="Rectangle 34"/>
            <p:cNvSpPr>
              <a:spLocks noChangeArrowheads="1"/>
            </p:cNvSpPr>
            <p:nvPr/>
          </p:nvSpPr>
          <p:spPr bwMode="auto">
            <a:xfrm>
              <a:off x="5951538" y="3843338"/>
              <a:ext cx="2809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 name="Rectangle 35"/>
            <p:cNvSpPr>
              <a:spLocks noChangeArrowheads="1"/>
            </p:cNvSpPr>
            <p:nvPr/>
          </p:nvSpPr>
          <p:spPr bwMode="auto">
            <a:xfrm>
              <a:off x="6289675"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 name="Rectangle 36"/>
            <p:cNvSpPr>
              <a:spLocks noChangeArrowheads="1"/>
            </p:cNvSpPr>
            <p:nvPr/>
          </p:nvSpPr>
          <p:spPr bwMode="auto">
            <a:xfrm>
              <a:off x="6627813"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 name="Freeform 37"/>
            <p:cNvSpPr>
              <a:spLocks noEditPoints="1"/>
            </p:cNvSpPr>
            <p:nvPr/>
          </p:nvSpPr>
          <p:spPr bwMode="auto">
            <a:xfrm>
              <a:off x="5865813" y="3305175"/>
              <a:ext cx="822325" cy="788988"/>
            </a:xfrm>
            <a:custGeom>
              <a:avLst/>
              <a:gdLst>
                <a:gd name="T0" fmla="*/ 23 w 219"/>
                <a:gd name="T1" fmla="*/ 127 h 210"/>
                <a:gd name="T2" fmla="*/ 23 w 219"/>
                <a:gd name="T3" fmla="*/ 82 h 210"/>
                <a:gd name="T4" fmla="*/ 98 w 219"/>
                <a:gd name="T5" fmla="*/ 82 h 210"/>
                <a:gd name="T6" fmla="*/ 98 w 219"/>
                <a:gd name="T7" fmla="*/ 127 h 210"/>
                <a:gd name="T8" fmla="*/ 23 w 219"/>
                <a:gd name="T9" fmla="*/ 127 h 210"/>
                <a:gd name="T10" fmla="*/ 23 w 219"/>
                <a:gd name="T11" fmla="*/ 65 h 210"/>
                <a:gd name="T12" fmla="*/ 23 w 219"/>
                <a:gd name="T13" fmla="*/ 20 h 210"/>
                <a:gd name="T14" fmla="*/ 98 w 219"/>
                <a:gd name="T15" fmla="*/ 20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9 h 210"/>
                <a:gd name="T30" fmla="*/ 11 w 219"/>
                <a:gd name="T31" fmla="*/ 210 h 210"/>
                <a:gd name="T32" fmla="*/ 24 w 219"/>
                <a:gd name="T33" fmla="*/ 210 h 210"/>
                <a:gd name="T34" fmla="*/ 44 w 219"/>
                <a:gd name="T35" fmla="*/ 188 h 210"/>
                <a:gd name="T36" fmla="*/ 23 w 219"/>
                <a:gd name="T37" fmla="*/ 188 h 210"/>
                <a:gd name="T38" fmla="*/ 23 w 219"/>
                <a:gd name="T39" fmla="*/ 143 h 210"/>
                <a:gd name="T40" fmla="*/ 86 w 219"/>
                <a:gd name="T41" fmla="*/ 143 h 210"/>
                <a:gd name="T42" fmla="*/ 113 w 219"/>
                <a:gd name="T43" fmla="*/ 114 h 210"/>
                <a:gd name="T44" fmla="*/ 113 w 219"/>
                <a:gd name="T45" fmla="*/ 82 h 210"/>
                <a:gd name="T46" fmla="*/ 143 w 219"/>
                <a:gd name="T47" fmla="*/ 82 h 210"/>
                <a:gd name="T48" fmla="*/ 158 w 219"/>
                <a:gd name="T49" fmla="*/ 65 h 210"/>
                <a:gd name="T50" fmla="*/ 113 w 219"/>
                <a:gd name="T51" fmla="*/ 65 h 210"/>
                <a:gd name="T52" fmla="*/ 113 w 219"/>
                <a:gd name="T53" fmla="*/ 20 h 210"/>
                <a:gd name="T54" fmla="*/ 188 w 219"/>
                <a:gd name="T55" fmla="*/ 20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2"/>
                    <a:pt x="23" y="82"/>
                    <a:pt x="23" y="82"/>
                  </a:cubicBezTo>
                  <a:cubicBezTo>
                    <a:pt x="98" y="82"/>
                    <a:pt x="98" y="82"/>
                    <a:pt x="98" y="82"/>
                  </a:cubicBezTo>
                  <a:cubicBezTo>
                    <a:pt x="98" y="127"/>
                    <a:pt x="98" y="127"/>
                    <a:pt x="98" y="127"/>
                  </a:cubicBezTo>
                  <a:cubicBezTo>
                    <a:pt x="23" y="127"/>
                    <a:pt x="23" y="127"/>
                    <a:pt x="23" y="127"/>
                  </a:cubicBezTo>
                  <a:moveTo>
                    <a:pt x="23" y="65"/>
                  </a:moveTo>
                  <a:cubicBezTo>
                    <a:pt x="23" y="20"/>
                    <a:pt x="23" y="20"/>
                    <a:pt x="23" y="20"/>
                  </a:cubicBezTo>
                  <a:cubicBezTo>
                    <a:pt x="98" y="20"/>
                    <a:pt x="98" y="20"/>
                    <a:pt x="98" y="20"/>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9"/>
                    <a:pt x="0" y="199"/>
                    <a:pt x="0" y="199"/>
                  </a:cubicBezTo>
                  <a:cubicBezTo>
                    <a:pt x="0" y="205"/>
                    <a:pt x="6" y="210"/>
                    <a:pt x="11" y="210"/>
                  </a:cubicBezTo>
                  <a:cubicBezTo>
                    <a:pt x="24" y="210"/>
                    <a:pt x="24" y="210"/>
                    <a:pt x="24" y="210"/>
                  </a:cubicBezTo>
                  <a:cubicBezTo>
                    <a:pt x="44" y="188"/>
                    <a:pt x="44" y="188"/>
                    <a:pt x="44" y="188"/>
                  </a:cubicBezTo>
                  <a:cubicBezTo>
                    <a:pt x="23" y="188"/>
                    <a:pt x="23" y="188"/>
                    <a:pt x="23" y="188"/>
                  </a:cubicBezTo>
                  <a:cubicBezTo>
                    <a:pt x="23" y="143"/>
                    <a:pt x="23" y="143"/>
                    <a:pt x="23" y="143"/>
                  </a:cubicBezTo>
                  <a:cubicBezTo>
                    <a:pt x="86" y="143"/>
                    <a:pt x="86" y="143"/>
                    <a:pt x="86" y="143"/>
                  </a:cubicBezTo>
                  <a:cubicBezTo>
                    <a:pt x="113" y="114"/>
                    <a:pt x="113" y="114"/>
                    <a:pt x="113" y="114"/>
                  </a:cubicBezTo>
                  <a:cubicBezTo>
                    <a:pt x="113" y="82"/>
                    <a:pt x="113" y="82"/>
                    <a:pt x="113" y="82"/>
                  </a:cubicBezTo>
                  <a:cubicBezTo>
                    <a:pt x="143" y="82"/>
                    <a:pt x="143" y="82"/>
                    <a:pt x="143" y="82"/>
                  </a:cubicBezTo>
                  <a:cubicBezTo>
                    <a:pt x="158" y="65"/>
                    <a:pt x="158" y="65"/>
                    <a:pt x="158" y="65"/>
                  </a:cubicBezTo>
                  <a:cubicBezTo>
                    <a:pt x="113" y="65"/>
                    <a:pt x="113" y="65"/>
                    <a:pt x="113" y="65"/>
                  </a:cubicBezTo>
                  <a:cubicBezTo>
                    <a:pt x="113" y="20"/>
                    <a:pt x="113" y="20"/>
                    <a:pt x="113" y="20"/>
                  </a:cubicBezTo>
                  <a:cubicBezTo>
                    <a:pt x="188" y="20"/>
                    <a:pt x="188" y="20"/>
                    <a:pt x="188" y="20"/>
                  </a:cubicBezTo>
                  <a:cubicBezTo>
                    <a:pt x="188" y="33"/>
                    <a:pt x="188" y="33"/>
                    <a:pt x="188" y="33"/>
                  </a:cubicBezTo>
                  <a:cubicBezTo>
                    <a:pt x="219" y="0"/>
                    <a:pt x="219" y="0"/>
                    <a:pt x="219" y="0"/>
                  </a:cubicBezTo>
                </a:path>
              </a:pathLst>
            </a:custGeom>
            <a:solidFill>
              <a:srgbClr val="62A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 name="Freeform 38"/>
            <p:cNvSpPr>
              <a:spLocks/>
            </p:cNvSpPr>
            <p:nvPr/>
          </p:nvSpPr>
          <p:spPr bwMode="auto">
            <a:xfrm>
              <a:off x="5865813" y="3132138"/>
              <a:ext cx="982663" cy="173038"/>
            </a:xfrm>
            <a:custGeom>
              <a:avLst/>
              <a:gdLst>
                <a:gd name="T0" fmla="*/ 262 w 262"/>
                <a:gd name="T1" fmla="*/ 0 h 46"/>
                <a:gd name="T2" fmla="*/ 11 w 262"/>
                <a:gd name="T3" fmla="*/ 0 h 46"/>
                <a:gd name="T4" fmla="*/ 11 w 262"/>
                <a:gd name="T5" fmla="*/ 0 h 46"/>
                <a:gd name="T6" fmla="*/ 0 w 262"/>
                <a:gd name="T7" fmla="*/ 12 h 46"/>
                <a:gd name="T8" fmla="*/ 0 w 262"/>
                <a:gd name="T9" fmla="*/ 12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6"/>
                    <a:pt x="0" y="12"/>
                  </a:cubicBezTo>
                  <a:cubicBezTo>
                    <a:pt x="0" y="12"/>
                    <a:pt x="0" y="12"/>
                    <a:pt x="0" y="12"/>
                  </a:cubicBezTo>
                  <a:cubicBezTo>
                    <a:pt x="0" y="46"/>
                    <a:pt x="0" y="46"/>
                    <a:pt x="0" y="46"/>
                  </a:cubicBezTo>
                  <a:cubicBezTo>
                    <a:pt x="219" y="46"/>
                    <a:pt x="219" y="46"/>
                    <a:pt x="219" y="46"/>
                  </a:cubicBezTo>
                  <a:cubicBezTo>
                    <a:pt x="262" y="0"/>
                    <a:pt x="262" y="0"/>
                    <a:pt x="262" y="0"/>
                  </a:cubicBezTo>
                </a:path>
              </a:pathLst>
            </a:custGeom>
            <a:solidFill>
              <a:srgbClr val="4D8F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 name="Freeform 39"/>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Freeform 40"/>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Freeform 41"/>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 name="Freeform 42"/>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 name="Rectangle 43"/>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Rectangle 44"/>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Rectangle 45"/>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Rectangle 46"/>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Freeform 47"/>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Freeform 48"/>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Freeform 49"/>
            <p:cNvSpPr>
              <a:spLocks/>
            </p:cNvSpPr>
            <p:nvPr/>
          </p:nvSpPr>
          <p:spPr bwMode="auto">
            <a:xfrm>
              <a:off x="4375150" y="2882900"/>
              <a:ext cx="223838" cy="403225"/>
            </a:xfrm>
            <a:custGeom>
              <a:avLst/>
              <a:gdLst>
                <a:gd name="T0" fmla="*/ 58 w 60"/>
                <a:gd name="T1" fmla="*/ 56 h 107"/>
                <a:gd name="T2" fmla="*/ 58 w 60"/>
                <a:gd name="T3" fmla="*/ 50 h 107"/>
                <a:gd name="T4" fmla="*/ 49 w 60"/>
                <a:gd name="T5" fmla="*/ 41 h 107"/>
                <a:gd name="T6" fmla="*/ 9 w 60"/>
                <a:gd name="T7" fmla="*/ 2 h 107"/>
                <a:gd name="T8" fmla="*/ 3 w 60"/>
                <a:gd name="T9" fmla="*/ 2 h 107"/>
                <a:gd name="T10" fmla="*/ 3 w 60"/>
                <a:gd name="T11" fmla="*/ 9 h 107"/>
                <a:gd name="T12" fmla="*/ 45 w 60"/>
                <a:gd name="T13" fmla="*/ 50 h 107"/>
                <a:gd name="T14" fmla="*/ 45 w 60"/>
                <a:gd name="T15" fmla="*/ 56 h 107"/>
                <a:gd name="T16" fmla="*/ 2 w 60"/>
                <a:gd name="T17" fmla="*/ 98 h 107"/>
                <a:gd name="T18" fmla="*/ 2 w 60"/>
                <a:gd name="T19" fmla="*/ 105 h 107"/>
                <a:gd name="T20" fmla="*/ 8 w 60"/>
                <a:gd name="T21" fmla="*/ 105 h 107"/>
                <a:gd name="T22" fmla="*/ 48 w 60"/>
                <a:gd name="T23" fmla="*/ 66 h 107"/>
                <a:gd name="T24" fmla="*/ 48 w 60"/>
                <a:gd name="T25" fmla="*/ 66 h 107"/>
                <a:gd name="T26" fmla="*/ 58 w 60"/>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7">
                  <a:moveTo>
                    <a:pt x="58" y="56"/>
                  </a:moveTo>
                  <a:cubicBezTo>
                    <a:pt x="60" y="54"/>
                    <a:pt x="59" y="51"/>
                    <a:pt x="58" y="50"/>
                  </a:cubicBezTo>
                  <a:cubicBezTo>
                    <a:pt x="49" y="41"/>
                    <a:pt x="49" y="41"/>
                    <a:pt x="49" y="41"/>
                  </a:cubicBezTo>
                  <a:cubicBezTo>
                    <a:pt x="9" y="2"/>
                    <a:pt x="9" y="2"/>
                    <a:pt x="9" y="2"/>
                  </a:cubicBezTo>
                  <a:cubicBezTo>
                    <a:pt x="8" y="0"/>
                    <a:pt x="5" y="0"/>
                    <a:pt x="3" y="2"/>
                  </a:cubicBezTo>
                  <a:cubicBezTo>
                    <a:pt x="1" y="4"/>
                    <a:pt x="1" y="7"/>
                    <a:pt x="3" y="9"/>
                  </a:cubicBezTo>
                  <a:cubicBezTo>
                    <a:pt x="45" y="50"/>
                    <a:pt x="45" y="50"/>
                    <a:pt x="45" y="50"/>
                  </a:cubicBezTo>
                  <a:cubicBezTo>
                    <a:pt x="46" y="51"/>
                    <a:pt x="46" y="54"/>
                    <a:pt x="45" y="56"/>
                  </a:cubicBezTo>
                  <a:cubicBezTo>
                    <a:pt x="2" y="98"/>
                    <a:pt x="2" y="98"/>
                    <a:pt x="2" y="98"/>
                  </a:cubicBezTo>
                  <a:cubicBezTo>
                    <a:pt x="0" y="100"/>
                    <a:pt x="0" y="103"/>
                    <a:pt x="2" y="105"/>
                  </a:cubicBezTo>
                  <a:cubicBezTo>
                    <a:pt x="4" y="107"/>
                    <a:pt x="7" y="106"/>
                    <a:pt x="8" y="105"/>
                  </a:cubicBezTo>
                  <a:cubicBezTo>
                    <a:pt x="48" y="66"/>
                    <a:pt x="48" y="66"/>
                    <a:pt x="48" y="66"/>
                  </a:cubicBezTo>
                  <a:cubicBezTo>
                    <a:pt x="48" y="66"/>
                    <a:pt x="48" y="66"/>
                    <a:pt x="48" y="66"/>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Freeform 50"/>
            <p:cNvSpPr>
              <a:spLocks/>
            </p:cNvSpPr>
            <p:nvPr/>
          </p:nvSpPr>
          <p:spPr bwMode="auto">
            <a:xfrm>
              <a:off x="3905250" y="2882900"/>
              <a:ext cx="220663" cy="403225"/>
            </a:xfrm>
            <a:custGeom>
              <a:avLst/>
              <a:gdLst>
                <a:gd name="T0" fmla="*/ 1 w 59"/>
                <a:gd name="T1" fmla="*/ 56 h 107"/>
                <a:gd name="T2" fmla="*/ 1 w 59"/>
                <a:gd name="T3" fmla="*/ 50 h 107"/>
                <a:gd name="T4" fmla="*/ 10 w 59"/>
                <a:gd name="T5" fmla="*/ 41 h 107"/>
                <a:gd name="T6" fmla="*/ 50 w 59"/>
                <a:gd name="T7" fmla="*/ 2 h 107"/>
                <a:gd name="T8" fmla="*/ 56 w 59"/>
                <a:gd name="T9" fmla="*/ 2 h 107"/>
                <a:gd name="T10" fmla="*/ 56 w 59"/>
                <a:gd name="T11" fmla="*/ 9 h 107"/>
                <a:gd name="T12" fmla="*/ 16 w 59"/>
                <a:gd name="T13" fmla="*/ 50 h 107"/>
                <a:gd name="T14" fmla="*/ 16 w 59"/>
                <a:gd name="T15" fmla="*/ 56 h 107"/>
                <a:gd name="T16" fmla="*/ 57 w 59"/>
                <a:gd name="T17" fmla="*/ 98 h 107"/>
                <a:gd name="T18" fmla="*/ 57 w 59"/>
                <a:gd name="T19" fmla="*/ 105 h 107"/>
                <a:gd name="T20" fmla="*/ 51 w 59"/>
                <a:gd name="T21" fmla="*/ 105 h 107"/>
                <a:gd name="T22" fmla="*/ 11 w 59"/>
                <a:gd name="T23" fmla="*/ 66 h 107"/>
                <a:gd name="T24" fmla="*/ 10 w 59"/>
                <a:gd name="T25" fmla="*/ 66 h 107"/>
                <a:gd name="T26" fmla="*/ 1 w 59"/>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7">
                  <a:moveTo>
                    <a:pt x="1" y="56"/>
                  </a:moveTo>
                  <a:cubicBezTo>
                    <a:pt x="0" y="54"/>
                    <a:pt x="0" y="51"/>
                    <a:pt x="1" y="50"/>
                  </a:cubicBezTo>
                  <a:cubicBezTo>
                    <a:pt x="10" y="41"/>
                    <a:pt x="10" y="41"/>
                    <a:pt x="10" y="41"/>
                  </a:cubicBezTo>
                  <a:cubicBezTo>
                    <a:pt x="50" y="2"/>
                    <a:pt x="50" y="2"/>
                    <a:pt x="50" y="2"/>
                  </a:cubicBezTo>
                  <a:cubicBezTo>
                    <a:pt x="52" y="0"/>
                    <a:pt x="54" y="0"/>
                    <a:pt x="56" y="2"/>
                  </a:cubicBezTo>
                  <a:cubicBezTo>
                    <a:pt x="58" y="4"/>
                    <a:pt x="59" y="7"/>
                    <a:pt x="56" y="9"/>
                  </a:cubicBezTo>
                  <a:cubicBezTo>
                    <a:pt x="16" y="50"/>
                    <a:pt x="16" y="50"/>
                    <a:pt x="16" y="50"/>
                  </a:cubicBezTo>
                  <a:cubicBezTo>
                    <a:pt x="14" y="51"/>
                    <a:pt x="14" y="54"/>
                    <a:pt x="16" y="56"/>
                  </a:cubicBezTo>
                  <a:cubicBezTo>
                    <a:pt x="57" y="98"/>
                    <a:pt x="57" y="98"/>
                    <a:pt x="57" y="98"/>
                  </a:cubicBezTo>
                  <a:cubicBezTo>
                    <a:pt x="59" y="100"/>
                    <a:pt x="59" y="103"/>
                    <a:pt x="57" y="105"/>
                  </a:cubicBezTo>
                  <a:cubicBezTo>
                    <a:pt x="55" y="107"/>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Freeform 51"/>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Freeform 52"/>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Freeform 53"/>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Freeform 54"/>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Rectangle 55"/>
            <p:cNvSpPr>
              <a:spLocks noChangeArrowheads="1"/>
            </p:cNvSpPr>
            <p:nvPr/>
          </p:nvSpPr>
          <p:spPr bwMode="auto">
            <a:xfrm>
              <a:off x="4460875" y="4471988"/>
              <a:ext cx="3873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Mic</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57" name="Rectangle 56"/>
            <p:cNvSpPr>
              <a:spLocks noChangeArrowheads="1"/>
            </p:cNvSpPr>
            <p:nvPr/>
          </p:nvSpPr>
          <p:spPr bwMode="auto">
            <a:xfrm>
              <a:off x="4730750"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r</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58" name="Rectangle 57"/>
            <p:cNvSpPr>
              <a:spLocks noChangeArrowheads="1"/>
            </p:cNvSpPr>
            <p:nvPr/>
          </p:nvSpPr>
          <p:spPr bwMode="auto">
            <a:xfrm>
              <a:off x="4783138" y="4471988"/>
              <a:ext cx="285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os</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59" name="Rectangle 58"/>
            <p:cNvSpPr>
              <a:spLocks noChangeArrowheads="1"/>
            </p:cNvSpPr>
            <p:nvPr/>
          </p:nvSpPr>
          <p:spPr bwMode="auto">
            <a:xfrm>
              <a:off x="4956175" y="4471988"/>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o</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60" name="Rectangle 59"/>
            <p:cNvSpPr>
              <a:spLocks noChangeArrowheads="1"/>
            </p:cNvSpPr>
            <p:nvPr/>
          </p:nvSpPr>
          <p:spPr bwMode="auto">
            <a:xfrm>
              <a:off x="5054600" y="4471988"/>
              <a:ext cx="153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f</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61" name="Rectangle 60"/>
            <p:cNvSpPr>
              <a:spLocks noChangeArrowheads="1"/>
            </p:cNvSpPr>
            <p:nvPr/>
          </p:nvSpPr>
          <p:spPr bwMode="auto">
            <a:xfrm>
              <a:off x="5106988" y="4471988"/>
              <a:ext cx="2430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t Graph API analyzes content</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62" name="Freeform 61"/>
            <p:cNvSpPr>
              <a:spLocks noEditPoints="1"/>
            </p:cNvSpPr>
            <p:nvPr/>
          </p:nvSpPr>
          <p:spPr bwMode="auto">
            <a:xfrm>
              <a:off x="3927475" y="2755900"/>
              <a:ext cx="3890963" cy="1655763"/>
            </a:xfrm>
            <a:custGeom>
              <a:avLst/>
              <a:gdLst>
                <a:gd name="T0" fmla="*/ 183 w 1036"/>
                <a:gd name="T1" fmla="*/ 11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2 h 440"/>
                <a:gd name="T34" fmla="*/ 867 w 1036"/>
                <a:gd name="T35" fmla="*/ 5 h 440"/>
                <a:gd name="T36" fmla="*/ 908 w 1036"/>
                <a:gd name="T37" fmla="*/ 27 h 440"/>
                <a:gd name="T38" fmla="*/ 934 w 1036"/>
                <a:gd name="T39" fmla="*/ 42 h 440"/>
                <a:gd name="T40" fmla="*/ 974 w 1036"/>
                <a:gd name="T41" fmla="*/ 65 h 440"/>
                <a:gd name="T42" fmla="*/ 1011 w 1036"/>
                <a:gd name="T43" fmla="*/ 114 h 440"/>
                <a:gd name="T44" fmla="*/ 1021 w 1036"/>
                <a:gd name="T45" fmla="*/ 135 h 440"/>
                <a:gd name="T46" fmla="*/ 1025 w 1036"/>
                <a:gd name="T47" fmla="*/ 181 h 440"/>
                <a:gd name="T48" fmla="*/ 1036 w 1036"/>
                <a:gd name="T49" fmla="*/ 211 h 440"/>
                <a:gd name="T50" fmla="*/ 1035 w 1036"/>
                <a:gd name="T51" fmla="*/ 250 h 440"/>
                <a:gd name="T52" fmla="*/ 1017 w 1036"/>
                <a:gd name="T53" fmla="*/ 292 h 440"/>
                <a:gd name="T54" fmla="*/ 1006 w 1036"/>
                <a:gd name="T55" fmla="*/ 320 h 440"/>
                <a:gd name="T56" fmla="*/ 987 w 1036"/>
                <a:gd name="T57" fmla="*/ 362 h 440"/>
                <a:gd name="T58" fmla="*/ 941 w 1036"/>
                <a:gd name="T59" fmla="*/ 404 h 440"/>
                <a:gd name="T60" fmla="*/ 921 w 1036"/>
                <a:gd name="T61" fmla="*/ 416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1 h 440"/>
                <a:gd name="T102" fmla="*/ 80 w 1036"/>
                <a:gd name="T103" fmla="*/ 393 h 440"/>
                <a:gd name="T104" fmla="*/ 38 w 1036"/>
                <a:gd name="T105" fmla="*/ 347 h 440"/>
                <a:gd name="T106" fmla="*/ 26 w 1036"/>
                <a:gd name="T107" fmla="*/ 327 h 440"/>
                <a:gd name="T108" fmla="*/ 16 w 1036"/>
                <a:gd name="T109" fmla="*/ 282 h 440"/>
                <a:gd name="T110" fmla="*/ 10 w 1036"/>
                <a:gd name="T111" fmla="*/ 253 h 440"/>
                <a:gd name="T112" fmla="*/ 0 w 1036"/>
                <a:gd name="T113" fmla="*/ 216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8"/>
                  </a:moveTo>
                  <a:cubicBezTo>
                    <a:pt x="156" y="9"/>
                    <a:pt x="152" y="10"/>
                    <a:pt x="149" y="11"/>
                  </a:cubicBezTo>
                  <a:cubicBezTo>
                    <a:pt x="151" y="18"/>
                    <a:pt x="151" y="18"/>
                    <a:pt x="151" y="18"/>
                  </a:cubicBezTo>
                  <a:cubicBezTo>
                    <a:pt x="154" y="17"/>
                    <a:pt x="158" y="16"/>
                    <a:pt x="161" y="15"/>
                  </a:cubicBezTo>
                  <a:cubicBezTo>
                    <a:pt x="159" y="8"/>
                    <a:pt x="159" y="8"/>
                    <a:pt x="159" y="8"/>
                  </a:cubicBezTo>
                  <a:close/>
                  <a:moveTo>
                    <a:pt x="182" y="3"/>
                  </a:moveTo>
                  <a:cubicBezTo>
                    <a:pt x="177" y="4"/>
                    <a:pt x="172" y="5"/>
                    <a:pt x="167" y="6"/>
                  </a:cubicBezTo>
                  <a:cubicBezTo>
                    <a:pt x="168" y="13"/>
                    <a:pt x="168" y="13"/>
                    <a:pt x="168" y="13"/>
                  </a:cubicBezTo>
                  <a:cubicBezTo>
                    <a:pt x="173" y="12"/>
                    <a:pt x="178" y="11"/>
                    <a:pt x="183" y="11"/>
                  </a:cubicBezTo>
                  <a:cubicBezTo>
                    <a:pt x="182" y="3"/>
                    <a:pt x="182" y="3"/>
                    <a:pt x="182" y="3"/>
                  </a:cubicBezTo>
                  <a:close/>
                  <a:moveTo>
                    <a:pt x="205" y="1"/>
                  </a:moveTo>
                  <a:cubicBezTo>
                    <a:pt x="200" y="1"/>
                    <a:pt x="195" y="1"/>
                    <a:pt x="189" y="2"/>
                  </a:cubicBezTo>
                  <a:cubicBezTo>
                    <a:pt x="190" y="10"/>
                    <a:pt x="190" y="10"/>
                    <a:pt x="190" y="10"/>
                  </a:cubicBezTo>
                  <a:cubicBezTo>
                    <a:pt x="195" y="9"/>
                    <a:pt x="200" y="9"/>
                    <a:pt x="205" y="8"/>
                  </a:cubicBezTo>
                  <a:lnTo>
                    <a:pt x="205" y="1"/>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2"/>
                  </a:moveTo>
                  <a:cubicBezTo>
                    <a:pt x="839" y="1"/>
                    <a:pt x="834" y="1"/>
                    <a:pt x="829" y="1"/>
                  </a:cubicBezTo>
                  <a:cubicBezTo>
                    <a:pt x="829" y="8"/>
                    <a:pt x="829" y="8"/>
                    <a:pt x="829" y="8"/>
                  </a:cubicBezTo>
                  <a:cubicBezTo>
                    <a:pt x="834" y="9"/>
                    <a:pt x="839" y="9"/>
                    <a:pt x="844" y="9"/>
                  </a:cubicBezTo>
                  <a:cubicBezTo>
                    <a:pt x="845" y="2"/>
                    <a:pt x="845" y="2"/>
                    <a:pt x="845" y="2"/>
                  </a:cubicBezTo>
                  <a:close/>
                  <a:moveTo>
                    <a:pt x="867" y="5"/>
                  </a:moveTo>
                  <a:cubicBezTo>
                    <a:pt x="862" y="4"/>
                    <a:pt x="857" y="3"/>
                    <a:pt x="852" y="3"/>
                  </a:cubicBezTo>
                  <a:cubicBezTo>
                    <a:pt x="851" y="10"/>
                    <a:pt x="851" y="10"/>
                    <a:pt x="851" y="10"/>
                  </a:cubicBezTo>
                  <a:cubicBezTo>
                    <a:pt x="856" y="11"/>
                    <a:pt x="861" y="12"/>
                    <a:pt x="866" y="13"/>
                  </a:cubicBezTo>
                  <a:cubicBezTo>
                    <a:pt x="867" y="5"/>
                    <a:pt x="867" y="5"/>
                    <a:pt x="867" y="5"/>
                  </a:cubicBezTo>
                  <a:close/>
                  <a:moveTo>
                    <a:pt x="890" y="12"/>
                  </a:moveTo>
                  <a:cubicBezTo>
                    <a:pt x="885" y="10"/>
                    <a:pt x="880" y="8"/>
                    <a:pt x="875" y="7"/>
                  </a:cubicBezTo>
                  <a:cubicBezTo>
                    <a:pt x="873" y="15"/>
                    <a:pt x="873" y="15"/>
                    <a:pt x="873" y="15"/>
                  </a:cubicBezTo>
                  <a:cubicBezTo>
                    <a:pt x="878" y="16"/>
                    <a:pt x="883" y="17"/>
                    <a:pt x="887" y="19"/>
                  </a:cubicBezTo>
                  <a:cubicBezTo>
                    <a:pt x="890" y="12"/>
                    <a:pt x="890" y="12"/>
                    <a:pt x="890" y="12"/>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4"/>
                  </a:cubicBezTo>
                  <a:cubicBezTo>
                    <a:pt x="915" y="30"/>
                    <a:pt x="915" y="30"/>
                    <a:pt x="915" y="30"/>
                  </a:cubicBezTo>
                  <a:cubicBezTo>
                    <a:pt x="919" y="33"/>
                    <a:pt x="924" y="35"/>
                    <a:pt x="928" y="38"/>
                  </a:cubicBezTo>
                  <a:cubicBezTo>
                    <a:pt x="932" y="31"/>
                    <a:pt x="932" y="31"/>
                    <a:pt x="932" y="31"/>
                  </a:cubicBezTo>
                  <a:close/>
                  <a:moveTo>
                    <a:pt x="951" y="44"/>
                  </a:moveTo>
                  <a:cubicBezTo>
                    <a:pt x="947" y="41"/>
                    <a:pt x="943" y="38"/>
                    <a:pt x="938" y="35"/>
                  </a:cubicBezTo>
                  <a:cubicBezTo>
                    <a:pt x="934" y="42"/>
                    <a:pt x="934" y="42"/>
                    <a:pt x="934" y="42"/>
                  </a:cubicBezTo>
                  <a:cubicBezTo>
                    <a:pt x="938" y="44"/>
                    <a:pt x="942" y="47"/>
                    <a:pt x="946" y="50"/>
                  </a:cubicBezTo>
                  <a:cubicBezTo>
                    <a:pt x="951" y="44"/>
                    <a:pt x="951" y="44"/>
                    <a:pt x="951" y="44"/>
                  </a:cubicBezTo>
                  <a:close/>
                  <a:moveTo>
                    <a:pt x="969" y="59"/>
                  </a:moveTo>
                  <a:cubicBezTo>
                    <a:pt x="965" y="56"/>
                    <a:pt x="961" y="52"/>
                    <a:pt x="957" y="49"/>
                  </a:cubicBezTo>
                  <a:cubicBezTo>
                    <a:pt x="952" y="55"/>
                    <a:pt x="952" y="55"/>
                    <a:pt x="952" y="55"/>
                  </a:cubicBezTo>
                  <a:cubicBezTo>
                    <a:pt x="956" y="58"/>
                    <a:pt x="960" y="61"/>
                    <a:pt x="963" y="65"/>
                  </a:cubicBezTo>
                  <a:lnTo>
                    <a:pt x="969" y="59"/>
                  </a:lnTo>
                  <a:close/>
                  <a:moveTo>
                    <a:pt x="985" y="76"/>
                  </a:moveTo>
                  <a:cubicBezTo>
                    <a:pt x="981" y="72"/>
                    <a:pt x="978" y="68"/>
                    <a:pt x="974" y="65"/>
                  </a:cubicBezTo>
                  <a:cubicBezTo>
                    <a:pt x="969" y="70"/>
                    <a:pt x="969" y="70"/>
                    <a:pt x="969" y="70"/>
                  </a:cubicBezTo>
                  <a:cubicBezTo>
                    <a:pt x="972" y="74"/>
                    <a:pt x="976" y="77"/>
                    <a:pt x="979" y="81"/>
                  </a:cubicBezTo>
                  <a:cubicBezTo>
                    <a:pt x="985" y="76"/>
                    <a:pt x="985" y="76"/>
                    <a:pt x="985" y="76"/>
                  </a:cubicBezTo>
                  <a:close/>
                  <a:moveTo>
                    <a:pt x="999" y="94"/>
                  </a:moveTo>
                  <a:cubicBezTo>
                    <a:pt x="996" y="90"/>
                    <a:pt x="993" y="86"/>
                    <a:pt x="990" y="82"/>
                  </a:cubicBezTo>
                  <a:cubicBezTo>
                    <a:pt x="984" y="87"/>
                    <a:pt x="984" y="87"/>
                    <a:pt x="984" y="87"/>
                  </a:cubicBezTo>
                  <a:cubicBezTo>
                    <a:pt x="987" y="91"/>
                    <a:pt x="990" y="95"/>
                    <a:pt x="992" y="99"/>
                  </a:cubicBezTo>
                  <a:lnTo>
                    <a:pt x="999" y="94"/>
                  </a:lnTo>
                  <a:close/>
                  <a:moveTo>
                    <a:pt x="1011" y="114"/>
                  </a:moveTo>
                  <a:cubicBezTo>
                    <a:pt x="1008" y="110"/>
                    <a:pt x="1006" y="105"/>
                    <a:pt x="1003" y="101"/>
                  </a:cubicBezTo>
                  <a:cubicBezTo>
                    <a:pt x="997" y="105"/>
                    <a:pt x="997" y="105"/>
                    <a:pt x="997" y="105"/>
                  </a:cubicBezTo>
                  <a:cubicBezTo>
                    <a:pt x="999" y="109"/>
                    <a:pt x="1002" y="114"/>
                    <a:pt x="1004" y="118"/>
                  </a:cubicBezTo>
                  <a:cubicBezTo>
                    <a:pt x="1011" y="114"/>
                    <a:pt x="1011" y="114"/>
                    <a:pt x="1011" y="114"/>
                  </a:cubicBezTo>
                  <a:close/>
                  <a:moveTo>
                    <a:pt x="1021" y="135"/>
                  </a:moveTo>
                  <a:cubicBezTo>
                    <a:pt x="1019" y="131"/>
                    <a:pt x="1017" y="126"/>
                    <a:pt x="1014" y="121"/>
                  </a:cubicBezTo>
                  <a:cubicBezTo>
                    <a:pt x="1007" y="125"/>
                    <a:pt x="1007" y="125"/>
                    <a:pt x="1007" y="125"/>
                  </a:cubicBezTo>
                  <a:cubicBezTo>
                    <a:pt x="1010" y="129"/>
                    <a:pt x="1012" y="134"/>
                    <a:pt x="1014" y="138"/>
                  </a:cubicBezTo>
                  <a:cubicBezTo>
                    <a:pt x="1021" y="135"/>
                    <a:pt x="1021" y="135"/>
                    <a:pt x="1021" y="135"/>
                  </a:cubicBezTo>
                  <a:close/>
                  <a:moveTo>
                    <a:pt x="1028" y="158"/>
                  </a:moveTo>
                  <a:cubicBezTo>
                    <a:pt x="1027" y="153"/>
                    <a:pt x="1025" y="148"/>
                    <a:pt x="1023" y="143"/>
                  </a:cubicBezTo>
                  <a:cubicBezTo>
                    <a:pt x="1016" y="145"/>
                    <a:pt x="1016" y="145"/>
                    <a:pt x="1016" y="145"/>
                  </a:cubicBezTo>
                  <a:cubicBezTo>
                    <a:pt x="1018" y="150"/>
                    <a:pt x="1019" y="155"/>
                    <a:pt x="1021" y="160"/>
                  </a:cubicBezTo>
                  <a:lnTo>
                    <a:pt x="1028" y="158"/>
                  </a:lnTo>
                  <a:close/>
                  <a:moveTo>
                    <a:pt x="1033" y="180"/>
                  </a:moveTo>
                  <a:cubicBezTo>
                    <a:pt x="1032" y="175"/>
                    <a:pt x="1031" y="170"/>
                    <a:pt x="1030" y="165"/>
                  </a:cubicBezTo>
                  <a:cubicBezTo>
                    <a:pt x="1023" y="167"/>
                    <a:pt x="1023" y="167"/>
                    <a:pt x="1023" y="167"/>
                  </a:cubicBezTo>
                  <a:cubicBezTo>
                    <a:pt x="1024" y="172"/>
                    <a:pt x="1025" y="177"/>
                    <a:pt x="1025" y="181"/>
                  </a:cubicBezTo>
                  <a:cubicBezTo>
                    <a:pt x="1033" y="180"/>
                    <a:pt x="1033" y="180"/>
                    <a:pt x="1033" y="180"/>
                  </a:cubicBezTo>
                  <a:close/>
                  <a:moveTo>
                    <a:pt x="1036" y="203"/>
                  </a:moveTo>
                  <a:cubicBezTo>
                    <a:pt x="1035" y="198"/>
                    <a:pt x="1035" y="193"/>
                    <a:pt x="1034" y="188"/>
                  </a:cubicBezTo>
                  <a:cubicBezTo>
                    <a:pt x="1027" y="189"/>
                    <a:pt x="1027" y="189"/>
                    <a:pt x="1027" y="189"/>
                  </a:cubicBezTo>
                  <a:cubicBezTo>
                    <a:pt x="1027" y="194"/>
                    <a:pt x="1028" y="199"/>
                    <a:pt x="1028" y="204"/>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50"/>
                  </a:moveTo>
                  <a:cubicBezTo>
                    <a:pt x="1035" y="244"/>
                    <a:pt x="1036" y="239"/>
                    <a:pt x="1036" y="234"/>
                  </a:cubicBezTo>
                  <a:cubicBezTo>
                    <a:pt x="1028" y="234"/>
                    <a:pt x="1028" y="234"/>
                    <a:pt x="1028" y="234"/>
                  </a:cubicBezTo>
                  <a:cubicBezTo>
                    <a:pt x="1028" y="239"/>
                    <a:pt x="1027" y="244"/>
                    <a:pt x="1027" y="249"/>
                  </a:cubicBezTo>
                  <a:lnTo>
                    <a:pt x="1035" y="250"/>
                  </a:lnTo>
                  <a:close/>
                  <a:moveTo>
                    <a:pt x="1031" y="272"/>
                  </a:moveTo>
                  <a:cubicBezTo>
                    <a:pt x="1032" y="267"/>
                    <a:pt x="1033" y="262"/>
                    <a:pt x="1034" y="257"/>
                  </a:cubicBezTo>
                  <a:cubicBezTo>
                    <a:pt x="1026" y="256"/>
                    <a:pt x="1026" y="256"/>
                    <a:pt x="1026" y="256"/>
                  </a:cubicBezTo>
                  <a:cubicBezTo>
                    <a:pt x="1025" y="261"/>
                    <a:pt x="1024" y="266"/>
                    <a:pt x="1023" y="271"/>
                  </a:cubicBezTo>
                  <a:cubicBezTo>
                    <a:pt x="1031" y="272"/>
                    <a:pt x="1031" y="272"/>
                    <a:pt x="1031" y="272"/>
                  </a:cubicBezTo>
                  <a:close/>
                  <a:moveTo>
                    <a:pt x="1025" y="295"/>
                  </a:moveTo>
                  <a:cubicBezTo>
                    <a:pt x="1026" y="290"/>
                    <a:pt x="1028" y="285"/>
                    <a:pt x="1029" y="280"/>
                  </a:cubicBezTo>
                  <a:cubicBezTo>
                    <a:pt x="1022" y="278"/>
                    <a:pt x="1022" y="278"/>
                    <a:pt x="1022" y="278"/>
                  </a:cubicBezTo>
                  <a:cubicBezTo>
                    <a:pt x="1020" y="283"/>
                    <a:pt x="1019" y="288"/>
                    <a:pt x="1017" y="292"/>
                  </a:cubicBezTo>
                  <a:cubicBezTo>
                    <a:pt x="1025" y="295"/>
                    <a:pt x="1025" y="295"/>
                    <a:pt x="1025" y="295"/>
                  </a:cubicBezTo>
                  <a:close/>
                  <a:moveTo>
                    <a:pt x="1016" y="316"/>
                  </a:moveTo>
                  <a:cubicBezTo>
                    <a:pt x="1018" y="312"/>
                    <a:pt x="1020" y="307"/>
                    <a:pt x="1022" y="302"/>
                  </a:cubicBezTo>
                  <a:cubicBezTo>
                    <a:pt x="1015" y="299"/>
                    <a:pt x="1015" y="299"/>
                    <a:pt x="1015" y="299"/>
                  </a:cubicBezTo>
                  <a:cubicBezTo>
                    <a:pt x="1013" y="304"/>
                    <a:pt x="1011" y="309"/>
                    <a:pt x="1009" y="313"/>
                  </a:cubicBezTo>
                  <a:cubicBezTo>
                    <a:pt x="1016" y="316"/>
                    <a:pt x="1016" y="316"/>
                    <a:pt x="1016" y="316"/>
                  </a:cubicBezTo>
                  <a:close/>
                  <a:moveTo>
                    <a:pt x="1005" y="337"/>
                  </a:moveTo>
                  <a:cubicBezTo>
                    <a:pt x="1008" y="332"/>
                    <a:pt x="1010" y="328"/>
                    <a:pt x="1013" y="323"/>
                  </a:cubicBezTo>
                  <a:cubicBezTo>
                    <a:pt x="1006" y="320"/>
                    <a:pt x="1006" y="320"/>
                    <a:pt x="1006" y="320"/>
                  </a:cubicBezTo>
                  <a:cubicBezTo>
                    <a:pt x="1003" y="324"/>
                    <a:pt x="1001" y="329"/>
                    <a:pt x="998" y="333"/>
                  </a:cubicBezTo>
                  <a:lnTo>
                    <a:pt x="1005" y="337"/>
                  </a:lnTo>
                  <a:close/>
                  <a:moveTo>
                    <a:pt x="992" y="356"/>
                  </a:moveTo>
                  <a:cubicBezTo>
                    <a:pt x="995" y="352"/>
                    <a:pt x="998" y="348"/>
                    <a:pt x="1001" y="343"/>
                  </a:cubicBezTo>
                  <a:cubicBezTo>
                    <a:pt x="994" y="339"/>
                    <a:pt x="994" y="339"/>
                    <a:pt x="994" y="339"/>
                  </a:cubicBezTo>
                  <a:cubicBezTo>
                    <a:pt x="992" y="343"/>
                    <a:pt x="989" y="347"/>
                    <a:pt x="986" y="351"/>
                  </a:cubicBezTo>
                  <a:lnTo>
                    <a:pt x="992" y="356"/>
                  </a:lnTo>
                  <a:close/>
                  <a:moveTo>
                    <a:pt x="977" y="374"/>
                  </a:moveTo>
                  <a:cubicBezTo>
                    <a:pt x="980" y="370"/>
                    <a:pt x="984" y="366"/>
                    <a:pt x="987" y="362"/>
                  </a:cubicBezTo>
                  <a:cubicBezTo>
                    <a:pt x="981" y="357"/>
                    <a:pt x="981" y="357"/>
                    <a:pt x="981" y="357"/>
                  </a:cubicBezTo>
                  <a:cubicBezTo>
                    <a:pt x="978" y="361"/>
                    <a:pt x="975" y="365"/>
                    <a:pt x="971" y="368"/>
                  </a:cubicBezTo>
                  <a:cubicBezTo>
                    <a:pt x="977" y="374"/>
                    <a:pt x="977" y="374"/>
                    <a:pt x="977" y="374"/>
                  </a:cubicBezTo>
                  <a:close/>
                  <a:moveTo>
                    <a:pt x="960" y="390"/>
                  </a:moveTo>
                  <a:cubicBezTo>
                    <a:pt x="964" y="386"/>
                    <a:pt x="968" y="383"/>
                    <a:pt x="971" y="379"/>
                  </a:cubicBezTo>
                  <a:cubicBezTo>
                    <a:pt x="966" y="374"/>
                    <a:pt x="966" y="374"/>
                    <a:pt x="966" y="374"/>
                  </a:cubicBezTo>
                  <a:cubicBezTo>
                    <a:pt x="962" y="377"/>
                    <a:pt x="959" y="380"/>
                    <a:pt x="955" y="384"/>
                  </a:cubicBezTo>
                  <a:cubicBezTo>
                    <a:pt x="960" y="390"/>
                    <a:pt x="960" y="390"/>
                    <a:pt x="960" y="390"/>
                  </a:cubicBezTo>
                  <a:close/>
                  <a:moveTo>
                    <a:pt x="941" y="404"/>
                  </a:moveTo>
                  <a:cubicBezTo>
                    <a:pt x="946" y="401"/>
                    <a:pt x="950" y="398"/>
                    <a:pt x="954" y="394"/>
                  </a:cubicBezTo>
                  <a:cubicBezTo>
                    <a:pt x="949" y="388"/>
                    <a:pt x="949" y="388"/>
                    <a:pt x="949" y="388"/>
                  </a:cubicBezTo>
                  <a:cubicBezTo>
                    <a:pt x="945" y="391"/>
                    <a:pt x="941" y="394"/>
                    <a:pt x="937" y="397"/>
                  </a:cubicBezTo>
                  <a:cubicBezTo>
                    <a:pt x="941" y="404"/>
                    <a:pt x="941" y="404"/>
                    <a:pt x="941" y="404"/>
                  </a:cubicBezTo>
                  <a:close/>
                  <a:moveTo>
                    <a:pt x="921" y="416"/>
                  </a:moveTo>
                  <a:cubicBezTo>
                    <a:pt x="926" y="413"/>
                    <a:pt x="930" y="411"/>
                    <a:pt x="935" y="408"/>
                  </a:cubicBezTo>
                  <a:cubicBezTo>
                    <a:pt x="931" y="401"/>
                    <a:pt x="931" y="401"/>
                    <a:pt x="931" y="401"/>
                  </a:cubicBezTo>
                  <a:cubicBezTo>
                    <a:pt x="927" y="404"/>
                    <a:pt x="922" y="406"/>
                    <a:pt x="918" y="409"/>
                  </a:cubicBezTo>
                  <a:cubicBezTo>
                    <a:pt x="921" y="416"/>
                    <a:pt x="921" y="416"/>
                    <a:pt x="921" y="416"/>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3"/>
                  </a:moveTo>
                  <a:cubicBezTo>
                    <a:pt x="883" y="431"/>
                    <a:pt x="888" y="430"/>
                    <a:pt x="893" y="428"/>
                  </a:cubicBezTo>
                  <a:cubicBezTo>
                    <a:pt x="890" y="421"/>
                    <a:pt x="890" y="421"/>
                    <a:pt x="890" y="421"/>
                  </a:cubicBezTo>
                  <a:cubicBezTo>
                    <a:pt x="886" y="422"/>
                    <a:pt x="881" y="424"/>
                    <a:pt x="876" y="425"/>
                  </a:cubicBezTo>
                  <a:lnTo>
                    <a:pt x="878" y="433"/>
                  </a:lnTo>
                  <a:close/>
                  <a:moveTo>
                    <a:pt x="856" y="438"/>
                  </a:moveTo>
                  <a:cubicBezTo>
                    <a:pt x="861" y="437"/>
                    <a:pt x="866" y="436"/>
                    <a:pt x="871" y="435"/>
                  </a:cubicBezTo>
                  <a:cubicBezTo>
                    <a:pt x="869" y="427"/>
                    <a:pt x="869" y="427"/>
                    <a:pt x="869" y="427"/>
                  </a:cubicBezTo>
                  <a:cubicBezTo>
                    <a:pt x="864" y="428"/>
                    <a:pt x="859" y="429"/>
                    <a:pt x="854" y="430"/>
                  </a:cubicBezTo>
                  <a:cubicBezTo>
                    <a:pt x="856" y="438"/>
                    <a:pt x="856" y="438"/>
                    <a:pt x="856" y="438"/>
                  </a:cubicBezTo>
                  <a:close/>
                  <a:moveTo>
                    <a:pt x="832" y="440"/>
                  </a:moveTo>
                  <a:cubicBezTo>
                    <a:pt x="838" y="440"/>
                    <a:pt x="843" y="439"/>
                    <a:pt x="848" y="439"/>
                  </a:cubicBezTo>
                  <a:cubicBezTo>
                    <a:pt x="847" y="431"/>
                    <a:pt x="847" y="431"/>
                    <a:pt x="847" y="431"/>
                  </a:cubicBezTo>
                  <a:cubicBezTo>
                    <a:pt x="842" y="432"/>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40"/>
                    <a:pt x="203" y="440"/>
                    <a:pt x="208" y="440"/>
                  </a:cubicBezTo>
                  <a:cubicBezTo>
                    <a:pt x="208" y="432"/>
                    <a:pt x="208" y="432"/>
                    <a:pt x="208" y="432"/>
                  </a:cubicBezTo>
                  <a:cubicBezTo>
                    <a:pt x="203" y="432"/>
                    <a:pt x="198" y="432"/>
                    <a:pt x="194" y="431"/>
                  </a:cubicBezTo>
                  <a:cubicBezTo>
                    <a:pt x="193" y="439"/>
                    <a:pt x="193" y="439"/>
                    <a:pt x="193" y="439"/>
                  </a:cubicBezTo>
                  <a:close/>
                  <a:moveTo>
                    <a:pt x="170" y="436"/>
                  </a:moveTo>
                  <a:cubicBezTo>
                    <a:pt x="175" y="437"/>
                    <a:pt x="180" y="438"/>
                    <a:pt x="185" y="438"/>
                  </a:cubicBezTo>
                  <a:cubicBezTo>
                    <a:pt x="186" y="431"/>
                    <a:pt x="186" y="431"/>
                    <a:pt x="186" y="431"/>
                  </a:cubicBezTo>
                  <a:cubicBezTo>
                    <a:pt x="181" y="430"/>
                    <a:pt x="176" y="429"/>
                    <a:pt x="171" y="428"/>
                  </a:cubicBezTo>
                  <a:cubicBezTo>
                    <a:pt x="170" y="436"/>
                    <a:pt x="170" y="436"/>
                    <a:pt x="170" y="436"/>
                  </a:cubicBezTo>
                  <a:close/>
                  <a:moveTo>
                    <a:pt x="147" y="430"/>
                  </a:moveTo>
                  <a:cubicBezTo>
                    <a:pt x="152" y="431"/>
                    <a:pt x="157" y="433"/>
                    <a:pt x="162" y="434"/>
                  </a:cubicBezTo>
                  <a:cubicBezTo>
                    <a:pt x="164" y="426"/>
                    <a:pt x="164" y="426"/>
                    <a:pt x="164" y="426"/>
                  </a:cubicBezTo>
                  <a:cubicBezTo>
                    <a:pt x="159" y="425"/>
                    <a:pt x="155" y="424"/>
                    <a:pt x="150" y="422"/>
                  </a:cubicBezTo>
                  <a:cubicBezTo>
                    <a:pt x="147" y="430"/>
                    <a:pt x="147" y="430"/>
                    <a:pt x="147" y="430"/>
                  </a:cubicBezTo>
                  <a:close/>
                  <a:moveTo>
                    <a:pt x="126" y="421"/>
                  </a:moveTo>
                  <a:cubicBezTo>
                    <a:pt x="130" y="423"/>
                    <a:pt x="135" y="425"/>
                    <a:pt x="140" y="427"/>
                  </a:cubicBezTo>
                  <a:cubicBezTo>
                    <a:pt x="143" y="420"/>
                    <a:pt x="143" y="420"/>
                    <a:pt x="143" y="420"/>
                  </a:cubicBezTo>
                  <a:cubicBezTo>
                    <a:pt x="138" y="418"/>
                    <a:pt x="133" y="416"/>
                    <a:pt x="129" y="414"/>
                  </a:cubicBezTo>
                  <a:cubicBezTo>
                    <a:pt x="126" y="421"/>
                    <a:pt x="126" y="421"/>
                    <a:pt x="126" y="421"/>
                  </a:cubicBezTo>
                  <a:close/>
                  <a:moveTo>
                    <a:pt x="105" y="410"/>
                  </a:moveTo>
                  <a:cubicBezTo>
                    <a:pt x="110" y="413"/>
                    <a:pt x="114" y="415"/>
                    <a:pt x="119" y="418"/>
                  </a:cubicBezTo>
                  <a:cubicBezTo>
                    <a:pt x="122" y="411"/>
                    <a:pt x="122" y="411"/>
                    <a:pt x="122" y="411"/>
                  </a:cubicBezTo>
                  <a:cubicBezTo>
                    <a:pt x="118" y="409"/>
                    <a:pt x="113" y="406"/>
                    <a:pt x="109" y="404"/>
                  </a:cubicBezTo>
                  <a:cubicBezTo>
                    <a:pt x="105" y="410"/>
                    <a:pt x="105" y="410"/>
                    <a:pt x="105" y="410"/>
                  </a:cubicBezTo>
                  <a:close/>
                  <a:moveTo>
                    <a:pt x="86" y="397"/>
                  </a:moveTo>
                  <a:cubicBezTo>
                    <a:pt x="90" y="400"/>
                    <a:pt x="94" y="403"/>
                    <a:pt x="99" y="406"/>
                  </a:cubicBezTo>
                  <a:cubicBezTo>
                    <a:pt x="103" y="400"/>
                    <a:pt x="103" y="400"/>
                    <a:pt x="103" y="400"/>
                  </a:cubicBezTo>
                  <a:cubicBezTo>
                    <a:pt x="99" y="397"/>
                    <a:pt x="95" y="394"/>
                    <a:pt x="91" y="391"/>
                  </a:cubicBezTo>
                  <a:lnTo>
                    <a:pt x="86" y="397"/>
                  </a:lnTo>
                  <a:close/>
                  <a:moveTo>
                    <a:pt x="68" y="382"/>
                  </a:moveTo>
                  <a:cubicBezTo>
                    <a:pt x="72" y="386"/>
                    <a:pt x="76" y="389"/>
                    <a:pt x="80" y="393"/>
                  </a:cubicBezTo>
                  <a:cubicBezTo>
                    <a:pt x="85" y="387"/>
                    <a:pt x="85" y="387"/>
                    <a:pt x="85" y="387"/>
                  </a:cubicBezTo>
                  <a:cubicBezTo>
                    <a:pt x="81" y="383"/>
                    <a:pt x="77" y="380"/>
                    <a:pt x="73" y="377"/>
                  </a:cubicBezTo>
                  <a:cubicBezTo>
                    <a:pt x="68" y="382"/>
                    <a:pt x="68" y="382"/>
                    <a:pt x="68" y="382"/>
                  </a:cubicBezTo>
                  <a:close/>
                  <a:moveTo>
                    <a:pt x="52" y="366"/>
                  </a:moveTo>
                  <a:cubicBezTo>
                    <a:pt x="55" y="370"/>
                    <a:pt x="59" y="373"/>
                    <a:pt x="63" y="377"/>
                  </a:cubicBezTo>
                  <a:cubicBezTo>
                    <a:pt x="68" y="372"/>
                    <a:pt x="68" y="372"/>
                    <a:pt x="68" y="372"/>
                  </a:cubicBezTo>
                  <a:cubicBezTo>
                    <a:pt x="65" y="368"/>
                    <a:pt x="61" y="364"/>
                    <a:pt x="58" y="361"/>
                  </a:cubicBezTo>
                  <a:cubicBezTo>
                    <a:pt x="52" y="366"/>
                    <a:pt x="52" y="366"/>
                    <a:pt x="52" y="366"/>
                  </a:cubicBezTo>
                  <a:close/>
                  <a:moveTo>
                    <a:pt x="38" y="347"/>
                  </a:moveTo>
                  <a:cubicBezTo>
                    <a:pt x="41" y="352"/>
                    <a:pt x="44" y="356"/>
                    <a:pt x="47" y="360"/>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1"/>
                  </a:cubicBezTo>
                  <a:cubicBezTo>
                    <a:pt x="40" y="337"/>
                    <a:pt x="40" y="337"/>
                    <a:pt x="40" y="337"/>
                  </a:cubicBezTo>
                  <a:cubicBezTo>
                    <a:pt x="37" y="332"/>
                    <a:pt x="35" y="328"/>
                    <a:pt x="33" y="324"/>
                  </a:cubicBezTo>
                  <a:cubicBezTo>
                    <a:pt x="26" y="327"/>
                    <a:pt x="26" y="327"/>
                    <a:pt x="26" y="327"/>
                  </a:cubicBezTo>
                  <a:close/>
                  <a:moveTo>
                    <a:pt x="16" y="306"/>
                  </a:moveTo>
                  <a:cubicBezTo>
                    <a:pt x="18" y="311"/>
                    <a:pt x="20" y="316"/>
                    <a:pt x="22" y="321"/>
                  </a:cubicBezTo>
                  <a:cubicBezTo>
                    <a:pt x="29" y="317"/>
                    <a:pt x="29" y="317"/>
                    <a:pt x="29" y="317"/>
                  </a:cubicBezTo>
                  <a:cubicBezTo>
                    <a:pt x="27" y="313"/>
                    <a:pt x="25" y="308"/>
                    <a:pt x="23" y="304"/>
                  </a:cubicBezTo>
                  <a:cubicBezTo>
                    <a:pt x="16" y="306"/>
                    <a:pt x="16" y="306"/>
                    <a:pt x="16" y="306"/>
                  </a:cubicBezTo>
                  <a:close/>
                  <a:moveTo>
                    <a:pt x="8" y="284"/>
                  </a:moveTo>
                  <a:cubicBezTo>
                    <a:pt x="10" y="289"/>
                    <a:pt x="11" y="294"/>
                    <a:pt x="13" y="299"/>
                  </a:cubicBezTo>
                  <a:cubicBezTo>
                    <a:pt x="20" y="297"/>
                    <a:pt x="20" y="297"/>
                    <a:pt x="20" y="297"/>
                  </a:cubicBezTo>
                  <a:cubicBezTo>
                    <a:pt x="19" y="292"/>
                    <a:pt x="17" y="287"/>
                    <a:pt x="16" y="282"/>
                  </a:cubicBezTo>
                  <a:cubicBezTo>
                    <a:pt x="8" y="284"/>
                    <a:pt x="8" y="284"/>
                    <a:pt x="8" y="284"/>
                  </a:cubicBezTo>
                  <a:close/>
                  <a:moveTo>
                    <a:pt x="3" y="262"/>
                  </a:moveTo>
                  <a:cubicBezTo>
                    <a:pt x="4" y="267"/>
                    <a:pt x="5" y="272"/>
                    <a:pt x="6" y="277"/>
                  </a:cubicBezTo>
                  <a:cubicBezTo>
                    <a:pt x="14" y="275"/>
                    <a:pt x="14" y="275"/>
                    <a:pt x="14" y="275"/>
                  </a:cubicBezTo>
                  <a:cubicBezTo>
                    <a:pt x="13" y="270"/>
                    <a:pt x="12" y="265"/>
                    <a:pt x="11" y="261"/>
                  </a:cubicBezTo>
                  <a:cubicBezTo>
                    <a:pt x="3" y="262"/>
                    <a:pt x="3" y="262"/>
                    <a:pt x="3" y="262"/>
                  </a:cubicBezTo>
                  <a:close/>
                  <a:moveTo>
                    <a:pt x="0" y="239"/>
                  </a:moveTo>
                  <a:cubicBezTo>
                    <a:pt x="1" y="244"/>
                    <a:pt x="1" y="249"/>
                    <a:pt x="2" y="254"/>
                  </a:cubicBezTo>
                  <a:cubicBezTo>
                    <a:pt x="10" y="253"/>
                    <a:pt x="10" y="253"/>
                    <a:pt x="10" y="253"/>
                  </a:cubicBezTo>
                  <a:cubicBezTo>
                    <a:pt x="9" y="248"/>
                    <a:pt x="9" y="243"/>
                    <a:pt x="8" y="238"/>
                  </a:cubicBezTo>
                  <a:cubicBezTo>
                    <a:pt x="0" y="239"/>
                    <a:pt x="0" y="239"/>
                    <a:pt x="0" y="239"/>
                  </a:cubicBezTo>
                  <a:close/>
                  <a:moveTo>
                    <a:pt x="0" y="216"/>
                  </a:moveTo>
                  <a:cubicBezTo>
                    <a:pt x="0" y="226"/>
                    <a:pt x="0" y="226"/>
                    <a:pt x="0" y="226"/>
                  </a:cubicBezTo>
                  <a:cubicBezTo>
                    <a:pt x="0" y="228"/>
                    <a:pt x="0" y="229"/>
                    <a:pt x="0" y="231"/>
                  </a:cubicBezTo>
                  <a:cubicBezTo>
                    <a:pt x="8" y="231"/>
                    <a:pt x="8" y="231"/>
                    <a:pt x="8" y="231"/>
                  </a:cubicBezTo>
                  <a:cubicBezTo>
                    <a:pt x="8" y="229"/>
                    <a:pt x="8" y="228"/>
                    <a:pt x="8" y="226"/>
                  </a:cubicBezTo>
                  <a:cubicBezTo>
                    <a:pt x="8" y="216"/>
                    <a:pt x="8" y="216"/>
                    <a:pt x="8" y="216"/>
                  </a:cubicBezTo>
                  <a:cubicBezTo>
                    <a:pt x="0" y="216"/>
                    <a:pt x="0" y="216"/>
                    <a:pt x="0" y="216"/>
                  </a:cubicBezTo>
                  <a:close/>
                  <a:moveTo>
                    <a:pt x="1" y="192"/>
                  </a:moveTo>
                  <a:cubicBezTo>
                    <a:pt x="1" y="198"/>
                    <a:pt x="0" y="203"/>
                    <a:pt x="0" y="208"/>
                  </a:cubicBezTo>
                  <a:cubicBezTo>
                    <a:pt x="8" y="208"/>
                    <a:pt x="8" y="208"/>
                    <a:pt x="8" y="208"/>
                  </a:cubicBezTo>
                  <a:cubicBezTo>
                    <a:pt x="8" y="203"/>
                    <a:pt x="8" y="198"/>
                    <a:pt x="9" y="193"/>
                  </a:cubicBezTo>
                  <a:cubicBezTo>
                    <a:pt x="1" y="192"/>
                    <a:pt x="1" y="192"/>
                    <a:pt x="1" y="192"/>
                  </a:cubicBezTo>
                  <a:close/>
                  <a:moveTo>
                    <a:pt x="5" y="170"/>
                  </a:moveTo>
                  <a:cubicBezTo>
                    <a:pt x="4" y="175"/>
                    <a:pt x="3" y="180"/>
                    <a:pt x="2" y="185"/>
                  </a:cubicBezTo>
                  <a:cubicBezTo>
                    <a:pt x="10" y="186"/>
                    <a:pt x="10" y="186"/>
                    <a:pt x="10" y="186"/>
                  </a:cubicBezTo>
                  <a:cubicBezTo>
                    <a:pt x="11" y="181"/>
                    <a:pt x="11" y="176"/>
                    <a:pt x="13" y="171"/>
                  </a:cubicBezTo>
                  <a:cubicBezTo>
                    <a:pt x="5" y="170"/>
                    <a:pt x="5" y="170"/>
                    <a:pt x="5" y="170"/>
                  </a:cubicBezTo>
                  <a:close/>
                  <a:moveTo>
                    <a:pt x="11" y="147"/>
                  </a:moveTo>
                  <a:cubicBezTo>
                    <a:pt x="9" y="152"/>
                    <a:pt x="8" y="157"/>
                    <a:pt x="7" y="162"/>
                  </a:cubicBezTo>
                  <a:cubicBezTo>
                    <a:pt x="14" y="164"/>
                    <a:pt x="14" y="164"/>
                    <a:pt x="14" y="164"/>
                  </a:cubicBezTo>
                  <a:cubicBezTo>
                    <a:pt x="15" y="159"/>
                    <a:pt x="17" y="154"/>
                    <a:pt x="18" y="150"/>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 name="Rectangle 81"/>
            <p:cNvSpPr>
              <a:spLocks noChangeArrowheads="1"/>
            </p:cNvSpPr>
            <p:nvPr/>
          </p:nvSpPr>
          <p:spPr bwMode="auto">
            <a:xfrm>
              <a:off x="4881563" y="3425825"/>
              <a:ext cx="179388" cy="17938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 name="Rectangle 82"/>
            <p:cNvSpPr>
              <a:spLocks noChangeArrowheads="1"/>
            </p:cNvSpPr>
            <p:nvPr/>
          </p:nvSpPr>
          <p:spPr bwMode="auto">
            <a:xfrm>
              <a:off x="5076825" y="3425825"/>
              <a:ext cx="179388" cy="17938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Rectangle 83"/>
            <p:cNvSpPr>
              <a:spLocks noChangeArrowheads="1"/>
            </p:cNvSpPr>
            <p:nvPr/>
          </p:nvSpPr>
          <p:spPr bwMode="auto">
            <a:xfrm>
              <a:off x="4881563" y="3621088"/>
              <a:ext cx="179388" cy="1809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5" name="Rectangle 84"/>
            <p:cNvSpPr>
              <a:spLocks noChangeArrowheads="1"/>
            </p:cNvSpPr>
            <p:nvPr/>
          </p:nvSpPr>
          <p:spPr bwMode="auto">
            <a:xfrm>
              <a:off x="5076825" y="3621088"/>
              <a:ext cx="179388" cy="1809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6" name="Freeform 85"/>
            <p:cNvSpPr>
              <a:spLocks noEditPoints="1"/>
            </p:cNvSpPr>
            <p:nvPr/>
          </p:nvSpPr>
          <p:spPr bwMode="auto">
            <a:xfrm>
              <a:off x="5407025" y="3154363"/>
              <a:ext cx="269875" cy="857250"/>
            </a:xfrm>
            <a:custGeom>
              <a:avLst/>
              <a:gdLst>
                <a:gd name="T0" fmla="*/ 72 w 72"/>
                <a:gd name="T1" fmla="*/ 8 h 228"/>
                <a:gd name="T2" fmla="*/ 66 w 72"/>
                <a:gd name="T3" fmla="*/ 1 h 228"/>
                <a:gd name="T4" fmla="*/ 49 w 72"/>
                <a:gd name="T5" fmla="*/ 18 h 228"/>
                <a:gd name="T6" fmla="*/ 58 w 72"/>
                <a:gd name="T7" fmla="*/ 3 h 228"/>
                <a:gd name="T8" fmla="*/ 49 w 72"/>
                <a:gd name="T9" fmla="*/ 18 h 228"/>
                <a:gd name="T10" fmla="*/ 45 w 72"/>
                <a:gd name="T11" fmla="*/ 23 h 228"/>
                <a:gd name="T12" fmla="*/ 33 w 72"/>
                <a:gd name="T13" fmla="*/ 35 h 228"/>
                <a:gd name="T14" fmla="*/ 40 w 72"/>
                <a:gd name="T15" fmla="*/ 58 h 228"/>
                <a:gd name="T16" fmla="*/ 32 w 72"/>
                <a:gd name="T17" fmla="*/ 43 h 228"/>
                <a:gd name="T18" fmla="*/ 40 w 72"/>
                <a:gd name="T19" fmla="*/ 58 h 228"/>
                <a:gd name="T20" fmla="*/ 40 w 72"/>
                <a:gd name="T21" fmla="*/ 78 h 228"/>
                <a:gd name="T22" fmla="*/ 32 w 72"/>
                <a:gd name="T23" fmla="*/ 65 h 228"/>
                <a:gd name="T24" fmla="*/ 32 w 72"/>
                <a:gd name="T25" fmla="*/ 80 h 228"/>
                <a:gd name="T26" fmla="*/ 30 w 72"/>
                <a:gd name="T27" fmla="*/ 104 h 228"/>
                <a:gd name="T28" fmla="*/ 31 w 72"/>
                <a:gd name="T29" fmla="*/ 87 h 228"/>
                <a:gd name="T30" fmla="*/ 30 w 72"/>
                <a:gd name="T31" fmla="*/ 104 h 228"/>
                <a:gd name="T32" fmla="*/ 24 w 72"/>
                <a:gd name="T33" fmla="*/ 110 h 228"/>
                <a:gd name="T34" fmla="*/ 8 w 72"/>
                <a:gd name="T35" fmla="*/ 110 h 228"/>
                <a:gd name="T36" fmla="*/ 15 w 72"/>
                <a:gd name="T37" fmla="*/ 114 h 228"/>
                <a:gd name="T38" fmla="*/ 0 w 72"/>
                <a:gd name="T39" fmla="*/ 118 h 228"/>
                <a:gd name="T40" fmla="*/ 1 w 72"/>
                <a:gd name="T41" fmla="*/ 110 h 228"/>
                <a:gd name="T42" fmla="*/ 0 w 72"/>
                <a:gd name="T43" fmla="*/ 118 h 228"/>
                <a:gd name="T44" fmla="*/ 15 w 72"/>
                <a:gd name="T45" fmla="*/ 114 h 228"/>
                <a:gd name="T46" fmla="*/ 23 w 72"/>
                <a:gd name="T47" fmla="*/ 118 h 228"/>
                <a:gd name="T48" fmla="*/ 28 w 72"/>
                <a:gd name="T49" fmla="*/ 134 h 228"/>
                <a:gd name="T50" fmla="*/ 40 w 72"/>
                <a:gd name="T51" fmla="*/ 154 h 228"/>
                <a:gd name="T52" fmla="*/ 38 w 72"/>
                <a:gd name="T53" fmla="*/ 137 h 228"/>
                <a:gd name="T54" fmla="*/ 32 w 72"/>
                <a:gd name="T55" fmla="*/ 150 h 228"/>
                <a:gd name="T56" fmla="*/ 40 w 72"/>
                <a:gd name="T57" fmla="*/ 154 h 228"/>
                <a:gd name="T58" fmla="*/ 40 w 72"/>
                <a:gd name="T59" fmla="*/ 161 h 228"/>
                <a:gd name="T60" fmla="*/ 32 w 72"/>
                <a:gd name="T61" fmla="*/ 177 h 228"/>
                <a:gd name="T62" fmla="*/ 41 w 72"/>
                <a:gd name="T63" fmla="*/ 198 h 228"/>
                <a:gd name="T64" fmla="*/ 40 w 72"/>
                <a:gd name="T65" fmla="*/ 184 h 228"/>
                <a:gd name="T66" fmla="*/ 32 w 72"/>
                <a:gd name="T67" fmla="*/ 189 h 228"/>
                <a:gd name="T68" fmla="*/ 41 w 72"/>
                <a:gd name="T69" fmla="*/ 198 h 228"/>
                <a:gd name="T70" fmla="*/ 44 w 72"/>
                <a:gd name="T71" fmla="*/ 204 h 228"/>
                <a:gd name="T72" fmla="*/ 48 w 72"/>
                <a:gd name="T73" fmla="*/ 221 h 228"/>
                <a:gd name="T74" fmla="*/ 72 w 72"/>
                <a:gd name="T75" fmla="*/ 221 h 228"/>
                <a:gd name="T76" fmla="*/ 56 w 72"/>
                <a:gd name="T77" fmla="*/ 225 h 228"/>
                <a:gd name="T78" fmla="*/ 72 w 72"/>
                <a:gd name="T79" fmla="*/ 22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228">
                  <a:moveTo>
                    <a:pt x="67" y="8"/>
                  </a:moveTo>
                  <a:cubicBezTo>
                    <a:pt x="69" y="8"/>
                    <a:pt x="70" y="8"/>
                    <a:pt x="72" y="8"/>
                  </a:cubicBezTo>
                  <a:cubicBezTo>
                    <a:pt x="72" y="0"/>
                    <a:pt x="72" y="0"/>
                    <a:pt x="72" y="0"/>
                  </a:cubicBezTo>
                  <a:cubicBezTo>
                    <a:pt x="70" y="0"/>
                    <a:pt x="68" y="0"/>
                    <a:pt x="66" y="1"/>
                  </a:cubicBezTo>
                  <a:lnTo>
                    <a:pt x="67" y="8"/>
                  </a:lnTo>
                  <a:close/>
                  <a:moveTo>
                    <a:pt x="49" y="18"/>
                  </a:moveTo>
                  <a:cubicBezTo>
                    <a:pt x="52" y="14"/>
                    <a:pt x="56" y="12"/>
                    <a:pt x="60" y="10"/>
                  </a:cubicBezTo>
                  <a:cubicBezTo>
                    <a:pt x="58" y="3"/>
                    <a:pt x="58" y="3"/>
                    <a:pt x="58" y="3"/>
                  </a:cubicBezTo>
                  <a:cubicBezTo>
                    <a:pt x="52" y="5"/>
                    <a:pt x="48" y="8"/>
                    <a:pt x="44" y="12"/>
                  </a:cubicBezTo>
                  <a:cubicBezTo>
                    <a:pt x="49" y="18"/>
                    <a:pt x="49" y="18"/>
                    <a:pt x="49" y="18"/>
                  </a:cubicBezTo>
                  <a:close/>
                  <a:moveTo>
                    <a:pt x="40" y="36"/>
                  </a:moveTo>
                  <a:cubicBezTo>
                    <a:pt x="41" y="31"/>
                    <a:pt x="43" y="27"/>
                    <a:pt x="45" y="23"/>
                  </a:cubicBezTo>
                  <a:cubicBezTo>
                    <a:pt x="38" y="19"/>
                    <a:pt x="38" y="19"/>
                    <a:pt x="38" y="19"/>
                  </a:cubicBezTo>
                  <a:cubicBezTo>
                    <a:pt x="35" y="23"/>
                    <a:pt x="33" y="29"/>
                    <a:pt x="33" y="35"/>
                  </a:cubicBezTo>
                  <a:lnTo>
                    <a:pt x="40" y="36"/>
                  </a:lnTo>
                  <a:close/>
                  <a:moveTo>
                    <a:pt x="40" y="58"/>
                  </a:moveTo>
                  <a:cubicBezTo>
                    <a:pt x="40" y="43"/>
                    <a:pt x="40" y="43"/>
                    <a:pt x="40" y="43"/>
                  </a:cubicBezTo>
                  <a:cubicBezTo>
                    <a:pt x="32" y="43"/>
                    <a:pt x="32" y="43"/>
                    <a:pt x="32" y="43"/>
                  </a:cubicBezTo>
                  <a:cubicBezTo>
                    <a:pt x="32" y="58"/>
                    <a:pt x="32" y="58"/>
                    <a:pt x="32" y="58"/>
                  </a:cubicBezTo>
                  <a:lnTo>
                    <a:pt x="40" y="58"/>
                  </a:lnTo>
                  <a:close/>
                  <a:moveTo>
                    <a:pt x="40" y="81"/>
                  </a:moveTo>
                  <a:cubicBezTo>
                    <a:pt x="40" y="80"/>
                    <a:pt x="40" y="79"/>
                    <a:pt x="40" y="78"/>
                  </a:cubicBezTo>
                  <a:cubicBezTo>
                    <a:pt x="40" y="65"/>
                    <a:pt x="40" y="65"/>
                    <a:pt x="40" y="65"/>
                  </a:cubicBezTo>
                  <a:cubicBezTo>
                    <a:pt x="32" y="65"/>
                    <a:pt x="32" y="65"/>
                    <a:pt x="32" y="65"/>
                  </a:cubicBezTo>
                  <a:cubicBezTo>
                    <a:pt x="32" y="78"/>
                    <a:pt x="32" y="78"/>
                    <a:pt x="32" y="78"/>
                  </a:cubicBezTo>
                  <a:cubicBezTo>
                    <a:pt x="32" y="79"/>
                    <a:pt x="32" y="80"/>
                    <a:pt x="32" y="80"/>
                  </a:cubicBezTo>
                  <a:cubicBezTo>
                    <a:pt x="40" y="81"/>
                    <a:pt x="40" y="81"/>
                    <a:pt x="40" y="81"/>
                  </a:cubicBezTo>
                  <a:close/>
                  <a:moveTo>
                    <a:pt x="30" y="104"/>
                  </a:moveTo>
                  <a:cubicBezTo>
                    <a:pt x="34" y="100"/>
                    <a:pt x="37" y="95"/>
                    <a:pt x="38" y="89"/>
                  </a:cubicBezTo>
                  <a:cubicBezTo>
                    <a:pt x="31" y="87"/>
                    <a:pt x="31" y="87"/>
                    <a:pt x="31" y="87"/>
                  </a:cubicBezTo>
                  <a:cubicBezTo>
                    <a:pt x="30" y="92"/>
                    <a:pt x="27" y="96"/>
                    <a:pt x="25" y="99"/>
                  </a:cubicBezTo>
                  <a:lnTo>
                    <a:pt x="30" y="104"/>
                  </a:lnTo>
                  <a:close/>
                  <a:moveTo>
                    <a:pt x="9" y="117"/>
                  </a:moveTo>
                  <a:cubicBezTo>
                    <a:pt x="15" y="116"/>
                    <a:pt x="20" y="113"/>
                    <a:pt x="24" y="110"/>
                  </a:cubicBezTo>
                  <a:cubicBezTo>
                    <a:pt x="20" y="104"/>
                    <a:pt x="20" y="104"/>
                    <a:pt x="20" y="104"/>
                  </a:cubicBezTo>
                  <a:cubicBezTo>
                    <a:pt x="16" y="106"/>
                    <a:pt x="12" y="108"/>
                    <a:pt x="8" y="110"/>
                  </a:cubicBezTo>
                  <a:cubicBezTo>
                    <a:pt x="9" y="117"/>
                    <a:pt x="9" y="117"/>
                    <a:pt x="9" y="117"/>
                  </a:cubicBezTo>
                  <a:close/>
                  <a:moveTo>
                    <a:pt x="15" y="114"/>
                  </a:moveTo>
                  <a:cubicBezTo>
                    <a:pt x="11" y="112"/>
                    <a:pt x="5" y="110"/>
                    <a:pt x="0" y="110"/>
                  </a:cubicBezTo>
                  <a:cubicBezTo>
                    <a:pt x="0" y="118"/>
                    <a:pt x="0" y="118"/>
                    <a:pt x="0" y="118"/>
                  </a:cubicBezTo>
                  <a:cubicBezTo>
                    <a:pt x="1" y="118"/>
                    <a:pt x="1" y="118"/>
                    <a:pt x="1" y="118"/>
                  </a:cubicBezTo>
                  <a:cubicBezTo>
                    <a:pt x="1" y="110"/>
                    <a:pt x="1" y="110"/>
                    <a:pt x="1" y="110"/>
                  </a:cubicBezTo>
                  <a:cubicBezTo>
                    <a:pt x="0" y="110"/>
                    <a:pt x="0" y="110"/>
                    <a:pt x="0" y="110"/>
                  </a:cubicBezTo>
                  <a:cubicBezTo>
                    <a:pt x="0" y="118"/>
                    <a:pt x="0" y="118"/>
                    <a:pt x="0" y="118"/>
                  </a:cubicBezTo>
                  <a:cubicBezTo>
                    <a:pt x="4" y="118"/>
                    <a:pt x="9" y="119"/>
                    <a:pt x="12" y="121"/>
                  </a:cubicBezTo>
                  <a:cubicBezTo>
                    <a:pt x="15" y="114"/>
                    <a:pt x="15" y="114"/>
                    <a:pt x="15" y="114"/>
                  </a:cubicBezTo>
                  <a:close/>
                  <a:moveTo>
                    <a:pt x="34" y="130"/>
                  </a:moveTo>
                  <a:cubicBezTo>
                    <a:pt x="31" y="125"/>
                    <a:pt x="27" y="121"/>
                    <a:pt x="23" y="118"/>
                  </a:cubicBezTo>
                  <a:cubicBezTo>
                    <a:pt x="18" y="124"/>
                    <a:pt x="18" y="124"/>
                    <a:pt x="18" y="124"/>
                  </a:cubicBezTo>
                  <a:cubicBezTo>
                    <a:pt x="22" y="127"/>
                    <a:pt x="25" y="130"/>
                    <a:pt x="28" y="134"/>
                  </a:cubicBezTo>
                  <a:cubicBezTo>
                    <a:pt x="34" y="130"/>
                    <a:pt x="34" y="130"/>
                    <a:pt x="34" y="130"/>
                  </a:cubicBezTo>
                  <a:close/>
                  <a:moveTo>
                    <a:pt x="40" y="154"/>
                  </a:moveTo>
                  <a:cubicBezTo>
                    <a:pt x="40" y="150"/>
                    <a:pt x="40" y="150"/>
                    <a:pt x="40" y="150"/>
                  </a:cubicBezTo>
                  <a:cubicBezTo>
                    <a:pt x="40" y="146"/>
                    <a:pt x="39" y="142"/>
                    <a:pt x="38" y="137"/>
                  </a:cubicBezTo>
                  <a:cubicBezTo>
                    <a:pt x="30" y="140"/>
                    <a:pt x="30" y="140"/>
                    <a:pt x="30" y="140"/>
                  </a:cubicBezTo>
                  <a:cubicBezTo>
                    <a:pt x="32" y="143"/>
                    <a:pt x="32" y="147"/>
                    <a:pt x="32" y="150"/>
                  </a:cubicBezTo>
                  <a:cubicBezTo>
                    <a:pt x="32" y="154"/>
                    <a:pt x="32" y="154"/>
                    <a:pt x="32" y="154"/>
                  </a:cubicBezTo>
                  <a:cubicBezTo>
                    <a:pt x="40" y="154"/>
                    <a:pt x="40" y="154"/>
                    <a:pt x="40" y="154"/>
                  </a:cubicBezTo>
                  <a:close/>
                  <a:moveTo>
                    <a:pt x="40" y="177"/>
                  </a:moveTo>
                  <a:cubicBezTo>
                    <a:pt x="40" y="161"/>
                    <a:pt x="40" y="161"/>
                    <a:pt x="40" y="161"/>
                  </a:cubicBezTo>
                  <a:cubicBezTo>
                    <a:pt x="32" y="161"/>
                    <a:pt x="32" y="161"/>
                    <a:pt x="32" y="161"/>
                  </a:cubicBezTo>
                  <a:cubicBezTo>
                    <a:pt x="32" y="177"/>
                    <a:pt x="32" y="177"/>
                    <a:pt x="32" y="177"/>
                  </a:cubicBezTo>
                  <a:lnTo>
                    <a:pt x="40" y="177"/>
                  </a:lnTo>
                  <a:close/>
                  <a:moveTo>
                    <a:pt x="41" y="198"/>
                  </a:moveTo>
                  <a:cubicBezTo>
                    <a:pt x="40" y="195"/>
                    <a:pt x="40" y="192"/>
                    <a:pt x="40" y="189"/>
                  </a:cubicBezTo>
                  <a:cubicBezTo>
                    <a:pt x="40" y="184"/>
                    <a:pt x="40" y="184"/>
                    <a:pt x="40" y="184"/>
                  </a:cubicBezTo>
                  <a:cubicBezTo>
                    <a:pt x="32" y="184"/>
                    <a:pt x="32" y="184"/>
                    <a:pt x="32" y="184"/>
                  </a:cubicBezTo>
                  <a:cubicBezTo>
                    <a:pt x="32" y="189"/>
                    <a:pt x="32" y="189"/>
                    <a:pt x="32" y="189"/>
                  </a:cubicBezTo>
                  <a:cubicBezTo>
                    <a:pt x="32" y="193"/>
                    <a:pt x="33" y="197"/>
                    <a:pt x="34" y="200"/>
                  </a:cubicBezTo>
                  <a:cubicBezTo>
                    <a:pt x="41" y="198"/>
                    <a:pt x="41" y="198"/>
                    <a:pt x="41" y="198"/>
                  </a:cubicBezTo>
                  <a:close/>
                  <a:moveTo>
                    <a:pt x="53" y="214"/>
                  </a:moveTo>
                  <a:cubicBezTo>
                    <a:pt x="49" y="212"/>
                    <a:pt x="46" y="208"/>
                    <a:pt x="44" y="204"/>
                  </a:cubicBezTo>
                  <a:cubicBezTo>
                    <a:pt x="37" y="208"/>
                    <a:pt x="37" y="208"/>
                    <a:pt x="37" y="208"/>
                  </a:cubicBezTo>
                  <a:cubicBezTo>
                    <a:pt x="40" y="213"/>
                    <a:pt x="44" y="217"/>
                    <a:pt x="48" y="221"/>
                  </a:cubicBezTo>
                  <a:cubicBezTo>
                    <a:pt x="53" y="214"/>
                    <a:pt x="53" y="214"/>
                    <a:pt x="53" y="214"/>
                  </a:cubicBezTo>
                  <a:close/>
                  <a:moveTo>
                    <a:pt x="72" y="221"/>
                  </a:moveTo>
                  <a:cubicBezTo>
                    <a:pt x="67" y="221"/>
                    <a:pt x="63" y="220"/>
                    <a:pt x="59" y="218"/>
                  </a:cubicBezTo>
                  <a:cubicBezTo>
                    <a:pt x="56" y="225"/>
                    <a:pt x="56" y="225"/>
                    <a:pt x="56" y="225"/>
                  </a:cubicBezTo>
                  <a:cubicBezTo>
                    <a:pt x="61" y="227"/>
                    <a:pt x="66" y="228"/>
                    <a:pt x="72" y="228"/>
                  </a:cubicBezTo>
                  <a:cubicBezTo>
                    <a:pt x="72" y="221"/>
                    <a:pt x="72" y="221"/>
                    <a:pt x="72" y="221"/>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94" name="Group 93"/>
          <p:cNvGrpSpPr/>
          <p:nvPr/>
        </p:nvGrpSpPr>
        <p:grpSpPr>
          <a:xfrm>
            <a:off x="7961313" y="2755900"/>
            <a:ext cx="2259012" cy="2235200"/>
            <a:chOff x="7961313" y="2755900"/>
            <a:chExt cx="2259012" cy="2235200"/>
          </a:xfrm>
        </p:grpSpPr>
        <p:sp>
          <p:nvSpPr>
            <p:cNvPr id="8" name="Freeform 7"/>
            <p:cNvSpPr>
              <a:spLocks noEditPoints="1"/>
            </p:cNvSpPr>
            <p:nvPr/>
          </p:nvSpPr>
          <p:spPr bwMode="auto">
            <a:xfrm>
              <a:off x="8486775" y="2755900"/>
              <a:ext cx="1651000" cy="1655763"/>
            </a:xfrm>
            <a:custGeom>
              <a:avLst/>
              <a:gdLst>
                <a:gd name="T0" fmla="*/ 392 w 440"/>
                <a:gd name="T1" fmla="*/ 429 h 440"/>
                <a:gd name="T2" fmla="*/ 399 w 440"/>
                <a:gd name="T3" fmla="*/ 427 h 440"/>
                <a:gd name="T4" fmla="*/ 423 w 440"/>
                <a:gd name="T5" fmla="*/ 419 h 440"/>
                <a:gd name="T6" fmla="*/ 440 w 440"/>
                <a:gd name="T7" fmla="*/ 381 h 440"/>
                <a:gd name="T8" fmla="*/ 432 w 440"/>
                <a:gd name="T9" fmla="*/ 358 h 440"/>
                <a:gd name="T10" fmla="*/ 432 w 440"/>
                <a:gd name="T11" fmla="*/ 310 h 440"/>
                <a:gd name="T12" fmla="*/ 432 w 440"/>
                <a:gd name="T13" fmla="*/ 303 h 440"/>
                <a:gd name="T14" fmla="*/ 440 w 440"/>
                <a:gd name="T15" fmla="*/ 279 h 440"/>
                <a:gd name="T16" fmla="*/ 440 w 440"/>
                <a:gd name="T17" fmla="*/ 240 h 440"/>
                <a:gd name="T18" fmla="*/ 432 w 440"/>
                <a:gd name="T19" fmla="*/ 216 h 440"/>
                <a:gd name="T20" fmla="*/ 432 w 440"/>
                <a:gd name="T21" fmla="*/ 169 h 440"/>
                <a:gd name="T22" fmla="*/ 432 w 440"/>
                <a:gd name="T23" fmla="*/ 161 h 440"/>
                <a:gd name="T24" fmla="*/ 440 w 440"/>
                <a:gd name="T25" fmla="*/ 138 h 440"/>
                <a:gd name="T26" fmla="*/ 440 w 440"/>
                <a:gd name="T27" fmla="*/ 98 h 440"/>
                <a:gd name="T28" fmla="*/ 432 w 440"/>
                <a:gd name="T29" fmla="*/ 75 h 440"/>
                <a:gd name="T30" fmla="*/ 438 w 440"/>
                <a:gd name="T31" fmla="*/ 51 h 440"/>
                <a:gd name="T32" fmla="*/ 421 w 440"/>
                <a:gd name="T33" fmla="*/ 33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5 h 440"/>
                <a:gd name="T72" fmla="*/ 0 w 440"/>
                <a:gd name="T73" fmla="*/ 144 h 440"/>
                <a:gd name="T74" fmla="*/ 8 w 440"/>
                <a:gd name="T75" fmla="*/ 167 h 440"/>
                <a:gd name="T76" fmla="*/ 8 w 440"/>
                <a:gd name="T77" fmla="*/ 215 h 440"/>
                <a:gd name="T78" fmla="*/ 8 w 440"/>
                <a:gd name="T79" fmla="*/ 222 h 440"/>
                <a:gd name="T80" fmla="*/ 0 w 440"/>
                <a:gd name="T81" fmla="*/ 246 h 440"/>
                <a:gd name="T82" fmla="*/ 0 w 440"/>
                <a:gd name="T83" fmla="*/ 285 h 440"/>
                <a:gd name="T84" fmla="*/ 8 w 440"/>
                <a:gd name="T85" fmla="*/ 309 h 440"/>
                <a:gd name="T86" fmla="*/ 8 w 440"/>
                <a:gd name="T87" fmla="*/ 356 h 440"/>
                <a:gd name="T88" fmla="*/ 8 w 440"/>
                <a:gd name="T89" fmla="*/ 374 h 440"/>
                <a:gd name="T90" fmla="*/ 14 w 440"/>
                <a:gd name="T91" fmla="*/ 400 h 440"/>
                <a:gd name="T92" fmla="*/ 18 w 440"/>
                <a:gd name="T93" fmla="*/ 406 h 440"/>
                <a:gd name="T94" fmla="*/ 29 w 440"/>
                <a:gd name="T95" fmla="*/ 429 h 440"/>
                <a:gd name="T96" fmla="*/ 51 w 440"/>
                <a:gd name="T97" fmla="*/ 439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40"/>
                    <a:pt x="390" y="439"/>
                    <a:pt x="395" y="437"/>
                  </a:cubicBezTo>
                  <a:cubicBezTo>
                    <a:pt x="392" y="429"/>
                    <a:pt x="392" y="429"/>
                    <a:pt x="392" y="429"/>
                  </a:cubicBezTo>
                  <a:close/>
                  <a:moveTo>
                    <a:pt x="411" y="419"/>
                  </a:moveTo>
                  <a:cubicBezTo>
                    <a:pt x="408" y="422"/>
                    <a:pt x="404" y="424"/>
                    <a:pt x="399" y="427"/>
                  </a:cubicBezTo>
                  <a:cubicBezTo>
                    <a:pt x="403" y="434"/>
                    <a:pt x="403" y="434"/>
                    <a:pt x="403" y="434"/>
                  </a:cubicBezTo>
                  <a:cubicBezTo>
                    <a:pt x="408" y="431"/>
                    <a:pt x="412" y="428"/>
                    <a:pt x="417" y="425"/>
                  </a:cubicBezTo>
                  <a:cubicBezTo>
                    <a:pt x="411" y="419"/>
                    <a:pt x="411" y="419"/>
                    <a:pt x="411" y="419"/>
                  </a:cubicBezTo>
                  <a:close/>
                  <a:moveTo>
                    <a:pt x="425" y="402"/>
                  </a:moveTo>
                  <a:cubicBezTo>
                    <a:pt x="423" y="406"/>
                    <a:pt x="420" y="410"/>
                    <a:pt x="417" y="413"/>
                  </a:cubicBezTo>
                  <a:cubicBezTo>
                    <a:pt x="423" y="419"/>
                    <a:pt x="423" y="419"/>
                    <a:pt x="423" y="419"/>
                  </a:cubicBezTo>
                  <a:cubicBezTo>
                    <a:pt x="426" y="415"/>
                    <a:pt x="430" y="410"/>
                    <a:pt x="432" y="405"/>
                  </a:cubicBezTo>
                  <a:cubicBezTo>
                    <a:pt x="425" y="402"/>
                    <a:pt x="425" y="402"/>
                    <a:pt x="425" y="402"/>
                  </a:cubicBezTo>
                  <a:close/>
                  <a:moveTo>
                    <a:pt x="432" y="381"/>
                  </a:moveTo>
                  <a:cubicBezTo>
                    <a:pt x="431" y="386"/>
                    <a:pt x="430" y="390"/>
                    <a:pt x="428" y="395"/>
                  </a:cubicBezTo>
                  <a:cubicBezTo>
                    <a:pt x="436" y="398"/>
                    <a:pt x="436" y="398"/>
                    <a:pt x="436" y="398"/>
                  </a:cubicBezTo>
                  <a:cubicBezTo>
                    <a:pt x="438" y="393"/>
                    <a:pt x="439" y="387"/>
                    <a:pt x="440" y="381"/>
                  </a:cubicBezTo>
                  <a:cubicBezTo>
                    <a:pt x="432" y="381"/>
                    <a:pt x="432" y="381"/>
                    <a:pt x="432" y="381"/>
                  </a:cubicBezTo>
                  <a:close/>
                  <a:moveTo>
                    <a:pt x="432" y="358"/>
                  </a:moveTo>
                  <a:cubicBezTo>
                    <a:pt x="432" y="373"/>
                    <a:pt x="432" y="373"/>
                    <a:pt x="432" y="373"/>
                  </a:cubicBezTo>
                  <a:cubicBezTo>
                    <a:pt x="440" y="373"/>
                    <a:pt x="440" y="373"/>
                    <a:pt x="440" y="373"/>
                  </a:cubicBezTo>
                  <a:cubicBezTo>
                    <a:pt x="440" y="358"/>
                    <a:pt x="440" y="358"/>
                    <a:pt x="440" y="358"/>
                  </a:cubicBezTo>
                  <a:lnTo>
                    <a:pt x="432" y="358"/>
                  </a:lnTo>
                  <a:close/>
                  <a:moveTo>
                    <a:pt x="432" y="334"/>
                  </a:moveTo>
                  <a:cubicBezTo>
                    <a:pt x="432" y="350"/>
                    <a:pt x="432" y="350"/>
                    <a:pt x="432" y="350"/>
                  </a:cubicBezTo>
                  <a:cubicBezTo>
                    <a:pt x="440" y="350"/>
                    <a:pt x="440" y="350"/>
                    <a:pt x="440" y="350"/>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3"/>
                    <a:pt x="432" y="303"/>
                    <a:pt x="432" y="303"/>
                  </a:cubicBezTo>
                  <a:cubicBezTo>
                    <a:pt x="440" y="303"/>
                    <a:pt x="440" y="303"/>
                    <a:pt x="440" y="303"/>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40"/>
                  </a:moveTo>
                  <a:cubicBezTo>
                    <a:pt x="432" y="255"/>
                    <a:pt x="432" y="255"/>
                    <a:pt x="432" y="255"/>
                  </a:cubicBezTo>
                  <a:cubicBezTo>
                    <a:pt x="440" y="255"/>
                    <a:pt x="440" y="255"/>
                    <a:pt x="440" y="255"/>
                  </a:cubicBezTo>
                  <a:cubicBezTo>
                    <a:pt x="440" y="240"/>
                    <a:pt x="440" y="240"/>
                    <a:pt x="440" y="240"/>
                  </a:cubicBezTo>
                  <a:lnTo>
                    <a:pt x="432" y="240"/>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3"/>
                  </a:moveTo>
                  <a:cubicBezTo>
                    <a:pt x="432" y="208"/>
                    <a:pt x="432" y="208"/>
                    <a:pt x="432" y="208"/>
                  </a:cubicBezTo>
                  <a:cubicBezTo>
                    <a:pt x="440" y="208"/>
                    <a:pt x="440" y="208"/>
                    <a:pt x="440" y="208"/>
                  </a:cubicBezTo>
                  <a:cubicBezTo>
                    <a:pt x="440" y="193"/>
                    <a:pt x="440" y="193"/>
                    <a:pt x="440" y="193"/>
                  </a:cubicBezTo>
                  <a:lnTo>
                    <a:pt x="432" y="193"/>
                  </a:lnTo>
                  <a:close/>
                  <a:moveTo>
                    <a:pt x="432" y="169"/>
                  </a:moveTo>
                  <a:cubicBezTo>
                    <a:pt x="432" y="185"/>
                    <a:pt x="432" y="185"/>
                    <a:pt x="432" y="185"/>
                  </a:cubicBezTo>
                  <a:cubicBezTo>
                    <a:pt x="440" y="185"/>
                    <a:pt x="440" y="185"/>
                    <a:pt x="440" y="185"/>
                  </a:cubicBezTo>
                  <a:cubicBezTo>
                    <a:pt x="440" y="169"/>
                    <a:pt x="440" y="169"/>
                    <a:pt x="440" y="169"/>
                  </a:cubicBezTo>
                  <a:lnTo>
                    <a:pt x="432" y="169"/>
                  </a:lnTo>
                  <a:close/>
                  <a:moveTo>
                    <a:pt x="432" y="146"/>
                  </a:moveTo>
                  <a:cubicBezTo>
                    <a:pt x="432" y="161"/>
                    <a:pt x="432" y="161"/>
                    <a:pt x="432" y="161"/>
                  </a:cubicBezTo>
                  <a:cubicBezTo>
                    <a:pt x="440" y="161"/>
                    <a:pt x="440" y="161"/>
                    <a:pt x="440" y="161"/>
                  </a:cubicBezTo>
                  <a:cubicBezTo>
                    <a:pt x="440" y="146"/>
                    <a:pt x="440" y="146"/>
                    <a:pt x="440" y="146"/>
                  </a:cubicBezTo>
                  <a:lnTo>
                    <a:pt x="432" y="146"/>
                  </a:lnTo>
                  <a:close/>
                  <a:moveTo>
                    <a:pt x="432" y="122"/>
                  </a:moveTo>
                  <a:cubicBezTo>
                    <a:pt x="432" y="138"/>
                    <a:pt x="432" y="138"/>
                    <a:pt x="432" y="138"/>
                  </a:cubicBezTo>
                  <a:cubicBezTo>
                    <a:pt x="440" y="138"/>
                    <a:pt x="440" y="138"/>
                    <a:pt x="440" y="138"/>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1"/>
                    <a:pt x="432" y="91"/>
                    <a:pt x="432" y="91"/>
                  </a:cubicBezTo>
                  <a:cubicBezTo>
                    <a:pt x="440" y="91"/>
                    <a:pt x="440" y="91"/>
                    <a:pt x="440" y="91"/>
                  </a:cubicBezTo>
                  <a:cubicBezTo>
                    <a:pt x="440" y="75"/>
                    <a:pt x="440" y="75"/>
                    <a:pt x="440" y="75"/>
                  </a:cubicBezTo>
                  <a:lnTo>
                    <a:pt x="432" y="75"/>
                  </a:lnTo>
                  <a:close/>
                  <a:moveTo>
                    <a:pt x="430" y="52"/>
                  </a:moveTo>
                  <a:cubicBezTo>
                    <a:pt x="431" y="57"/>
                    <a:pt x="432" y="62"/>
                    <a:pt x="432" y="66"/>
                  </a:cubicBezTo>
                  <a:cubicBezTo>
                    <a:pt x="432" y="67"/>
                    <a:pt x="432" y="67"/>
                    <a:pt x="432" y="67"/>
                  </a:cubicBezTo>
                  <a:cubicBezTo>
                    <a:pt x="440" y="67"/>
                    <a:pt x="440" y="67"/>
                    <a:pt x="440" y="67"/>
                  </a:cubicBezTo>
                  <a:cubicBezTo>
                    <a:pt x="440" y="66"/>
                    <a:pt x="440" y="66"/>
                    <a:pt x="440" y="66"/>
                  </a:cubicBezTo>
                  <a:cubicBezTo>
                    <a:pt x="440" y="61"/>
                    <a:pt x="439" y="56"/>
                    <a:pt x="438" y="51"/>
                  </a:cubicBezTo>
                  <a:cubicBezTo>
                    <a:pt x="430" y="52"/>
                    <a:pt x="430" y="52"/>
                    <a:pt x="430" y="52"/>
                  </a:cubicBezTo>
                  <a:close/>
                  <a:moveTo>
                    <a:pt x="421" y="33"/>
                  </a:moveTo>
                  <a:cubicBezTo>
                    <a:pt x="424" y="37"/>
                    <a:pt x="426" y="41"/>
                    <a:pt x="428" y="45"/>
                  </a:cubicBezTo>
                  <a:cubicBezTo>
                    <a:pt x="436" y="43"/>
                    <a:pt x="436" y="43"/>
                    <a:pt x="436" y="43"/>
                  </a:cubicBezTo>
                  <a:cubicBezTo>
                    <a:pt x="434" y="37"/>
                    <a:pt x="431" y="32"/>
                    <a:pt x="428" y="28"/>
                  </a:cubicBezTo>
                  <a:cubicBezTo>
                    <a:pt x="421" y="33"/>
                    <a:pt x="421" y="33"/>
                    <a:pt x="421" y="33"/>
                  </a:cubicBezTo>
                  <a:close/>
                  <a:moveTo>
                    <a:pt x="405" y="18"/>
                  </a:moveTo>
                  <a:cubicBezTo>
                    <a:pt x="409" y="20"/>
                    <a:pt x="413" y="23"/>
                    <a:pt x="416" y="27"/>
                  </a:cubicBezTo>
                  <a:cubicBezTo>
                    <a:pt x="422" y="22"/>
                    <a:pt x="422" y="22"/>
                    <a:pt x="422" y="22"/>
                  </a:cubicBezTo>
                  <a:cubicBezTo>
                    <a:pt x="419" y="17"/>
                    <a:pt x="414" y="14"/>
                    <a:pt x="410" y="11"/>
                  </a:cubicBezTo>
                  <a:cubicBezTo>
                    <a:pt x="405" y="18"/>
                    <a:pt x="405" y="18"/>
                    <a:pt x="405" y="18"/>
                  </a:cubicBezTo>
                  <a:close/>
                  <a:moveTo>
                    <a:pt x="385" y="9"/>
                  </a:moveTo>
                  <a:cubicBezTo>
                    <a:pt x="390" y="10"/>
                    <a:pt x="394" y="12"/>
                    <a:pt x="399" y="14"/>
                  </a:cubicBezTo>
                  <a:cubicBezTo>
                    <a:pt x="402" y="7"/>
                    <a:pt x="402" y="7"/>
                    <a:pt x="402" y="7"/>
                  </a:cubicBezTo>
                  <a:cubicBezTo>
                    <a:pt x="397" y="4"/>
                    <a:pt x="392" y="3"/>
                    <a:pt x="386" y="2"/>
                  </a:cubicBezTo>
                  <a:lnTo>
                    <a:pt x="385" y="9"/>
                  </a:ln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9"/>
                    <a:pt x="63" y="8"/>
                    <a:pt x="66" y="8"/>
                  </a:cubicBezTo>
                  <a:cubicBezTo>
                    <a:pt x="72" y="8"/>
                    <a:pt x="72" y="8"/>
                    <a:pt x="72" y="8"/>
                  </a:cubicBezTo>
                  <a:cubicBezTo>
                    <a:pt x="72" y="0"/>
                    <a:pt x="72" y="0"/>
                    <a:pt x="72" y="0"/>
                  </a:cubicBezTo>
                  <a:cubicBezTo>
                    <a:pt x="66" y="0"/>
                    <a:pt x="66" y="0"/>
                    <a:pt x="66" y="0"/>
                  </a:cubicBezTo>
                  <a:cubicBezTo>
                    <a:pt x="62" y="0"/>
                    <a:pt x="59" y="1"/>
                    <a:pt x="55" y="1"/>
                  </a:cubicBezTo>
                  <a:cubicBezTo>
                    <a:pt x="57" y="9"/>
                    <a:pt x="57" y="9"/>
                    <a:pt x="57" y="9"/>
                  </a:cubicBezTo>
                  <a:close/>
                  <a:moveTo>
                    <a:pt x="36" y="17"/>
                  </a:moveTo>
                  <a:cubicBezTo>
                    <a:pt x="40" y="14"/>
                    <a:pt x="45" y="12"/>
                    <a:pt x="50" y="11"/>
                  </a:cubicBezTo>
                  <a:cubicBezTo>
                    <a:pt x="47" y="3"/>
                    <a:pt x="47" y="3"/>
                    <a:pt x="47" y="3"/>
                  </a:cubicBezTo>
                  <a:cubicBezTo>
                    <a:pt x="42" y="5"/>
                    <a:pt x="37" y="7"/>
                    <a:pt x="32" y="10"/>
                  </a:cubicBezTo>
                  <a:cubicBezTo>
                    <a:pt x="36" y="17"/>
                    <a:pt x="36" y="17"/>
                    <a:pt x="36" y="17"/>
                  </a:cubicBezTo>
                  <a:close/>
                  <a:moveTo>
                    <a:pt x="20" y="31"/>
                  </a:moveTo>
                  <a:cubicBezTo>
                    <a:pt x="23" y="27"/>
                    <a:pt x="26" y="24"/>
                    <a:pt x="30" y="21"/>
                  </a:cubicBezTo>
                  <a:cubicBezTo>
                    <a:pt x="25" y="15"/>
                    <a:pt x="25" y="15"/>
                    <a:pt x="25" y="15"/>
                  </a:cubicBezTo>
                  <a:cubicBezTo>
                    <a:pt x="21" y="18"/>
                    <a:pt x="17" y="22"/>
                    <a:pt x="13" y="26"/>
                  </a:cubicBezTo>
                  <a:cubicBezTo>
                    <a:pt x="20" y="31"/>
                    <a:pt x="20" y="31"/>
                    <a:pt x="20" y="31"/>
                  </a:cubicBezTo>
                  <a:close/>
                  <a:moveTo>
                    <a:pt x="10" y="51"/>
                  </a:moveTo>
                  <a:cubicBezTo>
                    <a:pt x="11" y="46"/>
                    <a:pt x="13" y="42"/>
                    <a:pt x="16" y="37"/>
                  </a:cubicBezTo>
                  <a:cubicBezTo>
                    <a:pt x="9" y="33"/>
                    <a:pt x="9" y="33"/>
                    <a:pt x="9" y="33"/>
                  </a:cubicBezTo>
                  <a:cubicBezTo>
                    <a:pt x="6" y="38"/>
                    <a:pt x="4" y="43"/>
                    <a:pt x="2" y="49"/>
                  </a:cubicBezTo>
                  <a:cubicBezTo>
                    <a:pt x="10" y="51"/>
                    <a:pt x="10" y="51"/>
                    <a:pt x="10" y="51"/>
                  </a:cubicBezTo>
                  <a:close/>
                  <a:moveTo>
                    <a:pt x="8" y="73"/>
                  </a:moveTo>
                  <a:cubicBezTo>
                    <a:pt x="8" y="66"/>
                    <a:pt x="8" y="66"/>
                    <a:pt x="8" y="66"/>
                  </a:cubicBezTo>
                  <a:cubicBezTo>
                    <a:pt x="8" y="64"/>
                    <a:pt x="8" y="61"/>
                    <a:pt x="9" y="58"/>
                  </a:cubicBezTo>
                  <a:cubicBezTo>
                    <a:pt x="1" y="57"/>
                    <a:pt x="1" y="57"/>
                    <a:pt x="1" y="57"/>
                  </a:cubicBezTo>
                  <a:cubicBezTo>
                    <a:pt x="0" y="60"/>
                    <a:pt x="0" y="63"/>
                    <a:pt x="0" y="66"/>
                  </a:cubicBezTo>
                  <a:cubicBezTo>
                    <a:pt x="0" y="73"/>
                    <a:pt x="0" y="73"/>
                    <a:pt x="0" y="73"/>
                  </a:cubicBezTo>
                  <a:cubicBezTo>
                    <a:pt x="8" y="73"/>
                    <a:pt x="8" y="73"/>
                    <a:pt x="8" y="73"/>
                  </a:cubicBezTo>
                  <a:close/>
                  <a:moveTo>
                    <a:pt x="8" y="97"/>
                  </a:moveTo>
                  <a:cubicBezTo>
                    <a:pt x="8" y="81"/>
                    <a:pt x="8" y="81"/>
                    <a:pt x="8" y="81"/>
                  </a:cubicBezTo>
                  <a:cubicBezTo>
                    <a:pt x="0" y="81"/>
                    <a:pt x="0" y="81"/>
                    <a:pt x="0" y="81"/>
                  </a:cubicBezTo>
                  <a:cubicBezTo>
                    <a:pt x="0" y="97"/>
                    <a:pt x="0" y="97"/>
                    <a:pt x="0" y="97"/>
                  </a:cubicBezTo>
                  <a:lnTo>
                    <a:pt x="8" y="97"/>
                  </a:lnTo>
                  <a:close/>
                  <a:moveTo>
                    <a:pt x="8" y="120"/>
                  </a:moveTo>
                  <a:cubicBezTo>
                    <a:pt x="8" y="105"/>
                    <a:pt x="8" y="105"/>
                    <a:pt x="8" y="105"/>
                  </a:cubicBezTo>
                  <a:cubicBezTo>
                    <a:pt x="0" y="105"/>
                    <a:pt x="0" y="105"/>
                    <a:pt x="0" y="105"/>
                  </a:cubicBezTo>
                  <a:cubicBezTo>
                    <a:pt x="0" y="120"/>
                    <a:pt x="0" y="120"/>
                    <a:pt x="0" y="120"/>
                  </a:cubicBezTo>
                  <a:lnTo>
                    <a:pt x="8" y="120"/>
                  </a:lnTo>
                  <a:close/>
                  <a:moveTo>
                    <a:pt x="8" y="144"/>
                  </a:moveTo>
                  <a:cubicBezTo>
                    <a:pt x="8" y="128"/>
                    <a:pt x="8" y="128"/>
                    <a:pt x="8" y="128"/>
                  </a:cubicBezTo>
                  <a:cubicBezTo>
                    <a:pt x="0" y="128"/>
                    <a:pt x="0" y="128"/>
                    <a:pt x="0" y="128"/>
                  </a:cubicBezTo>
                  <a:cubicBezTo>
                    <a:pt x="0" y="144"/>
                    <a:pt x="0" y="144"/>
                    <a:pt x="0" y="144"/>
                  </a:cubicBezTo>
                  <a:lnTo>
                    <a:pt x="8" y="144"/>
                  </a:lnTo>
                  <a:close/>
                  <a:moveTo>
                    <a:pt x="8" y="167"/>
                  </a:moveTo>
                  <a:cubicBezTo>
                    <a:pt x="8" y="152"/>
                    <a:pt x="8" y="152"/>
                    <a:pt x="8" y="152"/>
                  </a:cubicBezTo>
                  <a:cubicBezTo>
                    <a:pt x="0" y="152"/>
                    <a:pt x="0" y="152"/>
                    <a:pt x="0" y="152"/>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5"/>
                  </a:moveTo>
                  <a:cubicBezTo>
                    <a:pt x="8" y="199"/>
                    <a:pt x="8" y="199"/>
                    <a:pt x="8" y="199"/>
                  </a:cubicBezTo>
                  <a:cubicBezTo>
                    <a:pt x="0" y="199"/>
                    <a:pt x="0" y="199"/>
                    <a:pt x="0" y="199"/>
                  </a:cubicBezTo>
                  <a:cubicBezTo>
                    <a:pt x="0" y="215"/>
                    <a:pt x="0" y="215"/>
                    <a:pt x="0" y="215"/>
                  </a:cubicBezTo>
                  <a:lnTo>
                    <a:pt x="8" y="215"/>
                  </a:lnTo>
                  <a:close/>
                  <a:moveTo>
                    <a:pt x="8" y="238"/>
                  </a:moveTo>
                  <a:cubicBezTo>
                    <a:pt x="8" y="222"/>
                    <a:pt x="8" y="222"/>
                    <a:pt x="8" y="222"/>
                  </a:cubicBezTo>
                  <a:cubicBezTo>
                    <a:pt x="0" y="222"/>
                    <a:pt x="0" y="222"/>
                    <a:pt x="0" y="222"/>
                  </a:cubicBezTo>
                  <a:cubicBezTo>
                    <a:pt x="0" y="238"/>
                    <a:pt x="0" y="238"/>
                    <a:pt x="0" y="238"/>
                  </a:cubicBezTo>
                  <a:lnTo>
                    <a:pt x="8" y="238"/>
                  </a:lnTo>
                  <a:close/>
                  <a:moveTo>
                    <a:pt x="8" y="262"/>
                  </a:moveTo>
                  <a:cubicBezTo>
                    <a:pt x="8" y="246"/>
                    <a:pt x="8" y="246"/>
                    <a:pt x="8" y="246"/>
                  </a:cubicBezTo>
                  <a:cubicBezTo>
                    <a:pt x="0" y="246"/>
                    <a:pt x="0" y="246"/>
                    <a:pt x="0" y="246"/>
                  </a:cubicBezTo>
                  <a:cubicBezTo>
                    <a:pt x="0" y="262"/>
                    <a:pt x="0" y="262"/>
                    <a:pt x="0" y="262"/>
                  </a:cubicBezTo>
                  <a:lnTo>
                    <a:pt x="8" y="262"/>
                  </a:lnTo>
                  <a:close/>
                  <a:moveTo>
                    <a:pt x="8" y="285"/>
                  </a:moveTo>
                  <a:cubicBezTo>
                    <a:pt x="8" y="269"/>
                    <a:pt x="8" y="269"/>
                    <a:pt x="8" y="269"/>
                  </a:cubicBezTo>
                  <a:cubicBezTo>
                    <a:pt x="0" y="269"/>
                    <a:pt x="0" y="269"/>
                    <a:pt x="0" y="269"/>
                  </a:cubicBezTo>
                  <a:cubicBezTo>
                    <a:pt x="0" y="285"/>
                    <a:pt x="0" y="285"/>
                    <a:pt x="0" y="285"/>
                  </a:cubicBezTo>
                  <a:lnTo>
                    <a:pt x="8" y="285"/>
                  </a:lnTo>
                  <a:close/>
                  <a:moveTo>
                    <a:pt x="8" y="309"/>
                  </a:moveTo>
                  <a:cubicBezTo>
                    <a:pt x="8" y="293"/>
                    <a:pt x="8" y="293"/>
                    <a:pt x="8" y="293"/>
                  </a:cubicBezTo>
                  <a:cubicBezTo>
                    <a:pt x="0" y="293"/>
                    <a:pt x="0" y="293"/>
                    <a:pt x="0" y="293"/>
                  </a:cubicBezTo>
                  <a:cubicBezTo>
                    <a:pt x="0" y="309"/>
                    <a:pt x="0" y="309"/>
                    <a:pt x="0" y="309"/>
                  </a:cubicBezTo>
                  <a:lnTo>
                    <a:pt x="8" y="309"/>
                  </a:lnTo>
                  <a:close/>
                  <a:moveTo>
                    <a:pt x="8" y="332"/>
                  </a:moveTo>
                  <a:cubicBezTo>
                    <a:pt x="8" y="317"/>
                    <a:pt x="8" y="317"/>
                    <a:pt x="8" y="317"/>
                  </a:cubicBezTo>
                  <a:cubicBezTo>
                    <a:pt x="0" y="317"/>
                    <a:pt x="0" y="317"/>
                    <a:pt x="0" y="317"/>
                  </a:cubicBezTo>
                  <a:cubicBezTo>
                    <a:pt x="0" y="332"/>
                    <a:pt x="0" y="332"/>
                    <a:pt x="0" y="332"/>
                  </a:cubicBezTo>
                  <a:lnTo>
                    <a:pt x="8" y="332"/>
                  </a:lnTo>
                  <a:close/>
                  <a:moveTo>
                    <a:pt x="8" y="356"/>
                  </a:moveTo>
                  <a:cubicBezTo>
                    <a:pt x="8" y="340"/>
                    <a:pt x="8" y="340"/>
                    <a:pt x="8" y="340"/>
                  </a:cubicBezTo>
                  <a:cubicBezTo>
                    <a:pt x="0" y="340"/>
                    <a:pt x="0" y="340"/>
                    <a:pt x="0" y="340"/>
                  </a:cubicBezTo>
                  <a:cubicBezTo>
                    <a:pt x="0" y="356"/>
                    <a:pt x="0" y="356"/>
                    <a:pt x="0" y="356"/>
                  </a:cubicBezTo>
                  <a:lnTo>
                    <a:pt x="8" y="356"/>
                  </a:lnTo>
                  <a:close/>
                  <a:moveTo>
                    <a:pt x="8" y="379"/>
                  </a:moveTo>
                  <a:cubicBezTo>
                    <a:pt x="8" y="377"/>
                    <a:pt x="8" y="376"/>
                    <a:pt x="8" y="374"/>
                  </a:cubicBezTo>
                  <a:cubicBezTo>
                    <a:pt x="8" y="364"/>
                    <a:pt x="8" y="364"/>
                    <a:pt x="8" y="364"/>
                  </a:cubicBezTo>
                  <a:cubicBezTo>
                    <a:pt x="0" y="364"/>
                    <a:pt x="0" y="364"/>
                    <a:pt x="0" y="364"/>
                  </a:cubicBezTo>
                  <a:cubicBezTo>
                    <a:pt x="0" y="374"/>
                    <a:pt x="0" y="374"/>
                    <a:pt x="0" y="374"/>
                  </a:cubicBezTo>
                  <a:cubicBezTo>
                    <a:pt x="0" y="376"/>
                    <a:pt x="0" y="378"/>
                    <a:pt x="0" y="380"/>
                  </a:cubicBezTo>
                  <a:cubicBezTo>
                    <a:pt x="8" y="379"/>
                    <a:pt x="8" y="379"/>
                    <a:pt x="8" y="379"/>
                  </a:cubicBezTo>
                  <a:close/>
                  <a:moveTo>
                    <a:pt x="14" y="400"/>
                  </a:moveTo>
                  <a:cubicBezTo>
                    <a:pt x="12" y="396"/>
                    <a:pt x="10" y="391"/>
                    <a:pt x="9" y="386"/>
                  </a:cubicBezTo>
                  <a:cubicBezTo>
                    <a:pt x="1" y="388"/>
                    <a:pt x="1" y="388"/>
                    <a:pt x="1" y="388"/>
                  </a:cubicBezTo>
                  <a:cubicBezTo>
                    <a:pt x="3" y="393"/>
                    <a:pt x="4" y="399"/>
                    <a:pt x="7" y="404"/>
                  </a:cubicBezTo>
                  <a:cubicBezTo>
                    <a:pt x="14" y="400"/>
                    <a:pt x="14" y="400"/>
                    <a:pt x="14" y="400"/>
                  </a:cubicBezTo>
                  <a:close/>
                  <a:moveTo>
                    <a:pt x="27" y="418"/>
                  </a:moveTo>
                  <a:cubicBezTo>
                    <a:pt x="24" y="414"/>
                    <a:pt x="20" y="411"/>
                    <a:pt x="18" y="406"/>
                  </a:cubicBezTo>
                  <a:cubicBezTo>
                    <a:pt x="11" y="411"/>
                    <a:pt x="11" y="411"/>
                    <a:pt x="11" y="411"/>
                  </a:cubicBezTo>
                  <a:cubicBezTo>
                    <a:pt x="14" y="416"/>
                    <a:pt x="18" y="420"/>
                    <a:pt x="22" y="423"/>
                  </a:cubicBezTo>
                  <a:cubicBezTo>
                    <a:pt x="27" y="418"/>
                    <a:pt x="27" y="418"/>
                    <a:pt x="27" y="418"/>
                  </a:cubicBezTo>
                  <a:close/>
                  <a:moveTo>
                    <a:pt x="46" y="429"/>
                  </a:moveTo>
                  <a:cubicBezTo>
                    <a:pt x="41" y="427"/>
                    <a:pt x="37" y="425"/>
                    <a:pt x="33" y="422"/>
                  </a:cubicBezTo>
                  <a:cubicBezTo>
                    <a:pt x="29" y="429"/>
                    <a:pt x="29" y="429"/>
                    <a:pt x="29" y="429"/>
                  </a:cubicBezTo>
                  <a:cubicBezTo>
                    <a:pt x="33" y="432"/>
                    <a:pt x="38" y="434"/>
                    <a:pt x="43" y="436"/>
                  </a:cubicBezTo>
                  <a:cubicBezTo>
                    <a:pt x="46" y="429"/>
                    <a:pt x="46" y="429"/>
                    <a:pt x="46" y="429"/>
                  </a:cubicBezTo>
                  <a:close/>
                  <a:moveTo>
                    <a:pt x="68" y="432"/>
                  </a:moveTo>
                  <a:cubicBezTo>
                    <a:pt x="66" y="432"/>
                    <a:pt x="66" y="432"/>
                    <a:pt x="66" y="432"/>
                  </a:cubicBezTo>
                  <a:cubicBezTo>
                    <a:pt x="62" y="432"/>
                    <a:pt x="57" y="432"/>
                    <a:pt x="53" y="431"/>
                  </a:cubicBezTo>
                  <a:cubicBezTo>
                    <a:pt x="51" y="439"/>
                    <a:pt x="51" y="439"/>
                    <a:pt x="51" y="439"/>
                  </a:cubicBezTo>
                  <a:cubicBezTo>
                    <a:pt x="56" y="440"/>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 name="Rectangle 8"/>
            <p:cNvSpPr>
              <a:spLocks noChangeArrowheads="1"/>
            </p:cNvSpPr>
            <p:nvPr/>
          </p:nvSpPr>
          <p:spPr bwMode="auto">
            <a:xfrm>
              <a:off x="8591550" y="4471988"/>
              <a:ext cx="2222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C</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10" name="Rectangle 9"/>
            <p:cNvSpPr>
              <a:spLocks noChangeArrowheads="1"/>
            </p:cNvSpPr>
            <p:nvPr/>
          </p:nvSpPr>
          <p:spPr bwMode="auto">
            <a:xfrm>
              <a:off x="8704263"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r</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11" name="Rectangle 10"/>
            <p:cNvSpPr>
              <a:spLocks noChangeArrowheads="1"/>
            </p:cNvSpPr>
            <p:nvPr/>
          </p:nvSpPr>
          <p:spPr bwMode="auto">
            <a:xfrm>
              <a:off x="8759825" y="4471988"/>
              <a:ext cx="1460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eates new sheets</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12" name="Rectangle 11"/>
            <p:cNvSpPr>
              <a:spLocks noChangeArrowheads="1"/>
            </p:cNvSpPr>
            <p:nvPr/>
          </p:nvSpPr>
          <p:spPr bwMode="auto">
            <a:xfrm>
              <a:off x="8907463" y="4686300"/>
              <a:ext cx="7699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with cha</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13" name="Rectangle 12"/>
            <p:cNvSpPr>
              <a:spLocks noChangeArrowheads="1"/>
            </p:cNvSpPr>
            <p:nvPr/>
          </p:nvSpPr>
          <p:spPr bwMode="auto">
            <a:xfrm>
              <a:off x="9529763" y="4686300"/>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r</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14" name="Rectangle 13"/>
            <p:cNvSpPr>
              <a:spLocks noChangeArrowheads="1"/>
            </p:cNvSpPr>
            <p:nvPr/>
          </p:nvSpPr>
          <p:spPr bwMode="auto">
            <a:xfrm>
              <a:off x="9598025" y="4686300"/>
              <a:ext cx="233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ts</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19" name="Freeform 18"/>
            <p:cNvSpPr>
              <a:spLocks noEditPoints="1"/>
            </p:cNvSpPr>
            <p:nvPr/>
          </p:nvSpPr>
          <p:spPr bwMode="auto">
            <a:xfrm>
              <a:off x="7961313" y="3568700"/>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Freeform 19"/>
            <p:cNvSpPr>
              <a:spLocks/>
            </p:cNvSpPr>
            <p:nvPr/>
          </p:nvSpPr>
          <p:spPr bwMode="auto">
            <a:xfrm>
              <a:off x="8234363"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5" name="Rectangle 64"/>
            <p:cNvSpPr>
              <a:spLocks noChangeArrowheads="1"/>
            </p:cNvSpPr>
            <p:nvPr/>
          </p:nvSpPr>
          <p:spPr bwMode="auto">
            <a:xfrm>
              <a:off x="8824913" y="3890963"/>
              <a:ext cx="171450" cy="2032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6" name="Rectangle 65"/>
            <p:cNvSpPr>
              <a:spLocks noChangeArrowheads="1"/>
            </p:cNvSpPr>
            <p:nvPr/>
          </p:nvSpPr>
          <p:spPr bwMode="auto">
            <a:xfrm>
              <a:off x="9091613" y="3756025"/>
              <a:ext cx="171450"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7" name="Rectangle 66"/>
            <p:cNvSpPr>
              <a:spLocks noChangeArrowheads="1"/>
            </p:cNvSpPr>
            <p:nvPr/>
          </p:nvSpPr>
          <p:spPr bwMode="auto">
            <a:xfrm>
              <a:off x="9361488" y="3975100"/>
              <a:ext cx="173038" cy="1190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8" name="Rectangle 67"/>
            <p:cNvSpPr>
              <a:spLocks noChangeArrowheads="1"/>
            </p:cNvSpPr>
            <p:nvPr/>
          </p:nvSpPr>
          <p:spPr bwMode="auto">
            <a:xfrm>
              <a:off x="9628188" y="3824288"/>
              <a:ext cx="173038" cy="269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 name="Freeform 68"/>
            <p:cNvSpPr>
              <a:spLocks/>
            </p:cNvSpPr>
            <p:nvPr/>
          </p:nvSpPr>
          <p:spPr bwMode="auto">
            <a:xfrm>
              <a:off x="8883650" y="3467100"/>
              <a:ext cx="868363" cy="338138"/>
            </a:xfrm>
            <a:custGeom>
              <a:avLst/>
              <a:gdLst>
                <a:gd name="T0" fmla="*/ 346 w 547"/>
                <a:gd name="T1" fmla="*/ 213 h 213"/>
                <a:gd name="T2" fmla="*/ 225 w 547"/>
                <a:gd name="T3" fmla="*/ 40 h 213"/>
                <a:gd name="T4" fmla="*/ 17 w 547"/>
                <a:gd name="T5" fmla="*/ 192 h 213"/>
                <a:gd name="T6" fmla="*/ 0 w 547"/>
                <a:gd name="T7" fmla="*/ 170 h 213"/>
                <a:gd name="T8" fmla="*/ 230 w 547"/>
                <a:gd name="T9" fmla="*/ 0 h 213"/>
                <a:gd name="T10" fmla="*/ 350 w 547"/>
                <a:gd name="T11" fmla="*/ 173 h 213"/>
                <a:gd name="T12" fmla="*/ 535 w 547"/>
                <a:gd name="T13" fmla="*/ 11 h 213"/>
                <a:gd name="T14" fmla="*/ 547 w 547"/>
                <a:gd name="T15" fmla="*/ 23 h 213"/>
                <a:gd name="T16" fmla="*/ 537 w 547"/>
                <a:gd name="T17" fmla="*/ 35 h 213"/>
                <a:gd name="T18" fmla="*/ 542 w 547"/>
                <a:gd name="T19" fmla="*/ 42 h 213"/>
                <a:gd name="T20" fmla="*/ 346 w 547"/>
                <a:gd name="T21"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3">
                  <a:moveTo>
                    <a:pt x="346" y="213"/>
                  </a:moveTo>
                  <a:lnTo>
                    <a:pt x="225" y="40"/>
                  </a:lnTo>
                  <a:lnTo>
                    <a:pt x="17" y="192"/>
                  </a:lnTo>
                  <a:lnTo>
                    <a:pt x="0" y="170"/>
                  </a:lnTo>
                  <a:lnTo>
                    <a:pt x="230" y="0"/>
                  </a:lnTo>
                  <a:lnTo>
                    <a:pt x="350" y="173"/>
                  </a:lnTo>
                  <a:lnTo>
                    <a:pt x="535" y="11"/>
                  </a:lnTo>
                  <a:lnTo>
                    <a:pt x="547" y="23"/>
                  </a:lnTo>
                  <a:lnTo>
                    <a:pt x="537" y="35"/>
                  </a:lnTo>
                  <a:lnTo>
                    <a:pt x="542" y="42"/>
                  </a:lnTo>
                  <a:lnTo>
                    <a:pt x="346" y="21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 name="Oval 69"/>
            <p:cNvSpPr>
              <a:spLocks noChangeArrowheads="1"/>
            </p:cNvSpPr>
            <p:nvPr/>
          </p:nvSpPr>
          <p:spPr bwMode="auto">
            <a:xfrm>
              <a:off x="8824913" y="3692525"/>
              <a:ext cx="127000"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 name="Oval 70"/>
            <p:cNvSpPr>
              <a:spLocks noChangeArrowheads="1"/>
            </p:cNvSpPr>
            <p:nvPr/>
          </p:nvSpPr>
          <p:spPr bwMode="auto">
            <a:xfrm>
              <a:off x="9180513" y="3440113"/>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 name="Oval 71"/>
            <p:cNvSpPr>
              <a:spLocks noChangeArrowheads="1"/>
            </p:cNvSpPr>
            <p:nvPr/>
          </p:nvSpPr>
          <p:spPr bwMode="auto">
            <a:xfrm>
              <a:off x="9364663" y="3711575"/>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 name="Oval 72"/>
            <p:cNvSpPr>
              <a:spLocks noChangeArrowheads="1"/>
            </p:cNvSpPr>
            <p:nvPr/>
          </p:nvSpPr>
          <p:spPr bwMode="auto">
            <a:xfrm>
              <a:off x="9672638" y="3448050"/>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7" name="Rectangle 86"/>
            <p:cNvSpPr>
              <a:spLocks noChangeArrowheads="1"/>
            </p:cNvSpPr>
            <p:nvPr/>
          </p:nvSpPr>
          <p:spPr bwMode="auto">
            <a:xfrm>
              <a:off x="9386888" y="30940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8" name="Rectangle 87"/>
            <p:cNvSpPr>
              <a:spLocks noChangeArrowheads="1"/>
            </p:cNvSpPr>
            <p:nvPr/>
          </p:nvSpPr>
          <p:spPr bwMode="auto">
            <a:xfrm>
              <a:off x="9386888" y="31384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 name="Rectangle 88"/>
            <p:cNvSpPr>
              <a:spLocks noChangeArrowheads="1"/>
            </p:cNvSpPr>
            <p:nvPr/>
          </p:nvSpPr>
          <p:spPr bwMode="auto">
            <a:xfrm>
              <a:off x="9386888" y="31845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0" name="Rectangle 89"/>
            <p:cNvSpPr>
              <a:spLocks noChangeArrowheads="1"/>
            </p:cNvSpPr>
            <p:nvPr/>
          </p:nvSpPr>
          <p:spPr bwMode="auto">
            <a:xfrm>
              <a:off x="9386888" y="32289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1" name="Freeform 90"/>
            <p:cNvSpPr>
              <a:spLocks noEditPoints="1"/>
            </p:cNvSpPr>
            <p:nvPr/>
          </p:nvSpPr>
          <p:spPr bwMode="auto">
            <a:xfrm>
              <a:off x="9161463" y="3014663"/>
              <a:ext cx="301625"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92"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endParaRPr kumimoji="0" lang="en-US" sz="4705" b="0" i="0" u="none" strike="noStrike" kern="1200" cap="none" spc="-100"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endParaRPr>
          </a:p>
        </p:txBody>
      </p:sp>
      <p:sp>
        <p:nvSpPr>
          <p:cNvPr id="93"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dirty="0">
                <a:gradFill>
                  <a:gsLst>
                    <a:gs pos="1250">
                      <a:srgbClr val="0078D7"/>
                    </a:gs>
                    <a:gs pos="99000">
                      <a:srgbClr val="0078D7"/>
                    </a:gs>
                  </a:gsLst>
                  <a:lin ang="5400000" scaled="0"/>
                </a:gradFill>
                <a:latin typeface="Segoe UI Light"/>
              </a:rPr>
              <a:t>Example: SaaS event processing </a:t>
            </a:r>
            <a:endParaRPr kumimoji="0" lang="en-US" sz="3921" b="0" i="0" u="none" strike="noStrike" kern="1200" cap="none" spc="0" normalizeH="0" baseline="0" noProof="0" dirty="0">
              <a:ln>
                <a:noFill/>
              </a:ln>
              <a:gradFill>
                <a:gsLst>
                  <a:gs pos="1250">
                    <a:srgbClr val="0078D7"/>
                  </a:gs>
                  <a:gs pos="99000">
                    <a:srgbClr val="0078D7"/>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27879715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B854194-185D-494D-905C-7C7CB2E30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608211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B4F5FA0D-0104-4987-8241-EFF7C85B88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1998"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2897127E-6CEF-446C-BE87-93B7C46E49D1}"/>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2C0CEFC-EA79-0E4A-949B-2FE012774B46}"/>
              </a:ext>
            </a:extLst>
          </p:cNvPr>
          <p:cNvSpPr>
            <a:spLocks noGrp="1"/>
          </p:cNvSpPr>
          <p:nvPr>
            <p:ph type="title"/>
          </p:nvPr>
        </p:nvSpPr>
        <p:spPr>
          <a:xfrm>
            <a:off x="640079" y="2053641"/>
            <a:ext cx="3669161" cy="2760098"/>
          </a:xfrm>
        </p:spPr>
        <p:txBody>
          <a:bodyPr>
            <a:normAutofit/>
          </a:bodyPr>
          <a:lstStyle/>
          <a:p>
            <a:r>
              <a:rPr lang="en-US">
                <a:solidFill>
                  <a:srgbClr val="FFFFFF"/>
                </a:solidFill>
              </a:rPr>
              <a:t>Challenge Goals</a:t>
            </a:r>
          </a:p>
        </p:txBody>
      </p:sp>
      <p:sp>
        <p:nvSpPr>
          <p:cNvPr id="3" name="Content Placeholder 2">
            <a:extLst>
              <a:ext uri="{FF2B5EF4-FFF2-40B4-BE49-F238E27FC236}">
                <a16:creationId xmlns:a16="http://schemas.microsoft.com/office/drawing/2014/main" id="{4D0B9940-7BFC-EE47-8AEB-9136B5F1598A}"/>
              </a:ext>
            </a:extLst>
          </p:cNvPr>
          <p:cNvSpPr>
            <a:spLocks noGrp="1"/>
          </p:cNvSpPr>
          <p:nvPr>
            <p:ph idx="1"/>
          </p:nvPr>
        </p:nvSpPr>
        <p:spPr>
          <a:xfrm>
            <a:off x="6090574" y="801866"/>
            <a:ext cx="5306084" cy="5230634"/>
          </a:xfrm>
        </p:spPr>
        <p:txBody>
          <a:bodyPr anchor="ctr">
            <a:normAutofit/>
          </a:bodyPr>
          <a:lstStyle/>
          <a:p>
            <a:r>
              <a:rPr lang="en-US" sz="2200">
                <a:solidFill>
                  <a:srgbClr val="000000"/>
                </a:solidFill>
              </a:rPr>
              <a:t>Migrate the Website to the cloud leveraging PaaS services</a:t>
            </a:r>
          </a:p>
          <a:p>
            <a:r>
              <a:rPr lang="en-US" sz="2200">
                <a:solidFill>
                  <a:srgbClr val="000000"/>
                </a:solidFill>
              </a:rPr>
              <a:t>Enhance application stability with logging, monitoring and alerting</a:t>
            </a:r>
          </a:p>
          <a:p>
            <a:r>
              <a:rPr lang="en-US" sz="2200">
                <a:solidFill>
                  <a:srgbClr val="000000"/>
                </a:solidFill>
              </a:rPr>
              <a:t>Add automation in the cloud to support CI/CD processes</a:t>
            </a:r>
          </a:p>
          <a:p>
            <a:r>
              <a:rPr lang="en-US" sz="2200">
                <a:solidFill>
                  <a:srgbClr val="000000"/>
                </a:solidFill>
              </a:rPr>
              <a:t>Impove application responsiveness with auto scaling, caching and a CDN</a:t>
            </a:r>
          </a:p>
          <a:p>
            <a:r>
              <a:rPr lang="en-US" sz="2200">
                <a:solidFill>
                  <a:srgbClr val="000000"/>
                </a:solidFill>
              </a:rPr>
              <a:t>Enahnce customer access to products with search</a:t>
            </a:r>
          </a:p>
          <a:p>
            <a:r>
              <a:rPr lang="en-US" sz="2200">
                <a:solidFill>
                  <a:srgbClr val="000000"/>
                </a:solidFill>
              </a:rPr>
              <a:t>Begin to decouple the web app with Serverless Functions and API management to expose services to partners</a:t>
            </a:r>
          </a:p>
        </p:txBody>
      </p:sp>
    </p:spTree>
    <p:extLst>
      <p:ext uri="{BB962C8B-B14F-4D97-AF65-F5344CB8AC3E}">
        <p14:creationId xmlns:p14="http://schemas.microsoft.com/office/powerpoint/2010/main" val="277134027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2101850" y="2281238"/>
            <a:ext cx="7988300" cy="229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2" name="Group 1"/>
          <p:cNvGrpSpPr/>
          <p:nvPr/>
        </p:nvGrpSpPr>
        <p:grpSpPr>
          <a:xfrm>
            <a:off x="2098675" y="2273301"/>
            <a:ext cx="1895475" cy="2344737"/>
            <a:chOff x="2098675" y="2273301"/>
            <a:chExt cx="1895475" cy="2344737"/>
          </a:xfrm>
        </p:grpSpPr>
        <p:sp>
          <p:nvSpPr>
            <p:cNvPr id="5" name="Rectangle 5"/>
            <p:cNvSpPr>
              <a:spLocks noChangeArrowheads="1"/>
            </p:cNvSpPr>
            <p:nvPr/>
          </p:nvSpPr>
          <p:spPr bwMode="auto">
            <a:xfrm>
              <a:off x="2098675" y="4098926"/>
              <a:ext cx="1550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rPr>
                <a:t>Loaded web page</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6" name="Rectangle 6"/>
            <p:cNvSpPr>
              <a:spLocks noChangeArrowheads="1"/>
            </p:cNvSpPr>
            <p:nvPr/>
          </p:nvSpPr>
          <p:spPr bwMode="auto">
            <a:xfrm>
              <a:off x="2222500" y="4313238"/>
              <a:ext cx="4349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rPr>
                <a:t>calls</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7" name="Rectangle 7"/>
            <p:cNvSpPr>
              <a:spLocks noChangeArrowheads="1"/>
            </p:cNvSpPr>
            <p:nvPr/>
          </p:nvSpPr>
          <p:spPr bwMode="auto">
            <a:xfrm>
              <a:off x="2586038" y="43132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rPr>
                <a:t>W</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8" name="Rectangle 8"/>
            <p:cNvSpPr>
              <a:spLocks noChangeArrowheads="1"/>
            </p:cNvSpPr>
            <p:nvPr/>
          </p:nvSpPr>
          <p:spPr bwMode="auto">
            <a:xfrm>
              <a:off x="2740025" y="4313238"/>
              <a:ext cx="73501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rPr>
                <a:t>ebHook</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9" name="Freeform 9"/>
            <p:cNvSpPr>
              <a:spLocks/>
            </p:cNvSpPr>
            <p:nvPr/>
          </p:nvSpPr>
          <p:spPr bwMode="auto">
            <a:xfrm>
              <a:off x="2632075" y="2273301"/>
              <a:ext cx="322263" cy="422275"/>
            </a:xfrm>
            <a:custGeom>
              <a:avLst/>
              <a:gdLst>
                <a:gd name="T0" fmla="*/ 46 w 86"/>
                <a:gd name="T1" fmla="*/ 56 h 112"/>
                <a:gd name="T2" fmla="*/ 29 w 86"/>
                <a:gd name="T3" fmla="*/ 84 h 112"/>
                <a:gd name="T4" fmla="*/ 28 w 86"/>
                <a:gd name="T5" fmla="*/ 91 h 112"/>
                <a:gd name="T6" fmla="*/ 18 w 86"/>
                <a:gd name="T7" fmla="*/ 110 h 112"/>
                <a:gd name="T8" fmla="*/ 1 w 86"/>
                <a:gd name="T9" fmla="*/ 98 h 112"/>
                <a:gd name="T10" fmla="*/ 14 w 86"/>
                <a:gd name="T11" fmla="*/ 82 h 112"/>
                <a:gd name="T12" fmla="*/ 17 w 86"/>
                <a:gd name="T13" fmla="*/ 82 h 112"/>
                <a:gd name="T14" fmla="*/ 29 w 86"/>
                <a:gd name="T15" fmla="*/ 61 h 112"/>
                <a:gd name="T16" fmla="*/ 18 w 86"/>
                <a:gd name="T17" fmla="*/ 33 h 112"/>
                <a:gd name="T18" fmla="*/ 27 w 86"/>
                <a:gd name="T19" fmla="*/ 13 h 112"/>
                <a:gd name="T20" fmla="*/ 68 w 86"/>
                <a:gd name="T21" fmla="*/ 8 h 112"/>
                <a:gd name="T22" fmla="*/ 81 w 86"/>
                <a:gd name="T23" fmla="*/ 45 h 112"/>
                <a:gd name="T24" fmla="*/ 70 w 86"/>
                <a:gd name="T25" fmla="*/ 42 h 112"/>
                <a:gd name="T26" fmla="*/ 65 w 86"/>
                <a:gd name="T27" fmla="*/ 22 h 112"/>
                <a:gd name="T28" fmla="*/ 53 w 86"/>
                <a:gd name="T29" fmla="*/ 16 h 112"/>
                <a:gd name="T30" fmla="*/ 31 w 86"/>
                <a:gd name="T31" fmla="*/ 30 h 112"/>
                <a:gd name="T32" fmla="*/ 46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6" y="56"/>
                  </a:moveTo>
                  <a:cubicBezTo>
                    <a:pt x="40" y="66"/>
                    <a:pt x="35" y="75"/>
                    <a:pt x="29" y="84"/>
                  </a:cubicBezTo>
                  <a:cubicBezTo>
                    <a:pt x="28" y="86"/>
                    <a:pt x="27" y="88"/>
                    <a:pt x="28" y="91"/>
                  </a:cubicBezTo>
                  <a:cubicBezTo>
                    <a:pt x="31" y="99"/>
                    <a:pt x="27" y="108"/>
                    <a:pt x="18" y="110"/>
                  </a:cubicBezTo>
                  <a:cubicBezTo>
                    <a:pt x="11" y="112"/>
                    <a:pt x="3" y="107"/>
                    <a:pt x="1" y="98"/>
                  </a:cubicBezTo>
                  <a:cubicBezTo>
                    <a:pt x="0" y="91"/>
                    <a:pt x="6" y="83"/>
                    <a:pt x="14" y="82"/>
                  </a:cubicBezTo>
                  <a:cubicBezTo>
                    <a:pt x="15" y="82"/>
                    <a:pt x="15" y="82"/>
                    <a:pt x="17" y="82"/>
                  </a:cubicBezTo>
                  <a:cubicBezTo>
                    <a:pt x="21" y="75"/>
                    <a:pt x="25" y="69"/>
                    <a:pt x="29" y="61"/>
                  </a:cubicBezTo>
                  <a:cubicBezTo>
                    <a:pt x="21" y="53"/>
                    <a:pt x="16" y="44"/>
                    <a:pt x="18" y="33"/>
                  </a:cubicBezTo>
                  <a:cubicBezTo>
                    <a:pt x="18" y="25"/>
                    <a:pt x="21" y="18"/>
                    <a:pt x="27" y="13"/>
                  </a:cubicBezTo>
                  <a:cubicBezTo>
                    <a:pt x="38" y="2"/>
                    <a:pt x="55" y="0"/>
                    <a:pt x="68" y="8"/>
                  </a:cubicBezTo>
                  <a:cubicBezTo>
                    <a:pt x="80" y="16"/>
                    <a:pt x="86" y="32"/>
                    <a:pt x="81" y="45"/>
                  </a:cubicBezTo>
                  <a:cubicBezTo>
                    <a:pt x="77" y="44"/>
                    <a:pt x="74" y="43"/>
                    <a:pt x="70" y="42"/>
                  </a:cubicBezTo>
                  <a:cubicBezTo>
                    <a:pt x="71" y="35"/>
                    <a:pt x="70" y="28"/>
                    <a:pt x="65" y="22"/>
                  </a:cubicBezTo>
                  <a:cubicBezTo>
                    <a:pt x="62" y="19"/>
                    <a:pt x="58" y="17"/>
                    <a:pt x="53" y="16"/>
                  </a:cubicBezTo>
                  <a:cubicBezTo>
                    <a:pt x="43" y="14"/>
                    <a:pt x="34" y="21"/>
                    <a:pt x="31" y="30"/>
                  </a:cubicBezTo>
                  <a:cubicBezTo>
                    <a:pt x="28" y="41"/>
                    <a:pt x="32" y="50"/>
                    <a:pt x="46"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 name="Freeform 10"/>
            <p:cNvSpPr>
              <a:spLocks/>
            </p:cNvSpPr>
            <p:nvPr/>
          </p:nvSpPr>
          <p:spPr bwMode="auto">
            <a:xfrm>
              <a:off x="2767013" y="2355851"/>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5 w 85"/>
                <a:gd name="T13" fmla="*/ 88 h 111"/>
                <a:gd name="T14" fmla="*/ 64 w 85"/>
                <a:gd name="T15" fmla="*/ 62 h 111"/>
                <a:gd name="T16" fmla="*/ 34 w 85"/>
                <a:gd name="T17" fmla="*/ 61 h 111"/>
                <a:gd name="T18" fmla="*/ 19 w 85"/>
                <a:gd name="T19" fmla="*/ 33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5" y="111"/>
                    <a:pt x="38" y="109"/>
                    <a:pt x="26" y="98"/>
                  </a:cubicBezTo>
                  <a:cubicBezTo>
                    <a:pt x="29" y="95"/>
                    <a:pt x="32" y="93"/>
                    <a:pt x="35" y="90"/>
                  </a:cubicBezTo>
                  <a:cubicBezTo>
                    <a:pt x="47" y="97"/>
                    <a:pt x="57" y="97"/>
                    <a:pt x="65" y="88"/>
                  </a:cubicBezTo>
                  <a:cubicBezTo>
                    <a:pt x="71" y="80"/>
                    <a:pt x="71" y="69"/>
                    <a:pt x="64" y="62"/>
                  </a:cubicBezTo>
                  <a:cubicBezTo>
                    <a:pt x="57" y="53"/>
                    <a:pt x="46" y="53"/>
                    <a:pt x="34" y="61"/>
                  </a:cubicBezTo>
                  <a:cubicBezTo>
                    <a:pt x="29" y="52"/>
                    <a:pt x="24" y="43"/>
                    <a:pt x="19" y="33"/>
                  </a:cubicBezTo>
                  <a:cubicBezTo>
                    <a:pt x="17" y="30"/>
                    <a:pt x="15" y="29"/>
                    <a:pt x="11" y="28"/>
                  </a:cubicBezTo>
                  <a:cubicBezTo>
                    <a:pt x="5" y="27"/>
                    <a:pt x="1" y="21"/>
                    <a:pt x="0" y="15"/>
                  </a:cubicBezTo>
                  <a:cubicBezTo>
                    <a:pt x="0" y="9"/>
                    <a:pt x="4" y="4"/>
                    <a:pt x="9" y="2"/>
                  </a:cubicBezTo>
                  <a:cubicBezTo>
                    <a:pt x="15" y="0"/>
                    <a:pt x="21" y="1"/>
                    <a:pt x="25" y="6"/>
                  </a:cubicBezTo>
                  <a:cubicBezTo>
                    <a:pt x="28" y="10"/>
                    <a:pt x="29" y="14"/>
                    <a:pt x="27" y="19"/>
                  </a:cubicBezTo>
                  <a:cubicBezTo>
                    <a:pt x="27" y="20"/>
                    <a:pt x="26" y="21"/>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Freeform 11"/>
            <p:cNvSpPr>
              <a:spLocks/>
            </p:cNvSpPr>
            <p:nvPr/>
          </p:nvSpPr>
          <p:spPr bwMode="auto">
            <a:xfrm>
              <a:off x="2560638" y="2517776"/>
              <a:ext cx="446088" cy="246063"/>
            </a:xfrm>
            <a:custGeom>
              <a:avLst/>
              <a:gdLst>
                <a:gd name="T0" fmla="*/ 90 w 119"/>
                <a:gd name="T1" fmla="*/ 37 h 65"/>
                <a:gd name="T2" fmla="*/ 66 w 119"/>
                <a:gd name="T3" fmla="*/ 37 h 65"/>
                <a:gd name="T4" fmla="*/ 50 w 119"/>
                <a:gd name="T5" fmla="*/ 60 h 65"/>
                <a:gd name="T6" fmla="*/ 28 w 119"/>
                <a:gd name="T7" fmla="*/ 64 h 65"/>
                <a:gd name="T8" fmla="*/ 1 w 119"/>
                <a:gd name="T9" fmla="*/ 34 h 65"/>
                <a:gd name="T10" fmla="*/ 26 w 119"/>
                <a:gd name="T11" fmla="*/ 0 h 65"/>
                <a:gd name="T12" fmla="*/ 29 w 119"/>
                <a:gd name="T13" fmla="*/ 11 h 65"/>
                <a:gd name="T14" fmla="*/ 15 w 119"/>
                <a:gd name="T15" fmla="*/ 38 h 65"/>
                <a:gd name="T16" fmla="*/ 38 w 119"/>
                <a:gd name="T17" fmla="*/ 51 h 65"/>
                <a:gd name="T18" fmla="*/ 54 w 119"/>
                <a:gd name="T19" fmla="*/ 26 h 65"/>
                <a:gd name="T20" fmla="*/ 84 w 119"/>
                <a:gd name="T21" fmla="*/ 26 h 65"/>
                <a:gd name="T22" fmla="*/ 94 w 119"/>
                <a:gd name="T23" fmla="*/ 22 h 65"/>
                <a:gd name="T24" fmla="*/ 113 w 119"/>
                <a:gd name="T25" fmla="*/ 22 h 65"/>
                <a:gd name="T26" fmla="*/ 113 w 119"/>
                <a:gd name="T27" fmla="*/ 42 h 65"/>
                <a:gd name="T28" fmla="*/ 93 w 119"/>
                <a:gd name="T29" fmla="*/ 41 h 65"/>
                <a:gd name="T30" fmla="*/ 90 w 119"/>
                <a:gd name="T31" fmla="*/ 3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65">
                  <a:moveTo>
                    <a:pt x="90" y="37"/>
                  </a:moveTo>
                  <a:cubicBezTo>
                    <a:pt x="66" y="37"/>
                    <a:pt x="66" y="37"/>
                    <a:pt x="66" y="37"/>
                  </a:cubicBezTo>
                  <a:cubicBezTo>
                    <a:pt x="64" y="47"/>
                    <a:pt x="59" y="55"/>
                    <a:pt x="50" y="60"/>
                  </a:cubicBezTo>
                  <a:cubicBezTo>
                    <a:pt x="43" y="64"/>
                    <a:pt x="36" y="65"/>
                    <a:pt x="28" y="64"/>
                  </a:cubicBezTo>
                  <a:cubicBezTo>
                    <a:pt x="14" y="61"/>
                    <a:pt x="2" y="48"/>
                    <a:pt x="1" y="34"/>
                  </a:cubicBezTo>
                  <a:cubicBezTo>
                    <a:pt x="0" y="18"/>
                    <a:pt x="11" y="3"/>
                    <a:pt x="26" y="0"/>
                  </a:cubicBezTo>
                  <a:cubicBezTo>
                    <a:pt x="27" y="3"/>
                    <a:pt x="28" y="7"/>
                    <a:pt x="29" y="11"/>
                  </a:cubicBezTo>
                  <a:cubicBezTo>
                    <a:pt x="15" y="18"/>
                    <a:pt x="11" y="27"/>
                    <a:pt x="15" y="38"/>
                  </a:cubicBezTo>
                  <a:cubicBezTo>
                    <a:pt x="18" y="48"/>
                    <a:pt x="28" y="53"/>
                    <a:pt x="38" y="51"/>
                  </a:cubicBezTo>
                  <a:cubicBezTo>
                    <a:pt x="49" y="49"/>
                    <a:pt x="54" y="40"/>
                    <a:pt x="54" y="26"/>
                  </a:cubicBezTo>
                  <a:cubicBezTo>
                    <a:pt x="64" y="26"/>
                    <a:pt x="74" y="26"/>
                    <a:pt x="84" y="26"/>
                  </a:cubicBezTo>
                  <a:cubicBezTo>
                    <a:pt x="88" y="26"/>
                    <a:pt x="91" y="25"/>
                    <a:pt x="94" y="22"/>
                  </a:cubicBezTo>
                  <a:cubicBezTo>
                    <a:pt x="99" y="16"/>
                    <a:pt x="108" y="17"/>
                    <a:pt x="113" y="22"/>
                  </a:cubicBezTo>
                  <a:cubicBezTo>
                    <a:pt x="119" y="28"/>
                    <a:pt x="118" y="37"/>
                    <a:pt x="113" y="42"/>
                  </a:cubicBezTo>
                  <a:cubicBezTo>
                    <a:pt x="107" y="47"/>
                    <a:pt x="98" y="47"/>
                    <a:pt x="93" y="41"/>
                  </a:cubicBezTo>
                  <a:cubicBezTo>
                    <a:pt x="92" y="40"/>
                    <a:pt x="91" y="39"/>
                    <a:pt x="90" y="37"/>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Freeform 20"/>
            <p:cNvSpPr>
              <a:spLocks noEditPoints="1"/>
            </p:cNvSpPr>
            <p:nvPr/>
          </p:nvSpPr>
          <p:spPr bwMode="auto">
            <a:xfrm>
              <a:off x="3589338"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Freeform 21"/>
            <p:cNvSpPr>
              <a:spLocks/>
            </p:cNvSpPr>
            <p:nvPr/>
          </p:nvSpPr>
          <p:spPr bwMode="auto">
            <a:xfrm>
              <a:off x="3863975" y="31337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 name="Freeform 35"/>
            <p:cNvSpPr>
              <a:spLocks/>
            </p:cNvSpPr>
            <p:nvPr/>
          </p:nvSpPr>
          <p:spPr bwMode="auto">
            <a:xfrm>
              <a:off x="2259013" y="3133726"/>
              <a:ext cx="1127125" cy="752475"/>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 name="Freeform 36"/>
            <p:cNvSpPr>
              <a:spLocks/>
            </p:cNvSpPr>
            <p:nvPr/>
          </p:nvSpPr>
          <p:spPr bwMode="auto">
            <a:xfrm>
              <a:off x="2259013" y="2922588"/>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 name="Freeform 37"/>
            <p:cNvSpPr>
              <a:spLocks/>
            </p:cNvSpPr>
            <p:nvPr/>
          </p:nvSpPr>
          <p:spPr bwMode="auto">
            <a:xfrm>
              <a:off x="2259013" y="3208338"/>
              <a:ext cx="722313" cy="677863"/>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 name="Freeform 38"/>
            <p:cNvSpPr>
              <a:spLocks/>
            </p:cNvSpPr>
            <p:nvPr/>
          </p:nvSpPr>
          <p:spPr bwMode="auto">
            <a:xfrm>
              <a:off x="2259013" y="2922588"/>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 name="Rectangle 39"/>
            <p:cNvSpPr>
              <a:spLocks noChangeArrowheads="1"/>
            </p:cNvSpPr>
            <p:nvPr/>
          </p:nvSpPr>
          <p:spPr bwMode="auto">
            <a:xfrm>
              <a:off x="2549525" y="3030538"/>
              <a:ext cx="757238"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 name="Oval 40"/>
            <p:cNvSpPr>
              <a:spLocks noChangeArrowheads="1"/>
            </p:cNvSpPr>
            <p:nvPr/>
          </p:nvSpPr>
          <p:spPr bwMode="auto">
            <a:xfrm>
              <a:off x="2293938" y="2963863"/>
              <a:ext cx="220663"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Freeform 41"/>
            <p:cNvSpPr>
              <a:spLocks/>
            </p:cNvSpPr>
            <p:nvPr/>
          </p:nvSpPr>
          <p:spPr bwMode="auto">
            <a:xfrm>
              <a:off x="2349500" y="3013076"/>
              <a:ext cx="165100" cy="127000"/>
            </a:xfrm>
            <a:custGeom>
              <a:avLst/>
              <a:gdLst>
                <a:gd name="T0" fmla="*/ 26 w 104"/>
                <a:gd name="T1" fmla="*/ 47 h 80"/>
                <a:gd name="T2" fmla="*/ 59 w 104"/>
                <a:gd name="T3" fmla="*/ 80 h 80"/>
                <a:gd name="T4" fmla="*/ 43 w 104"/>
                <a:gd name="T5" fmla="*/ 80 h 80"/>
                <a:gd name="T6" fmla="*/ 0 w 104"/>
                <a:gd name="T7" fmla="*/ 40 h 80"/>
                <a:gd name="T8" fmla="*/ 43 w 104"/>
                <a:gd name="T9" fmla="*/ 0 h 80"/>
                <a:gd name="T10" fmla="*/ 59 w 104"/>
                <a:gd name="T11" fmla="*/ 0 h 80"/>
                <a:gd name="T12" fmla="*/ 26 w 104"/>
                <a:gd name="T13" fmla="*/ 33 h 80"/>
                <a:gd name="T14" fmla="*/ 104 w 104"/>
                <a:gd name="T15" fmla="*/ 33 h 80"/>
                <a:gd name="T16" fmla="*/ 104 w 104"/>
                <a:gd name="T17" fmla="*/ 47 h 80"/>
                <a:gd name="T18" fmla="*/ 26 w 104"/>
                <a:gd name="T19" fmla="*/ 4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0">
                  <a:moveTo>
                    <a:pt x="26" y="47"/>
                  </a:moveTo>
                  <a:lnTo>
                    <a:pt x="59" y="80"/>
                  </a:lnTo>
                  <a:lnTo>
                    <a:pt x="43" y="80"/>
                  </a:lnTo>
                  <a:lnTo>
                    <a:pt x="0" y="40"/>
                  </a:lnTo>
                  <a:lnTo>
                    <a:pt x="43"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3" name="Freeform 63"/>
            <p:cNvSpPr>
              <a:spLocks/>
            </p:cNvSpPr>
            <p:nvPr/>
          </p:nvSpPr>
          <p:spPr bwMode="auto">
            <a:xfrm>
              <a:off x="2789238" y="3687763"/>
              <a:ext cx="68263" cy="41275"/>
            </a:xfrm>
            <a:custGeom>
              <a:avLst/>
              <a:gdLst>
                <a:gd name="T0" fmla="*/ 43 w 43"/>
                <a:gd name="T1" fmla="*/ 9 h 26"/>
                <a:gd name="T2" fmla="*/ 21 w 43"/>
                <a:gd name="T3" fmla="*/ 0 h 26"/>
                <a:gd name="T4" fmla="*/ 0 w 43"/>
                <a:gd name="T5" fmla="*/ 9 h 26"/>
                <a:gd name="T6" fmla="*/ 9 w 43"/>
                <a:gd name="T7" fmla="*/ 26 h 26"/>
                <a:gd name="T8" fmla="*/ 21 w 43"/>
                <a:gd name="T9" fmla="*/ 21 h 26"/>
                <a:gd name="T10" fmla="*/ 33 w 43"/>
                <a:gd name="T11" fmla="*/ 26 h 26"/>
                <a:gd name="T12" fmla="*/ 43 w 43"/>
                <a:gd name="T13" fmla="*/ 9 h 26"/>
                <a:gd name="T14" fmla="*/ 43 w 43"/>
                <a:gd name="T15" fmla="*/ 9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6">
                  <a:moveTo>
                    <a:pt x="43" y="9"/>
                  </a:moveTo>
                  <a:lnTo>
                    <a:pt x="21" y="0"/>
                  </a:lnTo>
                  <a:lnTo>
                    <a:pt x="0" y="9"/>
                  </a:lnTo>
                  <a:lnTo>
                    <a:pt x="9" y="26"/>
                  </a:lnTo>
                  <a:lnTo>
                    <a:pt x="21" y="21"/>
                  </a:lnTo>
                  <a:lnTo>
                    <a:pt x="33" y="26"/>
                  </a:lnTo>
                  <a:lnTo>
                    <a:pt x="43" y="9"/>
                  </a:lnTo>
                  <a:lnTo>
                    <a:pt x="4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4" name="Freeform 64"/>
            <p:cNvSpPr>
              <a:spLocks/>
            </p:cNvSpPr>
            <p:nvPr/>
          </p:nvSpPr>
          <p:spPr bwMode="auto">
            <a:xfrm>
              <a:off x="2762250" y="3717926"/>
              <a:ext cx="15875" cy="25400"/>
            </a:xfrm>
            <a:custGeom>
              <a:avLst/>
              <a:gdLst>
                <a:gd name="T0" fmla="*/ 0 w 10"/>
                <a:gd name="T1" fmla="*/ 0 h 16"/>
                <a:gd name="T2" fmla="*/ 0 w 10"/>
                <a:gd name="T3" fmla="*/ 0 h 16"/>
                <a:gd name="T4" fmla="*/ 10 w 10"/>
                <a:gd name="T5" fmla="*/ 16 h 16"/>
                <a:gd name="T6" fmla="*/ 10 w 10"/>
                <a:gd name="T7" fmla="*/ 16 h 16"/>
                <a:gd name="T8" fmla="*/ 0 w 10"/>
                <a:gd name="T9" fmla="*/ 0 h 16"/>
              </a:gdLst>
              <a:ahLst/>
              <a:cxnLst>
                <a:cxn ang="0">
                  <a:pos x="T0" y="T1"/>
                </a:cxn>
                <a:cxn ang="0">
                  <a:pos x="T2" y="T3"/>
                </a:cxn>
                <a:cxn ang="0">
                  <a:pos x="T4" y="T5"/>
                </a:cxn>
                <a:cxn ang="0">
                  <a:pos x="T6" y="T7"/>
                </a:cxn>
                <a:cxn ang="0">
                  <a:pos x="T8" y="T9"/>
                </a:cxn>
              </a:cxnLst>
              <a:rect l="0" t="0" r="r" b="b"/>
              <a:pathLst>
                <a:path w="10" h="16">
                  <a:moveTo>
                    <a:pt x="0" y="0"/>
                  </a:moveTo>
                  <a:lnTo>
                    <a:pt x="0" y="0"/>
                  </a:lnTo>
                  <a:lnTo>
                    <a:pt x="10" y="16"/>
                  </a:lnTo>
                  <a:lnTo>
                    <a:pt x="10" y="1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5" name="Freeform 65"/>
            <p:cNvSpPr>
              <a:spLocks noEditPoints="1"/>
            </p:cNvSpPr>
            <p:nvPr/>
          </p:nvSpPr>
          <p:spPr bwMode="auto">
            <a:xfrm>
              <a:off x="2684463" y="3717926"/>
              <a:ext cx="93663" cy="66675"/>
            </a:xfrm>
            <a:custGeom>
              <a:avLst/>
              <a:gdLst>
                <a:gd name="T0" fmla="*/ 0 w 59"/>
                <a:gd name="T1" fmla="*/ 26 h 42"/>
                <a:gd name="T2" fmla="*/ 0 w 59"/>
                <a:gd name="T3" fmla="*/ 26 h 42"/>
                <a:gd name="T4" fmla="*/ 9 w 59"/>
                <a:gd name="T5" fmla="*/ 42 h 42"/>
                <a:gd name="T6" fmla="*/ 9 w 59"/>
                <a:gd name="T7" fmla="*/ 42 h 42"/>
                <a:gd name="T8" fmla="*/ 0 w 59"/>
                <a:gd name="T9" fmla="*/ 26 h 42"/>
                <a:gd name="T10" fmla="*/ 0 w 59"/>
                <a:gd name="T11" fmla="*/ 26 h 42"/>
                <a:gd name="T12" fmla="*/ 0 w 59"/>
                <a:gd name="T13" fmla="*/ 26 h 42"/>
                <a:gd name="T14" fmla="*/ 9 w 59"/>
                <a:gd name="T15" fmla="*/ 42 h 42"/>
                <a:gd name="T16" fmla="*/ 9 w 59"/>
                <a:gd name="T17" fmla="*/ 42 h 42"/>
                <a:gd name="T18" fmla="*/ 0 w 59"/>
                <a:gd name="T19" fmla="*/ 26 h 42"/>
                <a:gd name="T20" fmla="*/ 49 w 59"/>
                <a:gd name="T21" fmla="*/ 0 h 42"/>
                <a:gd name="T22" fmla="*/ 16 w 59"/>
                <a:gd name="T23" fmla="*/ 16 h 42"/>
                <a:gd name="T24" fmla="*/ 26 w 59"/>
                <a:gd name="T25" fmla="*/ 35 h 42"/>
                <a:gd name="T26" fmla="*/ 59 w 59"/>
                <a:gd name="T27" fmla="*/ 16 h 42"/>
                <a:gd name="T28" fmla="*/ 49 w 59"/>
                <a:gd name="T2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42">
                  <a:moveTo>
                    <a:pt x="0" y="26"/>
                  </a:moveTo>
                  <a:lnTo>
                    <a:pt x="0" y="26"/>
                  </a:lnTo>
                  <a:lnTo>
                    <a:pt x="9" y="42"/>
                  </a:lnTo>
                  <a:lnTo>
                    <a:pt x="9" y="42"/>
                  </a:lnTo>
                  <a:lnTo>
                    <a:pt x="0" y="26"/>
                  </a:lnTo>
                  <a:close/>
                  <a:moveTo>
                    <a:pt x="0" y="26"/>
                  </a:moveTo>
                  <a:lnTo>
                    <a:pt x="0" y="26"/>
                  </a:lnTo>
                  <a:lnTo>
                    <a:pt x="9" y="42"/>
                  </a:lnTo>
                  <a:lnTo>
                    <a:pt x="9" y="42"/>
                  </a:lnTo>
                  <a:lnTo>
                    <a:pt x="0" y="26"/>
                  </a:lnTo>
                  <a:close/>
                  <a:moveTo>
                    <a:pt x="49" y="0"/>
                  </a:moveTo>
                  <a:lnTo>
                    <a:pt x="16" y="16"/>
                  </a:lnTo>
                  <a:lnTo>
                    <a:pt x="26" y="35"/>
                  </a:lnTo>
                  <a:lnTo>
                    <a:pt x="59" y="16"/>
                  </a:lnTo>
                  <a:lnTo>
                    <a:pt x="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6" name="Freeform 66"/>
            <p:cNvSpPr>
              <a:spLocks/>
            </p:cNvSpPr>
            <p:nvPr/>
          </p:nvSpPr>
          <p:spPr bwMode="auto">
            <a:xfrm>
              <a:off x="2646363" y="3754438"/>
              <a:ext cx="52388" cy="60325"/>
            </a:xfrm>
            <a:custGeom>
              <a:avLst/>
              <a:gdLst>
                <a:gd name="T0" fmla="*/ 24 w 33"/>
                <a:gd name="T1" fmla="*/ 3 h 38"/>
                <a:gd name="T2" fmla="*/ 7 w 33"/>
                <a:gd name="T3" fmla="*/ 12 h 38"/>
                <a:gd name="T4" fmla="*/ 12 w 33"/>
                <a:gd name="T5" fmla="*/ 19 h 38"/>
                <a:gd name="T6" fmla="*/ 21 w 33"/>
                <a:gd name="T7" fmla="*/ 22 h 38"/>
                <a:gd name="T8" fmla="*/ 24 w 33"/>
                <a:gd name="T9" fmla="*/ 3 h 38"/>
                <a:gd name="T10" fmla="*/ 5 w 33"/>
                <a:gd name="T11" fmla="*/ 0 h 38"/>
                <a:gd name="T12" fmla="*/ 0 w 33"/>
                <a:gd name="T13" fmla="*/ 38 h 38"/>
                <a:gd name="T14" fmla="*/ 33 w 33"/>
                <a:gd name="T15" fmla="*/ 19 h 38"/>
                <a:gd name="T16" fmla="*/ 24 w 33"/>
                <a:gd name="T17" fmla="*/ 3 h 38"/>
                <a:gd name="T18" fmla="*/ 24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24" y="3"/>
                  </a:moveTo>
                  <a:lnTo>
                    <a:pt x="7" y="12"/>
                  </a:lnTo>
                  <a:lnTo>
                    <a:pt x="12" y="19"/>
                  </a:lnTo>
                  <a:lnTo>
                    <a:pt x="21" y="22"/>
                  </a:lnTo>
                  <a:lnTo>
                    <a:pt x="24" y="3"/>
                  </a:lnTo>
                  <a:lnTo>
                    <a:pt x="5" y="0"/>
                  </a:lnTo>
                  <a:lnTo>
                    <a:pt x="0" y="38"/>
                  </a:lnTo>
                  <a:lnTo>
                    <a:pt x="33" y="19"/>
                  </a:lnTo>
                  <a:lnTo>
                    <a:pt x="24" y="3"/>
                  </a:lnTo>
                  <a:lnTo>
                    <a:pt x="24"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7" name="Freeform 67"/>
            <p:cNvSpPr>
              <a:spLocks/>
            </p:cNvSpPr>
            <p:nvPr/>
          </p:nvSpPr>
          <p:spPr bwMode="auto">
            <a:xfrm>
              <a:off x="2662238" y="3724276"/>
              <a:ext cx="30163" cy="4763"/>
            </a:xfrm>
            <a:custGeom>
              <a:avLst/>
              <a:gdLst>
                <a:gd name="T0" fmla="*/ 19 w 19"/>
                <a:gd name="T1" fmla="*/ 3 h 3"/>
                <a:gd name="T2" fmla="*/ 19 w 19"/>
                <a:gd name="T3" fmla="*/ 3 h 3"/>
                <a:gd name="T4" fmla="*/ 0 w 19"/>
                <a:gd name="T5" fmla="*/ 0 h 3"/>
                <a:gd name="T6" fmla="*/ 0 w 19"/>
                <a:gd name="T7" fmla="*/ 0 h 3"/>
                <a:gd name="T8" fmla="*/ 19 w 19"/>
                <a:gd name="T9" fmla="*/ 3 h 3"/>
              </a:gdLst>
              <a:ahLst/>
              <a:cxnLst>
                <a:cxn ang="0">
                  <a:pos x="T0" y="T1"/>
                </a:cxn>
                <a:cxn ang="0">
                  <a:pos x="T2" y="T3"/>
                </a:cxn>
                <a:cxn ang="0">
                  <a:pos x="T4" y="T5"/>
                </a:cxn>
                <a:cxn ang="0">
                  <a:pos x="T6" y="T7"/>
                </a:cxn>
                <a:cxn ang="0">
                  <a:pos x="T8" y="T9"/>
                </a:cxn>
              </a:cxnLst>
              <a:rect l="0" t="0" r="r" b="b"/>
              <a:pathLst>
                <a:path w="19" h="3">
                  <a:moveTo>
                    <a:pt x="19" y="3"/>
                  </a:moveTo>
                  <a:lnTo>
                    <a:pt x="19" y="3"/>
                  </a:lnTo>
                  <a:lnTo>
                    <a:pt x="0" y="0"/>
                  </a:lnTo>
                  <a:lnTo>
                    <a:pt x="0" y="0"/>
                  </a:lnTo>
                  <a:lnTo>
                    <a:pt x="19"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8" name="Freeform 68"/>
            <p:cNvSpPr>
              <a:spLocks noEditPoints="1"/>
            </p:cNvSpPr>
            <p:nvPr/>
          </p:nvSpPr>
          <p:spPr bwMode="auto">
            <a:xfrm>
              <a:off x="2662238" y="3638551"/>
              <a:ext cx="44450" cy="90488"/>
            </a:xfrm>
            <a:custGeom>
              <a:avLst/>
              <a:gdLst>
                <a:gd name="T0" fmla="*/ 28 w 28"/>
                <a:gd name="T1" fmla="*/ 2 h 57"/>
                <a:gd name="T2" fmla="*/ 28 w 28"/>
                <a:gd name="T3" fmla="*/ 2 h 57"/>
                <a:gd name="T4" fmla="*/ 9 w 28"/>
                <a:gd name="T5" fmla="*/ 0 h 57"/>
                <a:gd name="T6" fmla="*/ 9 w 28"/>
                <a:gd name="T7" fmla="*/ 0 h 57"/>
                <a:gd name="T8" fmla="*/ 28 w 28"/>
                <a:gd name="T9" fmla="*/ 2 h 57"/>
                <a:gd name="T10" fmla="*/ 19 w 28"/>
                <a:gd name="T11" fmla="*/ 57 h 57"/>
                <a:gd name="T12" fmla="*/ 23 w 28"/>
                <a:gd name="T13" fmla="*/ 21 h 57"/>
                <a:gd name="T14" fmla="*/ 4 w 28"/>
                <a:gd name="T15" fmla="*/ 16 h 57"/>
                <a:gd name="T16" fmla="*/ 0 w 28"/>
                <a:gd name="T17" fmla="*/ 54 h 57"/>
                <a:gd name="T18" fmla="*/ 19 w 28"/>
                <a:gd name="T1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7">
                  <a:moveTo>
                    <a:pt x="28" y="2"/>
                  </a:moveTo>
                  <a:lnTo>
                    <a:pt x="28" y="2"/>
                  </a:lnTo>
                  <a:lnTo>
                    <a:pt x="9" y="0"/>
                  </a:lnTo>
                  <a:lnTo>
                    <a:pt x="9" y="0"/>
                  </a:lnTo>
                  <a:lnTo>
                    <a:pt x="28" y="2"/>
                  </a:lnTo>
                  <a:close/>
                  <a:moveTo>
                    <a:pt x="19" y="57"/>
                  </a:moveTo>
                  <a:lnTo>
                    <a:pt x="23" y="21"/>
                  </a:lnTo>
                  <a:lnTo>
                    <a:pt x="4" y="16"/>
                  </a:lnTo>
                  <a:lnTo>
                    <a:pt x="0" y="54"/>
                  </a:lnTo>
                  <a:lnTo>
                    <a:pt x="1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 name="Freeform 69"/>
            <p:cNvSpPr>
              <a:spLocks/>
            </p:cNvSpPr>
            <p:nvPr/>
          </p:nvSpPr>
          <p:spPr bwMode="auto">
            <a:xfrm>
              <a:off x="2665413" y="3578226"/>
              <a:ext cx="44450" cy="63500"/>
            </a:xfrm>
            <a:custGeom>
              <a:avLst/>
              <a:gdLst>
                <a:gd name="T0" fmla="*/ 26 w 28"/>
                <a:gd name="T1" fmla="*/ 40 h 40"/>
                <a:gd name="T2" fmla="*/ 28 w 28"/>
                <a:gd name="T3" fmla="*/ 16 h 40"/>
                <a:gd name="T4" fmla="*/ 12 w 28"/>
                <a:gd name="T5" fmla="*/ 0 h 40"/>
                <a:gd name="T6" fmla="*/ 0 w 28"/>
                <a:gd name="T7" fmla="*/ 14 h 40"/>
                <a:gd name="T8" fmla="*/ 9 w 28"/>
                <a:gd name="T9" fmla="*/ 24 h 40"/>
                <a:gd name="T10" fmla="*/ 7 w 28"/>
                <a:gd name="T11" fmla="*/ 38 h 40"/>
                <a:gd name="T12" fmla="*/ 26 w 28"/>
                <a:gd name="T13" fmla="*/ 40 h 40"/>
                <a:gd name="T14" fmla="*/ 26 w 28"/>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0">
                  <a:moveTo>
                    <a:pt x="26" y="40"/>
                  </a:moveTo>
                  <a:lnTo>
                    <a:pt x="28" y="16"/>
                  </a:lnTo>
                  <a:lnTo>
                    <a:pt x="12" y="0"/>
                  </a:lnTo>
                  <a:lnTo>
                    <a:pt x="0" y="14"/>
                  </a:lnTo>
                  <a:lnTo>
                    <a:pt x="9" y="24"/>
                  </a:lnTo>
                  <a:lnTo>
                    <a:pt x="7" y="38"/>
                  </a:lnTo>
                  <a:lnTo>
                    <a:pt x="26" y="40"/>
                  </a:lnTo>
                  <a:lnTo>
                    <a:pt x="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 name="Freeform 70"/>
            <p:cNvSpPr>
              <a:spLocks/>
            </p:cNvSpPr>
            <p:nvPr/>
          </p:nvSpPr>
          <p:spPr bwMode="auto">
            <a:xfrm>
              <a:off x="2643188" y="3559176"/>
              <a:ext cx="22225" cy="19050"/>
            </a:xfrm>
            <a:custGeom>
              <a:avLst/>
              <a:gdLst>
                <a:gd name="T0" fmla="*/ 14 w 14"/>
                <a:gd name="T1" fmla="*/ 0 h 12"/>
                <a:gd name="T2" fmla="*/ 12 w 14"/>
                <a:gd name="T3" fmla="*/ 0 h 12"/>
                <a:gd name="T4" fmla="*/ 0 w 14"/>
                <a:gd name="T5" fmla="*/ 12 h 12"/>
                <a:gd name="T6" fmla="*/ 0 w 14"/>
                <a:gd name="T7" fmla="*/ 12 h 12"/>
                <a:gd name="T8" fmla="*/ 14 w 14"/>
                <a:gd name="T9" fmla="*/ 0 h 12"/>
              </a:gdLst>
              <a:ahLst/>
              <a:cxnLst>
                <a:cxn ang="0">
                  <a:pos x="T0" y="T1"/>
                </a:cxn>
                <a:cxn ang="0">
                  <a:pos x="T2" y="T3"/>
                </a:cxn>
                <a:cxn ang="0">
                  <a:pos x="T4" y="T5"/>
                </a:cxn>
                <a:cxn ang="0">
                  <a:pos x="T6" y="T7"/>
                </a:cxn>
                <a:cxn ang="0">
                  <a:pos x="T8" y="T9"/>
                </a:cxn>
              </a:cxnLst>
              <a:rect l="0" t="0" r="r" b="b"/>
              <a:pathLst>
                <a:path w="14" h="12">
                  <a:moveTo>
                    <a:pt x="14" y="0"/>
                  </a:moveTo>
                  <a:lnTo>
                    <a:pt x="12" y="0"/>
                  </a:lnTo>
                  <a:lnTo>
                    <a:pt x="0" y="12"/>
                  </a:lnTo>
                  <a:lnTo>
                    <a:pt x="0" y="12"/>
                  </a:lnTo>
                  <a:lnTo>
                    <a:pt x="1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 name="Freeform 71"/>
            <p:cNvSpPr>
              <a:spLocks noEditPoints="1"/>
            </p:cNvSpPr>
            <p:nvPr/>
          </p:nvSpPr>
          <p:spPr bwMode="auto">
            <a:xfrm>
              <a:off x="2579688" y="3495676"/>
              <a:ext cx="82550" cy="82550"/>
            </a:xfrm>
            <a:custGeom>
              <a:avLst/>
              <a:gdLst>
                <a:gd name="T0" fmla="*/ 11 w 52"/>
                <a:gd name="T1" fmla="*/ 0 h 52"/>
                <a:gd name="T2" fmla="*/ 11 w 52"/>
                <a:gd name="T3" fmla="*/ 0 h 52"/>
                <a:gd name="T4" fmla="*/ 0 w 52"/>
                <a:gd name="T5" fmla="*/ 14 h 52"/>
                <a:gd name="T6" fmla="*/ 0 w 52"/>
                <a:gd name="T7" fmla="*/ 14 h 52"/>
                <a:gd name="T8" fmla="*/ 11 w 52"/>
                <a:gd name="T9" fmla="*/ 0 h 52"/>
                <a:gd name="T10" fmla="*/ 52 w 52"/>
                <a:gd name="T11" fmla="*/ 40 h 52"/>
                <a:gd name="T12" fmla="*/ 26 w 52"/>
                <a:gd name="T13" fmla="*/ 14 h 52"/>
                <a:gd name="T14" fmla="*/ 14 w 52"/>
                <a:gd name="T15" fmla="*/ 26 h 52"/>
                <a:gd name="T16" fmla="*/ 40 w 52"/>
                <a:gd name="T17" fmla="*/ 52 h 52"/>
                <a:gd name="T18" fmla="*/ 52 w 52"/>
                <a:gd name="T19" fmla="*/ 4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11" y="0"/>
                  </a:moveTo>
                  <a:lnTo>
                    <a:pt x="11" y="0"/>
                  </a:lnTo>
                  <a:lnTo>
                    <a:pt x="0" y="14"/>
                  </a:lnTo>
                  <a:lnTo>
                    <a:pt x="0" y="14"/>
                  </a:lnTo>
                  <a:lnTo>
                    <a:pt x="11" y="0"/>
                  </a:lnTo>
                  <a:close/>
                  <a:moveTo>
                    <a:pt x="52" y="40"/>
                  </a:moveTo>
                  <a:lnTo>
                    <a:pt x="26" y="14"/>
                  </a:lnTo>
                  <a:lnTo>
                    <a:pt x="14" y="26"/>
                  </a:lnTo>
                  <a:lnTo>
                    <a:pt x="40" y="52"/>
                  </a:lnTo>
                  <a:lnTo>
                    <a:pt x="5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 name="Freeform 72"/>
            <p:cNvSpPr>
              <a:spLocks/>
            </p:cNvSpPr>
            <p:nvPr/>
          </p:nvSpPr>
          <p:spPr bwMode="auto">
            <a:xfrm>
              <a:off x="2533650" y="3465513"/>
              <a:ext cx="63500" cy="52388"/>
            </a:xfrm>
            <a:custGeom>
              <a:avLst/>
              <a:gdLst>
                <a:gd name="T0" fmla="*/ 40 w 40"/>
                <a:gd name="T1" fmla="*/ 19 h 33"/>
                <a:gd name="T2" fmla="*/ 29 w 40"/>
                <a:gd name="T3" fmla="*/ 7 h 33"/>
                <a:gd name="T4" fmla="*/ 21 w 40"/>
                <a:gd name="T5" fmla="*/ 11 h 33"/>
                <a:gd name="T6" fmla="*/ 24 w 40"/>
                <a:gd name="T7" fmla="*/ 21 h 33"/>
                <a:gd name="T8" fmla="*/ 40 w 40"/>
                <a:gd name="T9" fmla="*/ 19 h 33"/>
                <a:gd name="T10" fmla="*/ 38 w 40"/>
                <a:gd name="T11" fmla="*/ 0 h 33"/>
                <a:gd name="T12" fmla="*/ 0 w 40"/>
                <a:gd name="T13" fmla="*/ 7 h 33"/>
                <a:gd name="T14" fmla="*/ 29 w 40"/>
                <a:gd name="T15" fmla="*/ 33 h 33"/>
                <a:gd name="T16" fmla="*/ 40 w 40"/>
                <a:gd name="T17" fmla="*/ 19 h 33"/>
                <a:gd name="T18" fmla="*/ 4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40" y="19"/>
                  </a:moveTo>
                  <a:lnTo>
                    <a:pt x="29" y="7"/>
                  </a:lnTo>
                  <a:lnTo>
                    <a:pt x="21" y="11"/>
                  </a:lnTo>
                  <a:lnTo>
                    <a:pt x="24" y="21"/>
                  </a:lnTo>
                  <a:lnTo>
                    <a:pt x="40" y="19"/>
                  </a:lnTo>
                  <a:lnTo>
                    <a:pt x="38" y="0"/>
                  </a:lnTo>
                  <a:lnTo>
                    <a:pt x="0" y="7"/>
                  </a:lnTo>
                  <a:lnTo>
                    <a:pt x="29" y="33"/>
                  </a:lnTo>
                  <a:lnTo>
                    <a:pt x="40" y="19"/>
                  </a:lnTo>
                  <a:lnTo>
                    <a:pt x="4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 name="Freeform 73"/>
            <p:cNvSpPr>
              <a:spLocks/>
            </p:cNvSpPr>
            <p:nvPr/>
          </p:nvSpPr>
          <p:spPr bwMode="auto">
            <a:xfrm>
              <a:off x="2624138" y="3460751"/>
              <a:ext cx="3175" cy="30163"/>
            </a:xfrm>
            <a:custGeom>
              <a:avLst/>
              <a:gdLst>
                <a:gd name="T0" fmla="*/ 2 w 2"/>
                <a:gd name="T1" fmla="*/ 19 h 19"/>
                <a:gd name="T2" fmla="*/ 2 w 2"/>
                <a:gd name="T3" fmla="*/ 19 h 19"/>
                <a:gd name="T4" fmla="*/ 0 w 2"/>
                <a:gd name="T5" fmla="*/ 0 h 19"/>
                <a:gd name="T6" fmla="*/ 0 w 2"/>
                <a:gd name="T7" fmla="*/ 0 h 19"/>
                <a:gd name="T8" fmla="*/ 2 w 2"/>
                <a:gd name="T9" fmla="*/ 19 h 19"/>
              </a:gdLst>
              <a:ahLst/>
              <a:cxnLst>
                <a:cxn ang="0">
                  <a:pos x="T0" y="T1"/>
                </a:cxn>
                <a:cxn ang="0">
                  <a:pos x="T2" y="T3"/>
                </a:cxn>
                <a:cxn ang="0">
                  <a:pos x="T4" y="T5"/>
                </a:cxn>
                <a:cxn ang="0">
                  <a:pos x="T6" y="T7"/>
                </a:cxn>
                <a:cxn ang="0">
                  <a:pos x="T8" y="T9"/>
                </a:cxn>
              </a:cxnLst>
              <a:rect l="0" t="0" r="r" b="b"/>
              <a:pathLst>
                <a:path w="2" h="19">
                  <a:moveTo>
                    <a:pt x="2" y="19"/>
                  </a:moveTo>
                  <a:lnTo>
                    <a:pt x="2" y="19"/>
                  </a:lnTo>
                  <a:lnTo>
                    <a:pt x="0" y="0"/>
                  </a:lnTo>
                  <a:lnTo>
                    <a:pt x="0" y="0"/>
                  </a:lnTo>
                  <a:lnTo>
                    <a:pt x="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 name="Freeform 74"/>
            <p:cNvSpPr>
              <a:spLocks noEditPoints="1"/>
            </p:cNvSpPr>
            <p:nvPr/>
          </p:nvSpPr>
          <p:spPr bwMode="auto">
            <a:xfrm>
              <a:off x="2624138" y="3449638"/>
              <a:ext cx="93663" cy="41275"/>
            </a:xfrm>
            <a:custGeom>
              <a:avLst/>
              <a:gdLst>
                <a:gd name="T0" fmla="*/ 59 w 59"/>
                <a:gd name="T1" fmla="*/ 19 h 26"/>
                <a:gd name="T2" fmla="*/ 59 w 59"/>
                <a:gd name="T3" fmla="*/ 19 h 26"/>
                <a:gd name="T4" fmla="*/ 57 w 59"/>
                <a:gd name="T5" fmla="*/ 0 h 26"/>
                <a:gd name="T6" fmla="*/ 57 w 59"/>
                <a:gd name="T7" fmla="*/ 0 h 26"/>
                <a:gd name="T8" fmla="*/ 59 w 59"/>
                <a:gd name="T9" fmla="*/ 19 h 26"/>
                <a:gd name="T10" fmla="*/ 59 w 59"/>
                <a:gd name="T11" fmla="*/ 19 h 26"/>
                <a:gd name="T12" fmla="*/ 59 w 59"/>
                <a:gd name="T13" fmla="*/ 19 h 26"/>
                <a:gd name="T14" fmla="*/ 57 w 59"/>
                <a:gd name="T15" fmla="*/ 0 h 26"/>
                <a:gd name="T16" fmla="*/ 57 w 59"/>
                <a:gd name="T17" fmla="*/ 0 h 26"/>
                <a:gd name="T18" fmla="*/ 59 w 59"/>
                <a:gd name="T19" fmla="*/ 19 h 26"/>
                <a:gd name="T20" fmla="*/ 2 w 59"/>
                <a:gd name="T21" fmla="*/ 26 h 26"/>
                <a:gd name="T22" fmla="*/ 40 w 59"/>
                <a:gd name="T23" fmla="*/ 21 h 26"/>
                <a:gd name="T24" fmla="*/ 38 w 59"/>
                <a:gd name="T25" fmla="*/ 2 h 26"/>
                <a:gd name="T26" fmla="*/ 0 w 59"/>
                <a:gd name="T27" fmla="*/ 7 h 26"/>
                <a:gd name="T28" fmla="*/ 2 w 59"/>
                <a:gd name="T2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6">
                  <a:moveTo>
                    <a:pt x="59" y="19"/>
                  </a:moveTo>
                  <a:lnTo>
                    <a:pt x="59" y="19"/>
                  </a:lnTo>
                  <a:lnTo>
                    <a:pt x="57" y="0"/>
                  </a:lnTo>
                  <a:lnTo>
                    <a:pt x="57" y="0"/>
                  </a:lnTo>
                  <a:lnTo>
                    <a:pt x="59" y="19"/>
                  </a:lnTo>
                  <a:close/>
                  <a:moveTo>
                    <a:pt x="59" y="19"/>
                  </a:moveTo>
                  <a:lnTo>
                    <a:pt x="59" y="19"/>
                  </a:lnTo>
                  <a:lnTo>
                    <a:pt x="57" y="0"/>
                  </a:lnTo>
                  <a:lnTo>
                    <a:pt x="57" y="0"/>
                  </a:lnTo>
                  <a:lnTo>
                    <a:pt x="59" y="19"/>
                  </a:lnTo>
                  <a:close/>
                  <a:moveTo>
                    <a:pt x="2" y="26"/>
                  </a:moveTo>
                  <a:lnTo>
                    <a:pt x="40" y="21"/>
                  </a:lnTo>
                  <a:lnTo>
                    <a:pt x="38" y="2"/>
                  </a:lnTo>
                  <a:lnTo>
                    <a:pt x="0" y="7"/>
                  </a:lnTo>
                  <a:lnTo>
                    <a:pt x="2"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 name="Freeform 75"/>
            <p:cNvSpPr>
              <a:spLocks/>
            </p:cNvSpPr>
            <p:nvPr/>
          </p:nvSpPr>
          <p:spPr bwMode="auto">
            <a:xfrm>
              <a:off x="2714625" y="3427413"/>
              <a:ext cx="55563" cy="52388"/>
            </a:xfrm>
            <a:custGeom>
              <a:avLst/>
              <a:gdLst>
                <a:gd name="T0" fmla="*/ 2 w 35"/>
                <a:gd name="T1" fmla="*/ 33 h 33"/>
                <a:gd name="T2" fmla="*/ 26 w 35"/>
                <a:gd name="T3" fmla="*/ 28 h 33"/>
                <a:gd name="T4" fmla="*/ 35 w 35"/>
                <a:gd name="T5" fmla="*/ 7 h 33"/>
                <a:gd name="T6" fmla="*/ 19 w 35"/>
                <a:gd name="T7" fmla="*/ 0 h 33"/>
                <a:gd name="T8" fmla="*/ 12 w 35"/>
                <a:gd name="T9" fmla="*/ 12 h 33"/>
                <a:gd name="T10" fmla="*/ 0 w 35"/>
                <a:gd name="T11" fmla="*/ 14 h 33"/>
                <a:gd name="T12" fmla="*/ 2 w 35"/>
                <a:gd name="T13" fmla="*/ 33 h 33"/>
                <a:gd name="T14" fmla="*/ 2 w 3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3">
                  <a:moveTo>
                    <a:pt x="2" y="33"/>
                  </a:moveTo>
                  <a:lnTo>
                    <a:pt x="26" y="28"/>
                  </a:lnTo>
                  <a:lnTo>
                    <a:pt x="35" y="7"/>
                  </a:lnTo>
                  <a:lnTo>
                    <a:pt x="19" y="0"/>
                  </a:lnTo>
                  <a:lnTo>
                    <a:pt x="12" y="12"/>
                  </a:lnTo>
                  <a:lnTo>
                    <a:pt x="0" y="14"/>
                  </a:lnTo>
                  <a:lnTo>
                    <a:pt x="2" y="33"/>
                  </a:lnTo>
                  <a:lnTo>
                    <a:pt x="2"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 name="Freeform 76"/>
            <p:cNvSpPr>
              <a:spLocks/>
            </p:cNvSpPr>
            <p:nvPr/>
          </p:nvSpPr>
          <p:spPr bwMode="auto">
            <a:xfrm>
              <a:off x="2755900" y="3400426"/>
              <a:ext cx="30163" cy="11113"/>
            </a:xfrm>
            <a:custGeom>
              <a:avLst/>
              <a:gdLst>
                <a:gd name="T0" fmla="*/ 19 w 19"/>
                <a:gd name="T1" fmla="*/ 7 h 7"/>
                <a:gd name="T2" fmla="*/ 19 w 19"/>
                <a:gd name="T3" fmla="*/ 7 h 7"/>
                <a:gd name="T4" fmla="*/ 0 w 19"/>
                <a:gd name="T5" fmla="*/ 0 h 7"/>
                <a:gd name="T6" fmla="*/ 0 w 19"/>
                <a:gd name="T7" fmla="*/ 0 h 7"/>
                <a:gd name="T8" fmla="*/ 19 w 19"/>
                <a:gd name="T9" fmla="*/ 7 h 7"/>
              </a:gdLst>
              <a:ahLst/>
              <a:cxnLst>
                <a:cxn ang="0">
                  <a:pos x="T0" y="T1"/>
                </a:cxn>
                <a:cxn ang="0">
                  <a:pos x="T2" y="T3"/>
                </a:cxn>
                <a:cxn ang="0">
                  <a:pos x="T4" y="T5"/>
                </a:cxn>
                <a:cxn ang="0">
                  <a:pos x="T6" y="T7"/>
                </a:cxn>
                <a:cxn ang="0">
                  <a:pos x="T8" y="T9"/>
                </a:cxn>
              </a:cxnLst>
              <a:rect l="0" t="0" r="r" b="b"/>
              <a:pathLst>
                <a:path w="19" h="7">
                  <a:moveTo>
                    <a:pt x="19" y="7"/>
                  </a:moveTo>
                  <a:lnTo>
                    <a:pt x="19" y="7"/>
                  </a:lnTo>
                  <a:lnTo>
                    <a:pt x="0" y="0"/>
                  </a:lnTo>
                  <a:lnTo>
                    <a:pt x="0" y="0"/>
                  </a:lnTo>
                  <a:lnTo>
                    <a:pt x="19"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7" name="Freeform 77"/>
            <p:cNvSpPr>
              <a:spLocks noEditPoints="1"/>
            </p:cNvSpPr>
            <p:nvPr/>
          </p:nvSpPr>
          <p:spPr bwMode="auto">
            <a:xfrm>
              <a:off x="2755900" y="3317876"/>
              <a:ext cx="66675" cy="93663"/>
            </a:xfrm>
            <a:custGeom>
              <a:avLst/>
              <a:gdLst>
                <a:gd name="T0" fmla="*/ 42 w 42"/>
                <a:gd name="T1" fmla="*/ 9 h 59"/>
                <a:gd name="T2" fmla="*/ 42 w 42"/>
                <a:gd name="T3" fmla="*/ 9 h 59"/>
                <a:gd name="T4" fmla="*/ 26 w 42"/>
                <a:gd name="T5" fmla="*/ 0 h 59"/>
                <a:gd name="T6" fmla="*/ 26 w 42"/>
                <a:gd name="T7" fmla="*/ 0 h 59"/>
                <a:gd name="T8" fmla="*/ 42 w 42"/>
                <a:gd name="T9" fmla="*/ 9 h 59"/>
                <a:gd name="T10" fmla="*/ 42 w 42"/>
                <a:gd name="T11" fmla="*/ 9 h 59"/>
                <a:gd name="T12" fmla="*/ 42 w 42"/>
                <a:gd name="T13" fmla="*/ 9 h 59"/>
                <a:gd name="T14" fmla="*/ 26 w 42"/>
                <a:gd name="T15" fmla="*/ 0 h 59"/>
                <a:gd name="T16" fmla="*/ 26 w 42"/>
                <a:gd name="T17" fmla="*/ 0 h 59"/>
                <a:gd name="T18" fmla="*/ 42 w 42"/>
                <a:gd name="T19" fmla="*/ 9 h 59"/>
                <a:gd name="T20" fmla="*/ 19 w 42"/>
                <a:gd name="T21" fmla="*/ 59 h 59"/>
                <a:gd name="T22" fmla="*/ 35 w 42"/>
                <a:gd name="T23" fmla="*/ 26 h 59"/>
                <a:gd name="T24" fmla="*/ 16 w 42"/>
                <a:gd name="T25" fmla="*/ 17 h 59"/>
                <a:gd name="T26" fmla="*/ 0 w 42"/>
                <a:gd name="T27" fmla="*/ 52 h 59"/>
                <a:gd name="T28" fmla="*/ 19 w 4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59">
                  <a:moveTo>
                    <a:pt x="42" y="9"/>
                  </a:moveTo>
                  <a:lnTo>
                    <a:pt x="42" y="9"/>
                  </a:lnTo>
                  <a:lnTo>
                    <a:pt x="26" y="0"/>
                  </a:lnTo>
                  <a:lnTo>
                    <a:pt x="26" y="0"/>
                  </a:lnTo>
                  <a:lnTo>
                    <a:pt x="42" y="9"/>
                  </a:lnTo>
                  <a:close/>
                  <a:moveTo>
                    <a:pt x="42" y="9"/>
                  </a:moveTo>
                  <a:lnTo>
                    <a:pt x="42" y="9"/>
                  </a:lnTo>
                  <a:lnTo>
                    <a:pt x="26" y="0"/>
                  </a:lnTo>
                  <a:lnTo>
                    <a:pt x="26" y="0"/>
                  </a:lnTo>
                  <a:lnTo>
                    <a:pt x="42" y="9"/>
                  </a:lnTo>
                  <a:close/>
                  <a:moveTo>
                    <a:pt x="19" y="59"/>
                  </a:moveTo>
                  <a:lnTo>
                    <a:pt x="35" y="26"/>
                  </a:lnTo>
                  <a:lnTo>
                    <a:pt x="16" y="17"/>
                  </a:lnTo>
                  <a:lnTo>
                    <a:pt x="0" y="52"/>
                  </a:lnTo>
                  <a:lnTo>
                    <a:pt x="19"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8" name="Freeform 78"/>
            <p:cNvSpPr>
              <a:spLocks/>
            </p:cNvSpPr>
            <p:nvPr/>
          </p:nvSpPr>
          <p:spPr bwMode="auto">
            <a:xfrm>
              <a:off x="2797175" y="3265488"/>
              <a:ext cx="52388" cy="66675"/>
            </a:xfrm>
            <a:custGeom>
              <a:avLst/>
              <a:gdLst>
                <a:gd name="T0" fmla="*/ 16 w 33"/>
                <a:gd name="T1" fmla="*/ 42 h 42"/>
                <a:gd name="T2" fmla="*/ 26 w 33"/>
                <a:gd name="T3" fmla="*/ 26 h 42"/>
                <a:gd name="T4" fmla="*/ 16 w 33"/>
                <a:gd name="T5" fmla="*/ 21 h 42"/>
                <a:gd name="T6" fmla="*/ 7 w 33"/>
                <a:gd name="T7" fmla="*/ 26 h 42"/>
                <a:gd name="T8" fmla="*/ 16 w 33"/>
                <a:gd name="T9" fmla="*/ 42 h 42"/>
                <a:gd name="T10" fmla="*/ 33 w 33"/>
                <a:gd name="T11" fmla="*/ 33 h 42"/>
                <a:gd name="T12" fmla="*/ 16 w 33"/>
                <a:gd name="T13" fmla="*/ 0 h 42"/>
                <a:gd name="T14" fmla="*/ 0 w 33"/>
                <a:gd name="T15" fmla="*/ 33 h 42"/>
                <a:gd name="T16" fmla="*/ 16 w 33"/>
                <a:gd name="T17" fmla="*/ 42 h 42"/>
                <a:gd name="T18" fmla="*/ 16 w 33"/>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42">
                  <a:moveTo>
                    <a:pt x="16" y="42"/>
                  </a:moveTo>
                  <a:lnTo>
                    <a:pt x="26" y="26"/>
                  </a:lnTo>
                  <a:lnTo>
                    <a:pt x="16" y="21"/>
                  </a:lnTo>
                  <a:lnTo>
                    <a:pt x="7" y="26"/>
                  </a:lnTo>
                  <a:lnTo>
                    <a:pt x="16" y="42"/>
                  </a:lnTo>
                  <a:lnTo>
                    <a:pt x="33" y="33"/>
                  </a:lnTo>
                  <a:lnTo>
                    <a:pt x="16" y="0"/>
                  </a:lnTo>
                  <a:lnTo>
                    <a:pt x="0" y="33"/>
                  </a:lnTo>
                  <a:lnTo>
                    <a:pt x="16" y="42"/>
                  </a:lnTo>
                  <a:lnTo>
                    <a:pt x="16"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9" name="Freeform 79"/>
            <p:cNvSpPr>
              <a:spLocks/>
            </p:cNvSpPr>
            <p:nvPr/>
          </p:nvSpPr>
          <p:spPr bwMode="auto">
            <a:xfrm>
              <a:off x="2833688" y="3344863"/>
              <a:ext cx="30163" cy="14288"/>
            </a:xfrm>
            <a:custGeom>
              <a:avLst/>
              <a:gdLst>
                <a:gd name="T0" fmla="*/ 0 w 19"/>
                <a:gd name="T1" fmla="*/ 9 h 9"/>
                <a:gd name="T2" fmla="*/ 0 w 19"/>
                <a:gd name="T3" fmla="*/ 9 h 9"/>
                <a:gd name="T4" fmla="*/ 19 w 19"/>
                <a:gd name="T5" fmla="*/ 0 h 9"/>
                <a:gd name="T6" fmla="*/ 19 w 19"/>
                <a:gd name="T7" fmla="*/ 0 h 9"/>
                <a:gd name="T8" fmla="*/ 0 w 19"/>
                <a:gd name="T9" fmla="*/ 9 h 9"/>
              </a:gdLst>
              <a:ahLst/>
              <a:cxnLst>
                <a:cxn ang="0">
                  <a:pos x="T0" y="T1"/>
                </a:cxn>
                <a:cxn ang="0">
                  <a:pos x="T2" y="T3"/>
                </a:cxn>
                <a:cxn ang="0">
                  <a:pos x="T4" y="T5"/>
                </a:cxn>
                <a:cxn ang="0">
                  <a:pos x="T6" y="T7"/>
                </a:cxn>
                <a:cxn ang="0">
                  <a:pos x="T8" y="T9"/>
                </a:cxn>
              </a:cxnLst>
              <a:rect l="0" t="0" r="r" b="b"/>
              <a:pathLst>
                <a:path w="19" h="9">
                  <a:moveTo>
                    <a:pt x="0" y="9"/>
                  </a:moveTo>
                  <a:lnTo>
                    <a:pt x="0" y="9"/>
                  </a:lnTo>
                  <a:lnTo>
                    <a:pt x="19" y="0"/>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 name="Freeform 80"/>
            <p:cNvSpPr>
              <a:spLocks noEditPoints="1"/>
            </p:cNvSpPr>
            <p:nvPr/>
          </p:nvSpPr>
          <p:spPr bwMode="auto">
            <a:xfrm>
              <a:off x="2833688" y="3344863"/>
              <a:ext cx="68263" cy="93663"/>
            </a:xfrm>
            <a:custGeom>
              <a:avLst/>
              <a:gdLst>
                <a:gd name="T0" fmla="*/ 26 w 43"/>
                <a:gd name="T1" fmla="*/ 59 h 59"/>
                <a:gd name="T2" fmla="*/ 26 w 43"/>
                <a:gd name="T3" fmla="*/ 59 h 59"/>
                <a:gd name="T4" fmla="*/ 43 w 43"/>
                <a:gd name="T5" fmla="*/ 52 h 59"/>
                <a:gd name="T6" fmla="*/ 43 w 43"/>
                <a:gd name="T7" fmla="*/ 52 h 59"/>
                <a:gd name="T8" fmla="*/ 26 w 43"/>
                <a:gd name="T9" fmla="*/ 59 h 59"/>
                <a:gd name="T10" fmla="*/ 26 w 43"/>
                <a:gd name="T11" fmla="*/ 59 h 59"/>
                <a:gd name="T12" fmla="*/ 26 w 43"/>
                <a:gd name="T13" fmla="*/ 59 h 59"/>
                <a:gd name="T14" fmla="*/ 43 w 43"/>
                <a:gd name="T15" fmla="*/ 52 h 59"/>
                <a:gd name="T16" fmla="*/ 43 w 43"/>
                <a:gd name="T17" fmla="*/ 52 h 59"/>
                <a:gd name="T18" fmla="*/ 26 w 43"/>
                <a:gd name="T19" fmla="*/ 59 h 59"/>
                <a:gd name="T20" fmla="*/ 0 w 43"/>
                <a:gd name="T21" fmla="*/ 9 h 59"/>
                <a:gd name="T22" fmla="*/ 17 w 43"/>
                <a:gd name="T23" fmla="*/ 42 h 59"/>
                <a:gd name="T24" fmla="*/ 36 w 43"/>
                <a:gd name="T25" fmla="*/ 35 h 59"/>
                <a:gd name="T26" fmla="*/ 19 w 43"/>
                <a:gd name="T27" fmla="*/ 0 h 59"/>
                <a:gd name="T28" fmla="*/ 0 w 43"/>
                <a:gd name="T29" fmla="*/ 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59">
                  <a:moveTo>
                    <a:pt x="26" y="59"/>
                  </a:moveTo>
                  <a:lnTo>
                    <a:pt x="26" y="59"/>
                  </a:lnTo>
                  <a:lnTo>
                    <a:pt x="43" y="52"/>
                  </a:lnTo>
                  <a:lnTo>
                    <a:pt x="43" y="52"/>
                  </a:lnTo>
                  <a:lnTo>
                    <a:pt x="26" y="59"/>
                  </a:lnTo>
                  <a:close/>
                  <a:moveTo>
                    <a:pt x="26" y="59"/>
                  </a:moveTo>
                  <a:lnTo>
                    <a:pt x="26" y="59"/>
                  </a:lnTo>
                  <a:lnTo>
                    <a:pt x="43" y="52"/>
                  </a:lnTo>
                  <a:lnTo>
                    <a:pt x="43" y="52"/>
                  </a:lnTo>
                  <a:lnTo>
                    <a:pt x="26" y="59"/>
                  </a:lnTo>
                  <a:close/>
                  <a:moveTo>
                    <a:pt x="0" y="9"/>
                  </a:moveTo>
                  <a:lnTo>
                    <a:pt x="17" y="42"/>
                  </a:lnTo>
                  <a:lnTo>
                    <a:pt x="36" y="35"/>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1" name="Freeform 81"/>
            <p:cNvSpPr>
              <a:spLocks/>
            </p:cNvSpPr>
            <p:nvPr/>
          </p:nvSpPr>
          <p:spPr bwMode="auto">
            <a:xfrm>
              <a:off x="2874963" y="3427413"/>
              <a:ext cx="57150" cy="52388"/>
            </a:xfrm>
            <a:custGeom>
              <a:avLst/>
              <a:gdLst>
                <a:gd name="T0" fmla="*/ 0 w 36"/>
                <a:gd name="T1" fmla="*/ 7 h 33"/>
                <a:gd name="T2" fmla="*/ 10 w 36"/>
                <a:gd name="T3" fmla="*/ 28 h 33"/>
                <a:gd name="T4" fmla="*/ 34 w 36"/>
                <a:gd name="T5" fmla="*/ 33 h 33"/>
                <a:gd name="T6" fmla="*/ 36 w 36"/>
                <a:gd name="T7" fmla="*/ 14 h 33"/>
                <a:gd name="T8" fmla="*/ 24 w 36"/>
                <a:gd name="T9" fmla="*/ 12 h 33"/>
                <a:gd name="T10" fmla="*/ 17 w 36"/>
                <a:gd name="T11" fmla="*/ 0 h 33"/>
                <a:gd name="T12" fmla="*/ 0 w 36"/>
                <a:gd name="T13" fmla="*/ 7 h 33"/>
                <a:gd name="T14" fmla="*/ 0 w 36"/>
                <a:gd name="T15" fmla="*/ 7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3">
                  <a:moveTo>
                    <a:pt x="0" y="7"/>
                  </a:moveTo>
                  <a:lnTo>
                    <a:pt x="10" y="28"/>
                  </a:lnTo>
                  <a:lnTo>
                    <a:pt x="34" y="33"/>
                  </a:lnTo>
                  <a:lnTo>
                    <a:pt x="36" y="14"/>
                  </a:lnTo>
                  <a:lnTo>
                    <a:pt x="24" y="12"/>
                  </a:lnTo>
                  <a:lnTo>
                    <a:pt x="17" y="0"/>
                  </a:lnTo>
                  <a:lnTo>
                    <a:pt x="0" y="7"/>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 name="Freeform 82"/>
            <p:cNvSpPr>
              <a:spLocks/>
            </p:cNvSpPr>
            <p:nvPr/>
          </p:nvSpPr>
          <p:spPr bwMode="auto">
            <a:xfrm>
              <a:off x="2957513" y="3452813"/>
              <a:ext cx="4763" cy="30163"/>
            </a:xfrm>
            <a:custGeom>
              <a:avLst/>
              <a:gdLst>
                <a:gd name="T0" fmla="*/ 0 w 3"/>
                <a:gd name="T1" fmla="*/ 19 h 19"/>
                <a:gd name="T2" fmla="*/ 0 w 3"/>
                <a:gd name="T3" fmla="*/ 19 h 19"/>
                <a:gd name="T4" fmla="*/ 3 w 3"/>
                <a:gd name="T5" fmla="*/ 0 h 19"/>
                <a:gd name="T6" fmla="*/ 3 w 3"/>
                <a:gd name="T7" fmla="*/ 0 h 19"/>
                <a:gd name="T8" fmla="*/ 0 w 3"/>
                <a:gd name="T9" fmla="*/ 19 h 19"/>
              </a:gdLst>
              <a:ahLst/>
              <a:cxnLst>
                <a:cxn ang="0">
                  <a:pos x="T0" y="T1"/>
                </a:cxn>
                <a:cxn ang="0">
                  <a:pos x="T2" y="T3"/>
                </a:cxn>
                <a:cxn ang="0">
                  <a:pos x="T4" y="T5"/>
                </a:cxn>
                <a:cxn ang="0">
                  <a:pos x="T6" y="T7"/>
                </a:cxn>
                <a:cxn ang="0">
                  <a:pos x="T8" y="T9"/>
                </a:cxn>
              </a:cxnLst>
              <a:rect l="0" t="0" r="r" b="b"/>
              <a:pathLst>
                <a:path w="3" h="19">
                  <a:moveTo>
                    <a:pt x="0" y="19"/>
                  </a:moveTo>
                  <a:lnTo>
                    <a:pt x="0" y="19"/>
                  </a:lnTo>
                  <a:lnTo>
                    <a:pt x="3" y="0"/>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 name="Freeform 83"/>
            <p:cNvSpPr>
              <a:spLocks noEditPoints="1"/>
            </p:cNvSpPr>
            <p:nvPr/>
          </p:nvSpPr>
          <p:spPr bwMode="auto">
            <a:xfrm>
              <a:off x="2957513" y="3452813"/>
              <a:ext cx="95250" cy="42863"/>
            </a:xfrm>
            <a:custGeom>
              <a:avLst/>
              <a:gdLst>
                <a:gd name="T0" fmla="*/ 57 w 60"/>
                <a:gd name="T1" fmla="*/ 27 h 27"/>
                <a:gd name="T2" fmla="*/ 57 w 60"/>
                <a:gd name="T3" fmla="*/ 27 h 27"/>
                <a:gd name="T4" fmla="*/ 60 w 60"/>
                <a:gd name="T5" fmla="*/ 8 h 27"/>
                <a:gd name="T6" fmla="*/ 60 w 60"/>
                <a:gd name="T7" fmla="*/ 8 h 27"/>
                <a:gd name="T8" fmla="*/ 57 w 60"/>
                <a:gd name="T9" fmla="*/ 27 h 27"/>
                <a:gd name="T10" fmla="*/ 57 w 60"/>
                <a:gd name="T11" fmla="*/ 27 h 27"/>
                <a:gd name="T12" fmla="*/ 57 w 60"/>
                <a:gd name="T13" fmla="*/ 27 h 27"/>
                <a:gd name="T14" fmla="*/ 60 w 60"/>
                <a:gd name="T15" fmla="*/ 8 h 27"/>
                <a:gd name="T16" fmla="*/ 60 w 60"/>
                <a:gd name="T17" fmla="*/ 8 h 27"/>
                <a:gd name="T18" fmla="*/ 57 w 60"/>
                <a:gd name="T19" fmla="*/ 27 h 27"/>
                <a:gd name="T20" fmla="*/ 0 w 60"/>
                <a:gd name="T21" fmla="*/ 19 h 27"/>
                <a:gd name="T22" fmla="*/ 38 w 60"/>
                <a:gd name="T23" fmla="*/ 24 h 27"/>
                <a:gd name="T24" fmla="*/ 41 w 60"/>
                <a:gd name="T25" fmla="*/ 5 h 27"/>
                <a:gd name="T26" fmla="*/ 3 w 60"/>
                <a:gd name="T27" fmla="*/ 0 h 27"/>
                <a:gd name="T28" fmla="*/ 0 w 60"/>
                <a:gd name="T29"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27">
                  <a:moveTo>
                    <a:pt x="57" y="27"/>
                  </a:moveTo>
                  <a:lnTo>
                    <a:pt x="57" y="27"/>
                  </a:lnTo>
                  <a:lnTo>
                    <a:pt x="60" y="8"/>
                  </a:lnTo>
                  <a:lnTo>
                    <a:pt x="60" y="8"/>
                  </a:lnTo>
                  <a:lnTo>
                    <a:pt x="57" y="27"/>
                  </a:lnTo>
                  <a:close/>
                  <a:moveTo>
                    <a:pt x="57" y="27"/>
                  </a:moveTo>
                  <a:lnTo>
                    <a:pt x="57" y="27"/>
                  </a:lnTo>
                  <a:lnTo>
                    <a:pt x="60" y="8"/>
                  </a:lnTo>
                  <a:lnTo>
                    <a:pt x="60" y="8"/>
                  </a:lnTo>
                  <a:lnTo>
                    <a:pt x="57" y="27"/>
                  </a:lnTo>
                  <a:close/>
                  <a:moveTo>
                    <a:pt x="0" y="19"/>
                  </a:moveTo>
                  <a:lnTo>
                    <a:pt x="38" y="24"/>
                  </a:lnTo>
                  <a:lnTo>
                    <a:pt x="41" y="5"/>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Freeform 84"/>
            <p:cNvSpPr>
              <a:spLocks/>
            </p:cNvSpPr>
            <p:nvPr/>
          </p:nvSpPr>
          <p:spPr bwMode="auto">
            <a:xfrm>
              <a:off x="3048000" y="3465513"/>
              <a:ext cx="63500" cy="52388"/>
            </a:xfrm>
            <a:custGeom>
              <a:avLst/>
              <a:gdLst>
                <a:gd name="T0" fmla="*/ 0 w 40"/>
                <a:gd name="T1" fmla="*/ 19 h 33"/>
                <a:gd name="T2" fmla="*/ 17 w 40"/>
                <a:gd name="T3" fmla="*/ 21 h 33"/>
                <a:gd name="T4" fmla="*/ 19 w 40"/>
                <a:gd name="T5" fmla="*/ 11 h 33"/>
                <a:gd name="T6" fmla="*/ 12 w 40"/>
                <a:gd name="T7" fmla="*/ 7 h 33"/>
                <a:gd name="T8" fmla="*/ 0 w 40"/>
                <a:gd name="T9" fmla="*/ 19 h 33"/>
                <a:gd name="T10" fmla="*/ 12 w 40"/>
                <a:gd name="T11" fmla="*/ 33 h 33"/>
                <a:gd name="T12" fmla="*/ 40 w 40"/>
                <a:gd name="T13" fmla="*/ 7 h 33"/>
                <a:gd name="T14" fmla="*/ 3 w 40"/>
                <a:gd name="T15" fmla="*/ 0 h 33"/>
                <a:gd name="T16" fmla="*/ 0 w 40"/>
                <a:gd name="T17" fmla="*/ 19 h 33"/>
                <a:gd name="T18" fmla="*/ 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0" y="19"/>
                  </a:moveTo>
                  <a:lnTo>
                    <a:pt x="17" y="21"/>
                  </a:lnTo>
                  <a:lnTo>
                    <a:pt x="19" y="11"/>
                  </a:lnTo>
                  <a:lnTo>
                    <a:pt x="12" y="7"/>
                  </a:lnTo>
                  <a:lnTo>
                    <a:pt x="0" y="19"/>
                  </a:lnTo>
                  <a:lnTo>
                    <a:pt x="12" y="33"/>
                  </a:lnTo>
                  <a:lnTo>
                    <a:pt x="40" y="7"/>
                  </a:lnTo>
                  <a:lnTo>
                    <a:pt x="3" y="0"/>
                  </a:lnTo>
                  <a:lnTo>
                    <a:pt x="0" y="19"/>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5" name="Freeform 85"/>
            <p:cNvSpPr>
              <a:spLocks/>
            </p:cNvSpPr>
            <p:nvPr/>
          </p:nvSpPr>
          <p:spPr bwMode="auto">
            <a:xfrm>
              <a:off x="3025775" y="3517901"/>
              <a:ext cx="22225" cy="19050"/>
            </a:xfrm>
            <a:custGeom>
              <a:avLst/>
              <a:gdLst>
                <a:gd name="T0" fmla="*/ 0 w 14"/>
                <a:gd name="T1" fmla="*/ 0 h 12"/>
                <a:gd name="T2" fmla="*/ 0 w 14"/>
                <a:gd name="T3" fmla="*/ 0 h 12"/>
                <a:gd name="T4" fmla="*/ 12 w 14"/>
                <a:gd name="T5" fmla="*/ 12 h 12"/>
                <a:gd name="T6" fmla="*/ 14 w 14"/>
                <a:gd name="T7" fmla="*/ 12 h 12"/>
                <a:gd name="T8" fmla="*/ 0 w 14"/>
                <a:gd name="T9" fmla="*/ 0 h 12"/>
              </a:gdLst>
              <a:ahLst/>
              <a:cxnLst>
                <a:cxn ang="0">
                  <a:pos x="T0" y="T1"/>
                </a:cxn>
                <a:cxn ang="0">
                  <a:pos x="T2" y="T3"/>
                </a:cxn>
                <a:cxn ang="0">
                  <a:pos x="T4" y="T5"/>
                </a:cxn>
                <a:cxn ang="0">
                  <a:pos x="T6" y="T7"/>
                </a:cxn>
                <a:cxn ang="0">
                  <a:pos x="T8" y="T9"/>
                </a:cxn>
              </a:cxnLst>
              <a:rect l="0" t="0" r="r" b="b"/>
              <a:pathLst>
                <a:path w="14" h="12">
                  <a:moveTo>
                    <a:pt x="0" y="0"/>
                  </a:moveTo>
                  <a:lnTo>
                    <a:pt x="0" y="0"/>
                  </a:lnTo>
                  <a:lnTo>
                    <a:pt x="12" y="12"/>
                  </a:lnTo>
                  <a:lnTo>
                    <a:pt x="14" y="1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6" name="Freeform 86"/>
            <p:cNvSpPr>
              <a:spLocks noEditPoints="1"/>
            </p:cNvSpPr>
            <p:nvPr/>
          </p:nvSpPr>
          <p:spPr bwMode="auto">
            <a:xfrm>
              <a:off x="2962275" y="3517901"/>
              <a:ext cx="82550" cy="82550"/>
            </a:xfrm>
            <a:custGeom>
              <a:avLst/>
              <a:gdLst>
                <a:gd name="T0" fmla="*/ 0 w 52"/>
                <a:gd name="T1" fmla="*/ 38 h 52"/>
                <a:gd name="T2" fmla="*/ 0 w 52"/>
                <a:gd name="T3" fmla="*/ 38 h 52"/>
                <a:gd name="T4" fmla="*/ 12 w 52"/>
                <a:gd name="T5" fmla="*/ 52 h 52"/>
                <a:gd name="T6" fmla="*/ 12 w 52"/>
                <a:gd name="T7" fmla="*/ 52 h 52"/>
                <a:gd name="T8" fmla="*/ 0 w 52"/>
                <a:gd name="T9" fmla="*/ 38 h 52"/>
                <a:gd name="T10" fmla="*/ 40 w 52"/>
                <a:gd name="T11" fmla="*/ 0 h 52"/>
                <a:gd name="T12" fmla="*/ 14 w 52"/>
                <a:gd name="T13" fmla="*/ 26 h 52"/>
                <a:gd name="T14" fmla="*/ 26 w 52"/>
                <a:gd name="T15" fmla="*/ 38 h 52"/>
                <a:gd name="T16" fmla="*/ 52 w 52"/>
                <a:gd name="T17" fmla="*/ 12 h 52"/>
                <a:gd name="T18" fmla="*/ 40 w 52"/>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0" y="38"/>
                  </a:moveTo>
                  <a:lnTo>
                    <a:pt x="0" y="38"/>
                  </a:lnTo>
                  <a:lnTo>
                    <a:pt x="12" y="52"/>
                  </a:lnTo>
                  <a:lnTo>
                    <a:pt x="12" y="52"/>
                  </a:lnTo>
                  <a:lnTo>
                    <a:pt x="0" y="38"/>
                  </a:lnTo>
                  <a:close/>
                  <a:moveTo>
                    <a:pt x="40" y="0"/>
                  </a:moveTo>
                  <a:lnTo>
                    <a:pt x="14" y="26"/>
                  </a:lnTo>
                  <a:lnTo>
                    <a:pt x="26" y="38"/>
                  </a:lnTo>
                  <a:lnTo>
                    <a:pt x="52" y="12"/>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7" name="Freeform 87"/>
            <p:cNvSpPr>
              <a:spLocks/>
            </p:cNvSpPr>
            <p:nvPr/>
          </p:nvSpPr>
          <p:spPr bwMode="auto">
            <a:xfrm>
              <a:off x="2935288" y="3578226"/>
              <a:ext cx="46038" cy="63500"/>
            </a:xfrm>
            <a:custGeom>
              <a:avLst/>
              <a:gdLst>
                <a:gd name="T0" fmla="*/ 17 w 29"/>
                <a:gd name="T1" fmla="*/ 0 h 40"/>
                <a:gd name="T2" fmla="*/ 0 w 29"/>
                <a:gd name="T3" fmla="*/ 16 h 40"/>
                <a:gd name="T4" fmla="*/ 3 w 29"/>
                <a:gd name="T5" fmla="*/ 40 h 40"/>
                <a:gd name="T6" fmla="*/ 22 w 29"/>
                <a:gd name="T7" fmla="*/ 38 h 40"/>
                <a:gd name="T8" fmla="*/ 19 w 29"/>
                <a:gd name="T9" fmla="*/ 24 h 40"/>
                <a:gd name="T10" fmla="*/ 29 w 29"/>
                <a:gd name="T11" fmla="*/ 14 h 40"/>
                <a:gd name="T12" fmla="*/ 17 w 29"/>
                <a:gd name="T13" fmla="*/ 0 h 40"/>
                <a:gd name="T14" fmla="*/ 17 w 29"/>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0">
                  <a:moveTo>
                    <a:pt x="17" y="0"/>
                  </a:moveTo>
                  <a:lnTo>
                    <a:pt x="0" y="16"/>
                  </a:lnTo>
                  <a:lnTo>
                    <a:pt x="3" y="40"/>
                  </a:lnTo>
                  <a:lnTo>
                    <a:pt x="22" y="38"/>
                  </a:lnTo>
                  <a:lnTo>
                    <a:pt x="19" y="24"/>
                  </a:lnTo>
                  <a:lnTo>
                    <a:pt x="29" y="14"/>
                  </a:lnTo>
                  <a:lnTo>
                    <a:pt x="17" y="0"/>
                  </a:lnTo>
                  <a:lnTo>
                    <a:pt x="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8" name="Freeform 88"/>
            <p:cNvSpPr>
              <a:spLocks/>
            </p:cNvSpPr>
            <p:nvPr/>
          </p:nvSpPr>
          <p:spPr bwMode="auto">
            <a:xfrm>
              <a:off x="2946400" y="3663951"/>
              <a:ext cx="30163" cy="7938"/>
            </a:xfrm>
            <a:custGeom>
              <a:avLst/>
              <a:gdLst>
                <a:gd name="T0" fmla="*/ 0 w 19"/>
                <a:gd name="T1" fmla="*/ 5 h 5"/>
                <a:gd name="T2" fmla="*/ 0 w 19"/>
                <a:gd name="T3" fmla="*/ 5 h 5"/>
                <a:gd name="T4" fmla="*/ 19 w 19"/>
                <a:gd name="T5" fmla="*/ 0 h 5"/>
                <a:gd name="T6" fmla="*/ 19 w 19"/>
                <a:gd name="T7" fmla="*/ 0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0" y="5"/>
                  </a:lnTo>
                  <a:lnTo>
                    <a:pt x="19" y="0"/>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 name="Freeform 89"/>
            <p:cNvSpPr>
              <a:spLocks noEditPoints="1"/>
            </p:cNvSpPr>
            <p:nvPr/>
          </p:nvSpPr>
          <p:spPr bwMode="auto">
            <a:xfrm>
              <a:off x="2946400" y="3663951"/>
              <a:ext cx="46038" cy="95250"/>
            </a:xfrm>
            <a:custGeom>
              <a:avLst/>
              <a:gdLst>
                <a:gd name="T0" fmla="*/ 10 w 29"/>
                <a:gd name="T1" fmla="*/ 60 h 60"/>
                <a:gd name="T2" fmla="*/ 10 w 29"/>
                <a:gd name="T3" fmla="*/ 60 h 60"/>
                <a:gd name="T4" fmla="*/ 29 w 29"/>
                <a:gd name="T5" fmla="*/ 57 h 60"/>
                <a:gd name="T6" fmla="*/ 29 w 29"/>
                <a:gd name="T7" fmla="*/ 57 h 60"/>
                <a:gd name="T8" fmla="*/ 10 w 29"/>
                <a:gd name="T9" fmla="*/ 60 h 60"/>
                <a:gd name="T10" fmla="*/ 0 w 29"/>
                <a:gd name="T11" fmla="*/ 5 h 60"/>
                <a:gd name="T12" fmla="*/ 5 w 29"/>
                <a:gd name="T13" fmla="*/ 41 h 60"/>
                <a:gd name="T14" fmla="*/ 24 w 29"/>
                <a:gd name="T15" fmla="*/ 38 h 60"/>
                <a:gd name="T16" fmla="*/ 19 w 29"/>
                <a:gd name="T17" fmla="*/ 0 h 60"/>
                <a:gd name="T18" fmla="*/ 0 w 29"/>
                <a:gd name="T1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60">
                  <a:moveTo>
                    <a:pt x="10" y="60"/>
                  </a:moveTo>
                  <a:lnTo>
                    <a:pt x="10" y="60"/>
                  </a:lnTo>
                  <a:lnTo>
                    <a:pt x="29" y="57"/>
                  </a:lnTo>
                  <a:lnTo>
                    <a:pt x="29" y="57"/>
                  </a:lnTo>
                  <a:lnTo>
                    <a:pt x="10" y="60"/>
                  </a:lnTo>
                  <a:close/>
                  <a:moveTo>
                    <a:pt x="0" y="5"/>
                  </a:moveTo>
                  <a:lnTo>
                    <a:pt x="5" y="41"/>
                  </a:lnTo>
                  <a:lnTo>
                    <a:pt x="24" y="38"/>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0" name="Freeform 90"/>
            <p:cNvSpPr>
              <a:spLocks/>
            </p:cNvSpPr>
            <p:nvPr/>
          </p:nvSpPr>
          <p:spPr bwMode="auto">
            <a:xfrm>
              <a:off x="2946400" y="3754438"/>
              <a:ext cx="52388" cy="60325"/>
            </a:xfrm>
            <a:custGeom>
              <a:avLst/>
              <a:gdLst>
                <a:gd name="T0" fmla="*/ 10 w 33"/>
                <a:gd name="T1" fmla="*/ 3 h 38"/>
                <a:gd name="T2" fmla="*/ 12 w 33"/>
                <a:gd name="T3" fmla="*/ 22 h 38"/>
                <a:gd name="T4" fmla="*/ 22 w 33"/>
                <a:gd name="T5" fmla="*/ 19 h 38"/>
                <a:gd name="T6" fmla="*/ 26 w 33"/>
                <a:gd name="T7" fmla="*/ 12 h 38"/>
                <a:gd name="T8" fmla="*/ 10 w 33"/>
                <a:gd name="T9" fmla="*/ 3 h 38"/>
                <a:gd name="T10" fmla="*/ 0 w 33"/>
                <a:gd name="T11" fmla="*/ 19 h 38"/>
                <a:gd name="T12" fmla="*/ 33 w 33"/>
                <a:gd name="T13" fmla="*/ 38 h 38"/>
                <a:gd name="T14" fmla="*/ 29 w 33"/>
                <a:gd name="T15" fmla="*/ 0 h 38"/>
                <a:gd name="T16" fmla="*/ 10 w 33"/>
                <a:gd name="T17" fmla="*/ 3 h 38"/>
                <a:gd name="T18" fmla="*/ 10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10" y="3"/>
                  </a:moveTo>
                  <a:lnTo>
                    <a:pt x="12" y="22"/>
                  </a:lnTo>
                  <a:lnTo>
                    <a:pt x="22" y="19"/>
                  </a:lnTo>
                  <a:lnTo>
                    <a:pt x="26" y="12"/>
                  </a:lnTo>
                  <a:lnTo>
                    <a:pt x="10" y="3"/>
                  </a:lnTo>
                  <a:lnTo>
                    <a:pt x="0" y="19"/>
                  </a:lnTo>
                  <a:lnTo>
                    <a:pt x="33" y="38"/>
                  </a:lnTo>
                  <a:lnTo>
                    <a:pt x="29" y="0"/>
                  </a:lnTo>
                  <a:lnTo>
                    <a:pt x="10" y="3"/>
                  </a:lnTo>
                  <a:lnTo>
                    <a:pt x="1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1" name="Freeform 91"/>
            <p:cNvSpPr>
              <a:spLocks/>
            </p:cNvSpPr>
            <p:nvPr/>
          </p:nvSpPr>
          <p:spPr bwMode="auto">
            <a:xfrm>
              <a:off x="2921000" y="3743326"/>
              <a:ext cx="14288" cy="30163"/>
            </a:xfrm>
            <a:custGeom>
              <a:avLst/>
              <a:gdLst>
                <a:gd name="T0" fmla="*/ 9 w 9"/>
                <a:gd name="T1" fmla="*/ 0 h 19"/>
                <a:gd name="T2" fmla="*/ 9 w 9"/>
                <a:gd name="T3" fmla="*/ 0 h 19"/>
                <a:gd name="T4" fmla="*/ 0 w 9"/>
                <a:gd name="T5" fmla="*/ 19 h 19"/>
                <a:gd name="T6" fmla="*/ 0 w 9"/>
                <a:gd name="T7" fmla="*/ 19 h 19"/>
                <a:gd name="T8" fmla="*/ 9 w 9"/>
                <a:gd name="T9" fmla="*/ 0 h 19"/>
              </a:gdLst>
              <a:ahLst/>
              <a:cxnLst>
                <a:cxn ang="0">
                  <a:pos x="T0" y="T1"/>
                </a:cxn>
                <a:cxn ang="0">
                  <a:pos x="T2" y="T3"/>
                </a:cxn>
                <a:cxn ang="0">
                  <a:pos x="T4" y="T5"/>
                </a:cxn>
                <a:cxn ang="0">
                  <a:pos x="T6" y="T7"/>
                </a:cxn>
                <a:cxn ang="0">
                  <a:pos x="T8" y="T9"/>
                </a:cxn>
              </a:cxnLst>
              <a:rect l="0" t="0" r="r" b="b"/>
              <a:pathLst>
                <a:path w="9" h="19">
                  <a:moveTo>
                    <a:pt x="9" y="0"/>
                  </a:moveTo>
                  <a:lnTo>
                    <a:pt x="9" y="0"/>
                  </a:lnTo>
                  <a:lnTo>
                    <a:pt x="0" y="19"/>
                  </a:lnTo>
                  <a:lnTo>
                    <a:pt x="0" y="19"/>
                  </a:ln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2" name="Freeform 92"/>
            <p:cNvSpPr>
              <a:spLocks noEditPoints="1"/>
            </p:cNvSpPr>
            <p:nvPr/>
          </p:nvSpPr>
          <p:spPr bwMode="auto">
            <a:xfrm>
              <a:off x="2841625" y="3702051"/>
              <a:ext cx="93663" cy="71438"/>
            </a:xfrm>
            <a:custGeom>
              <a:avLst/>
              <a:gdLst>
                <a:gd name="T0" fmla="*/ 10 w 59"/>
                <a:gd name="T1" fmla="*/ 0 h 45"/>
                <a:gd name="T2" fmla="*/ 10 w 59"/>
                <a:gd name="T3" fmla="*/ 0 h 45"/>
                <a:gd name="T4" fmla="*/ 0 w 59"/>
                <a:gd name="T5" fmla="*/ 17 h 45"/>
                <a:gd name="T6" fmla="*/ 10 w 59"/>
                <a:gd name="T7" fmla="*/ 0 h 45"/>
                <a:gd name="T8" fmla="*/ 10 w 59"/>
                <a:gd name="T9" fmla="*/ 0 h 45"/>
                <a:gd name="T10" fmla="*/ 10 w 59"/>
                <a:gd name="T11" fmla="*/ 0 h 45"/>
                <a:gd name="T12" fmla="*/ 0 w 59"/>
                <a:gd name="T13" fmla="*/ 17 h 45"/>
                <a:gd name="T14" fmla="*/ 0 w 59"/>
                <a:gd name="T15" fmla="*/ 17 h 45"/>
                <a:gd name="T16" fmla="*/ 10 w 59"/>
                <a:gd name="T17" fmla="*/ 0 h 45"/>
                <a:gd name="T18" fmla="*/ 59 w 59"/>
                <a:gd name="T19" fmla="*/ 26 h 45"/>
                <a:gd name="T20" fmla="*/ 26 w 59"/>
                <a:gd name="T21" fmla="*/ 10 h 45"/>
                <a:gd name="T22" fmla="*/ 17 w 59"/>
                <a:gd name="T23" fmla="*/ 26 h 45"/>
                <a:gd name="T24" fmla="*/ 50 w 59"/>
                <a:gd name="T25" fmla="*/ 45 h 45"/>
                <a:gd name="T26" fmla="*/ 59 w 59"/>
                <a:gd name="T27"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45">
                  <a:moveTo>
                    <a:pt x="10" y="0"/>
                  </a:moveTo>
                  <a:lnTo>
                    <a:pt x="10" y="0"/>
                  </a:lnTo>
                  <a:lnTo>
                    <a:pt x="0" y="17"/>
                  </a:lnTo>
                  <a:lnTo>
                    <a:pt x="10" y="0"/>
                  </a:lnTo>
                  <a:close/>
                  <a:moveTo>
                    <a:pt x="10" y="0"/>
                  </a:moveTo>
                  <a:lnTo>
                    <a:pt x="10" y="0"/>
                  </a:lnTo>
                  <a:lnTo>
                    <a:pt x="0" y="17"/>
                  </a:lnTo>
                  <a:lnTo>
                    <a:pt x="0" y="17"/>
                  </a:lnTo>
                  <a:lnTo>
                    <a:pt x="10" y="0"/>
                  </a:lnTo>
                  <a:close/>
                  <a:moveTo>
                    <a:pt x="59" y="26"/>
                  </a:moveTo>
                  <a:lnTo>
                    <a:pt x="26" y="10"/>
                  </a:lnTo>
                  <a:lnTo>
                    <a:pt x="17" y="26"/>
                  </a:lnTo>
                  <a:lnTo>
                    <a:pt x="50" y="45"/>
                  </a:lnTo>
                  <a:lnTo>
                    <a:pt x="59"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98" name="Group 97"/>
          <p:cNvGrpSpPr/>
          <p:nvPr/>
        </p:nvGrpSpPr>
        <p:grpSpPr>
          <a:xfrm>
            <a:off x="7915275" y="2379663"/>
            <a:ext cx="2178050" cy="2024063"/>
            <a:chOff x="7915275" y="2379663"/>
            <a:chExt cx="2178050" cy="2024063"/>
          </a:xfrm>
        </p:grpSpPr>
        <p:sp>
          <p:nvSpPr>
            <p:cNvPr id="12" name="Freeform 12"/>
            <p:cNvSpPr>
              <a:spLocks noEditPoints="1"/>
            </p:cNvSpPr>
            <p:nvPr/>
          </p:nvSpPr>
          <p:spPr bwMode="auto">
            <a:xfrm>
              <a:off x="8442325" y="23796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lnTo>
                    <a:pt x="8" y="379"/>
                  </a:ln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lnTo>
                    <a:pt x="27" y="417"/>
                  </a:ln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 name="Rectangle 13"/>
            <p:cNvSpPr>
              <a:spLocks noChangeArrowheads="1"/>
            </p:cNvSpPr>
            <p:nvPr/>
          </p:nvSpPr>
          <p:spPr bwMode="auto">
            <a:xfrm>
              <a:off x="8637588" y="4098926"/>
              <a:ext cx="14525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Completed page</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14" name="Freeform 14"/>
            <p:cNvSpPr>
              <a:spLocks noEditPoints="1"/>
            </p:cNvSpPr>
            <p:nvPr/>
          </p:nvSpPr>
          <p:spPr bwMode="auto">
            <a:xfrm>
              <a:off x="7915275"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Freeform 15"/>
            <p:cNvSpPr>
              <a:spLocks/>
            </p:cNvSpPr>
            <p:nvPr/>
          </p:nvSpPr>
          <p:spPr bwMode="auto">
            <a:xfrm>
              <a:off x="8189913" y="31337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Freeform 42"/>
            <p:cNvSpPr>
              <a:spLocks/>
            </p:cNvSpPr>
            <p:nvPr/>
          </p:nvSpPr>
          <p:spPr bwMode="auto">
            <a:xfrm>
              <a:off x="8682038" y="2925763"/>
              <a:ext cx="1127125" cy="754063"/>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 name="Freeform 43"/>
            <p:cNvSpPr>
              <a:spLocks/>
            </p:cNvSpPr>
            <p:nvPr/>
          </p:nvSpPr>
          <p:spPr bwMode="auto">
            <a:xfrm>
              <a:off x="8682038" y="2714626"/>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 name="Freeform 44"/>
            <p:cNvSpPr>
              <a:spLocks/>
            </p:cNvSpPr>
            <p:nvPr/>
          </p:nvSpPr>
          <p:spPr bwMode="auto">
            <a:xfrm>
              <a:off x="8682038" y="3000376"/>
              <a:ext cx="720725" cy="679450"/>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Freeform 45"/>
            <p:cNvSpPr>
              <a:spLocks/>
            </p:cNvSpPr>
            <p:nvPr/>
          </p:nvSpPr>
          <p:spPr bwMode="auto">
            <a:xfrm>
              <a:off x="8682038" y="2714626"/>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Rectangle 46"/>
            <p:cNvSpPr>
              <a:spLocks noChangeArrowheads="1"/>
            </p:cNvSpPr>
            <p:nvPr/>
          </p:nvSpPr>
          <p:spPr bwMode="auto">
            <a:xfrm>
              <a:off x="8970963" y="2824163"/>
              <a:ext cx="758825"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Oval 47"/>
            <p:cNvSpPr>
              <a:spLocks noChangeArrowheads="1"/>
            </p:cNvSpPr>
            <p:nvPr/>
          </p:nvSpPr>
          <p:spPr bwMode="auto">
            <a:xfrm>
              <a:off x="8715375" y="2755901"/>
              <a:ext cx="222250"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Freeform 48"/>
            <p:cNvSpPr>
              <a:spLocks/>
            </p:cNvSpPr>
            <p:nvPr/>
          </p:nvSpPr>
          <p:spPr bwMode="auto">
            <a:xfrm>
              <a:off x="8772525" y="2805113"/>
              <a:ext cx="165100" cy="128588"/>
            </a:xfrm>
            <a:custGeom>
              <a:avLst/>
              <a:gdLst>
                <a:gd name="T0" fmla="*/ 26 w 104"/>
                <a:gd name="T1" fmla="*/ 47 h 81"/>
                <a:gd name="T2" fmla="*/ 59 w 104"/>
                <a:gd name="T3" fmla="*/ 81 h 81"/>
                <a:gd name="T4" fmla="*/ 42 w 104"/>
                <a:gd name="T5" fmla="*/ 81 h 81"/>
                <a:gd name="T6" fmla="*/ 0 w 104"/>
                <a:gd name="T7" fmla="*/ 40 h 81"/>
                <a:gd name="T8" fmla="*/ 42 w 104"/>
                <a:gd name="T9" fmla="*/ 0 h 81"/>
                <a:gd name="T10" fmla="*/ 59 w 104"/>
                <a:gd name="T11" fmla="*/ 0 h 81"/>
                <a:gd name="T12" fmla="*/ 26 w 104"/>
                <a:gd name="T13" fmla="*/ 33 h 81"/>
                <a:gd name="T14" fmla="*/ 104 w 104"/>
                <a:gd name="T15" fmla="*/ 33 h 81"/>
                <a:gd name="T16" fmla="*/ 104 w 104"/>
                <a:gd name="T17" fmla="*/ 47 h 81"/>
                <a:gd name="T18" fmla="*/ 26 w 104"/>
                <a:gd name="T19" fmla="*/ 4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1">
                  <a:moveTo>
                    <a:pt x="26" y="47"/>
                  </a:moveTo>
                  <a:lnTo>
                    <a:pt x="59" y="81"/>
                  </a:lnTo>
                  <a:lnTo>
                    <a:pt x="42" y="81"/>
                  </a:lnTo>
                  <a:lnTo>
                    <a:pt x="0" y="40"/>
                  </a:lnTo>
                  <a:lnTo>
                    <a:pt x="42"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3" name="Freeform 93"/>
            <p:cNvSpPr>
              <a:spLocks/>
            </p:cNvSpPr>
            <p:nvPr/>
          </p:nvSpPr>
          <p:spPr bwMode="auto">
            <a:xfrm>
              <a:off x="8990013" y="3084513"/>
              <a:ext cx="511175" cy="485775"/>
            </a:xfrm>
            <a:custGeom>
              <a:avLst/>
              <a:gdLst>
                <a:gd name="T0" fmla="*/ 161 w 322"/>
                <a:gd name="T1" fmla="*/ 254 h 306"/>
                <a:gd name="T2" fmla="*/ 61 w 322"/>
                <a:gd name="T3" fmla="*/ 306 h 306"/>
                <a:gd name="T4" fmla="*/ 80 w 322"/>
                <a:gd name="T5" fmla="*/ 194 h 306"/>
                <a:gd name="T6" fmla="*/ 0 w 322"/>
                <a:gd name="T7" fmla="*/ 116 h 306"/>
                <a:gd name="T8" fmla="*/ 111 w 322"/>
                <a:gd name="T9" fmla="*/ 99 h 306"/>
                <a:gd name="T10" fmla="*/ 161 w 322"/>
                <a:gd name="T11" fmla="*/ 0 h 306"/>
                <a:gd name="T12" fmla="*/ 211 w 322"/>
                <a:gd name="T13" fmla="*/ 99 h 306"/>
                <a:gd name="T14" fmla="*/ 322 w 322"/>
                <a:gd name="T15" fmla="*/ 116 h 306"/>
                <a:gd name="T16" fmla="*/ 241 w 322"/>
                <a:gd name="T17" fmla="*/ 194 h 306"/>
                <a:gd name="T18" fmla="*/ 260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1" y="306"/>
                  </a:lnTo>
                  <a:lnTo>
                    <a:pt x="80" y="194"/>
                  </a:lnTo>
                  <a:lnTo>
                    <a:pt x="0" y="116"/>
                  </a:lnTo>
                  <a:lnTo>
                    <a:pt x="111" y="99"/>
                  </a:lnTo>
                  <a:lnTo>
                    <a:pt x="161" y="0"/>
                  </a:lnTo>
                  <a:lnTo>
                    <a:pt x="211" y="99"/>
                  </a:lnTo>
                  <a:lnTo>
                    <a:pt x="322" y="116"/>
                  </a:lnTo>
                  <a:lnTo>
                    <a:pt x="241" y="194"/>
                  </a:lnTo>
                  <a:lnTo>
                    <a:pt x="260"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97" name="Group 96"/>
          <p:cNvGrpSpPr/>
          <p:nvPr/>
        </p:nvGrpSpPr>
        <p:grpSpPr>
          <a:xfrm>
            <a:off x="4114800" y="2379663"/>
            <a:ext cx="3681413" cy="2024063"/>
            <a:chOff x="4114800" y="2379663"/>
            <a:chExt cx="3681413" cy="2024063"/>
          </a:xfrm>
        </p:grpSpPr>
        <p:sp>
          <p:nvSpPr>
            <p:cNvPr id="16" name="Freeform 16"/>
            <p:cNvSpPr>
              <a:spLocks noEditPoints="1"/>
            </p:cNvSpPr>
            <p:nvPr/>
          </p:nvSpPr>
          <p:spPr bwMode="auto">
            <a:xfrm>
              <a:off x="5591175" y="2925763"/>
              <a:ext cx="233363" cy="233363"/>
            </a:xfrm>
            <a:custGeom>
              <a:avLst/>
              <a:gdLst>
                <a:gd name="T0" fmla="*/ 118 w 147"/>
                <a:gd name="T1" fmla="*/ 133 h 147"/>
                <a:gd name="T2" fmla="*/ 132 w 147"/>
                <a:gd name="T3" fmla="*/ 147 h 147"/>
                <a:gd name="T4" fmla="*/ 147 w 147"/>
                <a:gd name="T5" fmla="*/ 133 h 147"/>
                <a:gd name="T6" fmla="*/ 130 w 147"/>
                <a:gd name="T7" fmla="*/ 119 h 147"/>
                <a:gd name="T8" fmla="*/ 118 w 147"/>
                <a:gd name="T9" fmla="*/ 133 h 147"/>
                <a:gd name="T10" fmla="*/ 118 w 147"/>
                <a:gd name="T11" fmla="*/ 133 h 147"/>
                <a:gd name="T12" fmla="*/ 118 w 147"/>
                <a:gd name="T13" fmla="*/ 133 h 147"/>
                <a:gd name="T14" fmla="*/ 130 w 147"/>
                <a:gd name="T15" fmla="*/ 119 h 147"/>
                <a:gd name="T16" fmla="*/ 130 w 147"/>
                <a:gd name="T17" fmla="*/ 119 h 147"/>
                <a:gd name="T18" fmla="*/ 118 w 147"/>
                <a:gd name="T19" fmla="*/ 133 h 147"/>
                <a:gd name="T20" fmla="*/ 78 w 147"/>
                <a:gd name="T21" fmla="*/ 93 h 147"/>
                <a:gd name="T22" fmla="*/ 104 w 147"/>
                <a:gd name="T23" fmla="*/ 119 h 147"/>
                <a:gd name="T24" fmla="*/ 118 w 147"/>
                <a:gd name="T25" fmla="*/ 107 h 147"/>
                <a:gd name="T26" fmla="*/ 92 w 147"/>
                <a:gd name="T27" fmla="*/ 78 h 147"/>
                <a:gd name="T28" fmla="*/ 78 w 147"/>
                <a:gd name="T29" fmla="*/ 93 h 147"/>
                <a:gd name="T30" fmla="*/ 78 w 147"/>
                <a:gd name="T31" fmla="*/ 93 h 147"/>
                <a:gd name="T32" fmla="*/ 78 w 147"/>
                <a:gd name="T33" fmla="*/ 93 h 147"/>
                <a:gd name="T34" fmla="*/ 92 w 147"/>
                <a:gd name="T35" fmla="*/ 78 h 147"/>
                <a:gd name="T36" fmla="*/ 92 w 147"/>
                <a:gd name="T37" fmla="*/ 78 h 147"/>
                <a:gd name="T38" fmla="*/ 78 w 147"/>
                <a:gd name="T39" fmla="*/ 93 h 147"/>
                <a:gd name="T40" fmla="*/ 38 w 147"/>
                <a:gd name="T41" fmla="*/ 52 h 147"/>
                <a:gd name="T42" fmla="*/ 66 w 147"/>
                <a:gd name="T43" fmla="*/ 81 h 147"/>
                <a:gd name="T44" fmla="*/ 78 w 147"/>
                <a:gd name="T45" fmla="*/ 66 h 147"/>
                <a:gd name="T46" fmla="*/ 52 w 147"/>
                <a:gd name="T47" fmla="*/ 40 h 147"/>
                <a:gd name="T48" fmla="*/ 38 w 147"/>
                <a:gd name="T49" fmla="*/ 52 h 147"/>
                <a:gd name="T50" fmla="*/ 38 w 147"/>
                <a:gd name="T51" fmla="*/ 52 h 147"/>
                <a:gd name="T52" fmla="*/ 38 w 147"/>
                <a:gd name="T53" fmla="*/ 52 h 147"/>
                <a:gd name="T54" fmla="*/ 52 w 147"/>
                <a:gd name="T55" fmla="*/ 40 h 147"/>
                <a:gd name="T56" fmla="*/ 52 w 147"/>
                <a:gd name="T57" fmla="*/ 40 h 147"/>
                <a:gd name="T58" fmla="*/ 38 w 147"/>
                <a:gd name="T59" fmla="*/ 52 h 147"/>
                <a:gd name="T60" fmla="*/ 0 w 147"/>
                <a:gd name="T61" fmla="*/ 14 h 147"/>
                <a:gd name="T62" fmla="*/ 26 w 147"/>
                <a:gd name="T63" fmla="*/ 40 h 147"/>
                <a:gd name="T64" fmla="*/ 40 w 147"/>
                <a:gd name="T65" fmla="*/ 26 h 147"/>
                <a:gd name="T66" fmla="*/ 12 w 147"/>
                <a:gd name="T67" fmla="*/ 0 h 147"/>
                <a:gd name="T68" fmla="*/ 0 w 147"/>
                <a:gd name="T69" fmla="*/ 1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7">
                  <a:moveTo>
                    <a:pt x="118" y="133"/>
                  </a:moveTo>
                  <a:lnTo>
                    <a:pt x="132" y="147"/>
                  </a:lnTo>
                  <a:lnTo>
                    <a:pt x="147" y="133"/>
                  </a:lnTo>
                  <a:lnTo>
                    <a:pt x="130" y="119"/>
                  </a:lnTo>
                  <a:lnTo>
                    <a:pt x="118" y="133"/>
                  </a:lnTo>
                  <a:close/>
                  <a:moveTo>
                    <a:pt x="118" y="133"/>
                  </a:moveTo>
                  <a:lnTo>
                    <a:pt x="118" y="133"/>
                  </a:lnTo>
                  <a:lnTo>
                    <a:pt x="130" y="119"/>
                  </a:lnTo>
                  <a:lnTo>
                    <a:pt x="130" y="119"/>
                  </a:lnTo>
                  <a:lnTo>
                    <a:pt x="118" y="133"/>
                  </a:lnTo>
                  <a:close/>
                  <a:moveTo>
                    <a:pt x="78" y="93"/>
                  </a:moveTo>
                  <a:lnTo>
                    <a:pt x="104" y="119"/>
                  </a:lnTo>
                  <a:lnTo>
                    <a:pt x="118" y="107"/>
                  </a:lnTo>
                  <a:lnTo>
                    <a:pt x="92" y="78"/>
                  </a:lnTo>
                  <a:lnTo>
                    <a:pt x="78" y="93"/>
                  </a:lnTo>
                  <a:close/>
                  <a:moveTo>
                    <a:pt x="78" y="93"/>
                  </a:moveTo>
                  <a:lnTo>
                    <a:pt x="78" y="93"/>
                  </a:lnTo>
                  <a:lnTo>
                    <a:pt x="92" y="78"/>
                  </a:lnTo>
                  <a:lnTo>
                    <a:pt x="92" y="78"/>
                  </a:lnTo>
                  <a:lnTo>
                    <a:pt x="78" y="93"/>
                  </a:lnTo>
                  <a:close/>
                  <a:moveTo>
                    <a:pt x="38" y="52"/>
                  </a:moveTo>
                  <a:lnTo>
                    <a:pt x="66" y="81"/>
                  </a:lnTo>
                  <a:lnTo>
                    <a:pt x="78" y="66"/>
                  </a:lnTo>
                  <a:lnTo>
                    <a:pt x="52" y="40"/>
                  </a:lnTo>
                  <a:lnTo>
                    <a:pt x="38" y="52"/>
                  </a:lnTo>
                  <a:close/>
                  <a:moveTo>
                    <a:pt x="38" y="52"/>
                  </a:moveTo>
                  <a:lnTo>
                    <a:pt x="38" y="52"/>
                  </a:lnTo>
                  <a:lnTo>
                    <a:pt x="52" y="40"/>
                  </a:lnTo>
                  <a:lnTo>
                    <a:pt x="52" y="40"/>
                  </a:lnTo>
                  <a:lnTo>
                    <a:pt x="38" y="52"/>
                  </a:lnTo>
                  <a:close/>
                  <a:moveTo>
                    <a:pt x="0" y="14"/>
                  </a:moveTo>
                  <a:lnTo>
                    <a:pt x="26" y="40"/>
                  </a:lnTo>
                  <a:lnTo>
                    <a:pt x="40" y="26"/>
                  </a:lnTo>
                  <a:lnTo>
                    <a:pt x="12"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Freeform 17"/>
            <p:cNvSpPr>
              <a:spLocks/>
            </p:cNvSpPr>
            <p:nvPr/>
          </p:nvSpPr>
          <p:spPr bwMode="auto">
            <a:xfrm>
              <a:off x="5741988" y="3079751"/>
              <a:ext cx="146050" cy="144463"/>
            </a:xfrm>
            <a:custGeom>
              <a:avLst/>
              <a:gdLst>
                <a:gd name="T0" fmla="*/ 0 w 92"/>
                <a:gd name="T1" fmla="*/ 67 h 91"/>
                <a:gd name="T2" fmla="*/ 92 w 92"/>
                <a:gd name="T3" fmla="*/ 91 h 91"/>
                <a:gd name="T4" fmla="*/ 68 w 92"/>
                <a:gd name="T5" fmla="*/ 0 h 91"/>
                <a:gd name="T6" fmla="*/ 0 w 92"/>
                <a:gd name="T7" fmla="*/ 67 h 91"/>
              </a:gdLst>
              <a:ahLst/>
              <a:cxnLst>
                <a:cxn ang="0">
                  <a:pos x="T0" y="T1"/>
                </a:cxn>
                <a:cxn ang="0">
                  <a:pos x="T2" y="T3"/>
                </a:cxn>
                <a:cxn ang="0">
                  <a:pos x="T4" y="T5"/>
                </a:cxn>
                <a:cxn ang="0">
                  <a:pos x="T6" y="T7"/>
                </a:cxn>
              </a:cxnLst>
              <a:rect l="0" t="0" r="r" b="b"/>
              <a:pathLst>
                <a:path w="92" h="91">
                  <a:moveTo>
                    <a:pt x="0" y="67"/>
                  </a:moveTo>
                  <a:lnTo>
                    <a:pt x="92" y="91"/>
                  </a:lnTo>
                  <a:lnTo>
                    <a:pt x="68" y="0"/>
                  </a:lnTo>
                  <a:lnTo>
                    <a:pt x="0" y="67"/>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 name="Freeform 18"/>
            <p:cNvSpPr>
              <a:spLocks noEditPoints="1"/>
            </p:cNvSpPr>
            <p:nvPr/>
          </p:nvSpPr>
          <p:spPr bwMode="auto">
            <a:xfrm>
              <a:off x="5591175" y="3392488"/>
              <a:ext cx="233363" cy="234950"/>
            </a:xfrm>
            <a:custGeom>
              <a:avLst/>
              <a:gdLst>
                <a:gd name="T0" fmla="*/ 130 w 147"/>
                <a:gd name="T1" fmla="*/ 29 h 148"/>
                <a:gd name="T2" fmla="*/ 147 w 147"/>
                <a:gd name="T3" fmla="*/ 15 h 148"/>
                <a:gd name="T4" fmla="*/ 132 w 147"/>
                <a:gd name="T5" fmla="*/ 0 h 148"/>
                <a:gd name="T6" fmla="*/ 118 w 147"/>
                <a:gd name="T7" fmla="*/ 15 h 148"/>
                <a:gd name="T8" fmla="*/ 130 w 147"/>
                <a:gd name="T9" fmla="*/ 29 h 148"/>
                <a:gd name="T10" fmla="*/ 130 w 147"/>
                <a:gd name="T11" fmla="*/ 29 h 148"/>
                <a:gd name="T12" fmla="*/ 130 w 147"/>
                <a:gd name="T13" fmla="*/ 29 h 148"/>
                <a:gd name="T14" fmla="*/ 118 w 147"/>
                <a:gd name="T15" fmla="*/ 15 h 148"/>
                <a:gd name="T16" fmla="*/ 118 w 147"/>
                <a:gd name="T17" fmla="*/ 15 h 148"/>
                <a:gd name="T18" fmla="*/ 130 w 147"/>
                <a:gd name="T19" fmla="*/ 29 h 148"/>
                <a:gd name="T20" fmla="*/ 92 w 147"/>
                <a:gd name="T21" fmla="*/ 69 h 148"/>
                <a:gd name="T22" fmla="*/ 118 w 147"/>
                <a:gd name="T23" fmla="*/ 41 h 148"/>
                <a:gd name="T24" fmla="*/ 104 w 147"/>
                <a:gd name="T25" fmla="*/ 29 h 148"/>
                <a:gd name="T26" fmla="*/ 78 w 147"/>
                <a:gd name="T27" fmla="*/ 55 h 148"/>
                <a:gd name="T28" fmla="*/ 92 w 147"/>
                <a:gd name="T29" fmla="*/ 69 h 148"/>
                <a:gd name="T30" fmla="*/ 92 w 147"/>
                <a:gd name="T31" fmla="*/ 69 h 148"/>
                <a:gd name="T32" fmla="*/ 92 w 147"/>
                <a:gd name="T33" fmla="*/ 69 h 148"/>
                <a:gd name="T34" fmla="*/ 78 w 147"/>
                <a:gd name="T35" fmla="*/ 55 h 148"/>
                <a:gd name="T36" fmla="*/ 78 w 147"/>
                <a:gd name="T37" fmla="*/ 55 h 148"/>
                <a:gd name="T38" fmla="*/ 92 w 147"/>
                <a:gd name="T39" fmla="*/ 69 h 148"/>
                <a:gd name="T40" fmla="*/ 52 w 147"/>
                <a:gd name="T41" fmla="*/ 107 h 148"/>
                <a:gd name="T42" fmla="*/ 78 w 147"/>
                <a:gd name="T43" fmla="*/ 81 h 148"/>
                <a:gd name="T44" fmla="*/ 66 w 147"/>
                <a:gd name="T45" fmla="*/ 67 h 148"/>
                <a:gd name="T46" fmla="*/ 38 w 147"/>
                <a:gd name="T47" fmla="*/ 95 h 148"/>
                <a:gd name="T48" fmla="*/ 52 w 147"/>
                <a:gd name="T49" fmla="*/ 107 h 148"/>
                <a:gd name="T50" fmla="*/ 52 w 147"/>
                <a:gd name="T51" fmla="*/ 107 h 148"/>
                <a:gd name="T52" fmla="*/ 52 w 147"/>
                <a:gd name="T53" fmla="*/ 107 h 148"/>
                <a:gd name="T54" fmla="*/ 38 w 147"/>
                <a:gd name="T55" fmla="*/ 95 h 148"/>
                <a:gd name="T56" fmla="*/ 38 w 147"/>
                <a:gd name="T57" fmla="*/ 95 h 148"/>
                <a:gd name="T58" fmla="*/ 52 w 147"/>
                <a:gd name="T59" fmla="*/ 107 h 148"/>
                <a:gd name="T60" fmla="*/ 12 w 147"/>
                <a:gd name="T61" fmla="*/ 148 h 148"/>
                <a:gd name="T62" fmla="*/ 40 w 147"/>
                <a:gd name="T63" fmla="*/ 122 h 148"/>
                <a:gd name="T64" fmla="*/ 26 w 147"/>
                <a:gd name="T65" fmla="*/ 107 h 148"/>
                <a:gd name="T66" fmla="*/ 0 w 147"/>
                <a:gd name="T67" fmla="*/ 133 h 148"/>
                <a:gd name="T68" fmla="*/ 12 w 147"/>
                <a:gd name="T6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8">
                  <a:moveTo>
                    <a:pt x="130" y="29"/>
                  </a:moveTo>
                  <a:lnTo>
                    <a:pt x="147" y="15"/>
                  </a:lnTo>
                  <a:lnTo>
                    <a:pt x="132" y="0"/>
                  </a:lnTo>
                  <a:lnTo>
                    <a:pt x="118" y="15"/>
                  </a:lnTo>
                  <a:lnTo>
                    <a:pt x="130" y="29"/>
                  </a:lnTo>
                  <a:close/>
                  <a:moveTo>
                    <a:pt x="130" y="29"/>
                  </a:moveTo>
                  <a:lnTo>
                    <a:pt x="130" y="29"/>
                  </a:lnTo>
                  <a:lnTo>
                    <a:pt x="118" y="15"/>
                  </a:lnTo>
                  <a:lnTo>
                    <a:pt x="118" y="15"/>
                  </a:lnTo>
                  <a:lnTo>
                    <a:pt x="130" y="29"/>
                  </a:lnTo>
                  <a:close/>
                  <a:moveTo>
                    <a:pt x="92" y="69"/>
                  </a:moveTo>
                  <a:lnTo>
                    <a:pt x="118" y="41"/>
                  </a:lnTo>
                  <a:lnTo>
                    <a:pt x="104" y="29"/>
                  </a:lnTo>
                  <a:lnTo>
                    <a:pt x="78" y="55"/>
                  </a:lnTo>
                  <a:lnTo>
                    <a:pt x="92" y="69"/>
                  </a:lnTo>
                  <a:close/>
                  <a:moveTo>
                    <a:pt x="92" y="69"/>
                  </a:moveTo>
                  <a:lnTo>
                    <a:pt x="92" y="69"/>
                  </a:lnTo>
                  <a:lnTo>
                    <a:pt x="78" y="55"/>
                  </a:lnTo>
                  <a:lnTo>
                    <a:pt x="78" y="55"/>
                  </a:lnTo>
                  <a:lnTo>
                    <a:pt x="92" y="69"/>
                  </a:lnTo>
                  <a:close/>
                  <a:moveTo>
                    <a:pt x="52" y="107"/>
                  </a:moveTo>
                  <a:lnTo>
                    <a:pt x="78" y="81"/>
                  </a:lnTo>
                  <a:lnTo>
                    <a:pt x="66" y="67"/>
                  </a:lnTo>
                  <a:lnTo>
                    <a:pt x="38" y="95"/>
                  </a:lnTo>
                  <a:lnTo>
                    <a:pt x="52" y="107"/>
                  </a:lnTo>
                  <a:close/>
                  <a:moveTo>
                    <a:pt x="52" y="107"/>
                  </a:moveTo>
                  <a:lnTo>
                    <a:pt x="52" y="107"/>
                  </a:lnTo>
                  <a:lnTo>
                    <a:pt x="38" y="95"/>
                  </a:lnTo>
                  <a:lnTo>
                    <a:pt x="38" y="95"/>
                  </a:lnTo>
                  <a:lnTo>
                    <a:pt x="52" y="107"/>
                  </a:lnTo>
                  <a:close/>
                  <a:moveTo>
                    <a:pt x="12" y="148"/>
                  </a:moveTo>
                  <a:lnTo>
                    <a:pt x="40" y="122"/>
                  </a:lnTo>
                  <a:lnTo>
                    <a:pt x="26" y="107"/>
                  </a:lnTo>
                  <a:lnTo>
                    <a:pt x="0" y="133"/>
                  </a:lnTo>
                  <a:lnTo>
                    <a:pt x="12" y="14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Freeform 19"/>
            <p:cNvSpPr>
              <a:spLocks/>
            </p:cNvSpPr>
            <p:nvPr/>
          </p:nvSpPr>
          <p:spPr bwMode="auto">
            <a:xfrm>
              <a:off x="5741988" y="3328988"/>
              <a:ext cx="146050" cy="142875"/>
            </a:xfrm>
            <a:custGeom>
              <a:avLst/>
              <a:gdLst>
                <a:gd name="T0" fmla="*/ 68 w 92"/>
                <a:gd name="T1" fmla="*/ 90 h 90"/>
                <a:gd name="T2" fmla="*/ 92 w 92"/>
                <a:gd name="T3" fmla="*/ 0 h 90"/>
                <a:gd name="T4" fmla="*/ 0 w 92"/>
                <a:gd name="T5" fmla="*/ 24 h 90"/>
                <a:gd name="T6" fmla="*/ 68 w 92"/>
                <a:gd name="T7" fmla="*/ 90 h 90"/>
              </a:gdLst>
              <a:ahLst/>
              <a:cxnLst>
                <a:cxn ang="0">
                  <a:pos x="T0" y="T1"/>
                </a:cxn>
                <a:cxn ang="0">
                  <a:pos x="T2" y="T3"/>
                </a:cxn>
                <a:cxn ang="0">
                  <a:pos x="T4" y="T5"/>
                </a:cxn>
                <a:cxn ang="0">
                  <a:pos x="T6" y="T7"/>
                </a:cxn>
              </a:cxnLst>
              <a:rect l="0" t="0" r="r" b="b"/>
              <a:pathLst>
                <a:path w="92" h="90">
                  <a:moveTo>
                    <a:pt x="68" y="90"/>
                  </a:moveTo>
                  <a:lnTo>
                    <a:pt x="92" y="0"/>
                  </a:lnTo>
                  <a:lnTo>
                    <a:pt x="0" y="24"/>
                  </a:lnTo>
                  <a:lnTo>
                    <a:pt x="68" y="9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Freeform 22"/>
            <p:cNvSpPr>
              <a:spLocks/>
            </p:cNvSpPr>
            <p:nvPr/>
          </p:nvSpPr>
          <p:spPr bwMode="auto">
            <a:xfrm>
              <a:off x="4584700" y="25066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23"/>
            <p:cNvSpPr>
              <a:spLocks/>
            </p:cNvSpPr>
            <p:nvPr/>
          </p:nvSpPr>
          <p:spPr bwMode="auto">
            <a:xfrm>
              <a:off x="4114800" y="2506663"/>
              <a:ext cx="222250"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Freeform 24"/>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Freeform 25"/>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Freeform 26"/>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Freeform 27"/>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 name="Rectangle 28"/>
            <p:cNvSpPr>
              <a:spLocks noChangeArrowheads="1"/>
            </p:cNvSpPr>
            <p:nvPr/>
          </p:nvSpPr>
          <p:spPr bwMode="auto">
            <a:xfrm>
              <a:off x="4787900" y="4098926"/>
              <a:ext cx="2206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C</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29" name="Rectangle 29"/>
            <p:cNvSpPr>
              <a:spLocks noChangeArrowheads="1"/>
            </p:cNvSpPr>
            <p:nvPr/>
          </p:nvSpPr>
          <p:spPr bwMode="auto">
            <a:xfrm>
              <a:off x="4900613"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r</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30" name="Rectangle 30"/>
            <p:cNvSpPr>
              <a:spLocks noChangeArrowheads="1"/>
            </p:cNvSpPr>
            <p:nvPr/>
          </p:nvSpPr>
          <p:spPr bwMode="auto">
            <a:xfrm>
              <a:off x="4953000" y="4098926"/>
              <a:ext cx="2049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eate ad based on user p</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31" name="Rectangle 31"/>
            <p:cNvSpPr>
              <a:spLocks noChangeArrowheads="1"/>
            </p:cNvSpPr>
            <p:nvPr/>
          </p:nvSpPr>
          <p:spPr bwMode="auto">
            <a:xfrm>
              <a:off x="6784975"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r</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32" name="Rectangle 32"/>
            <p:cNvSpPr>
              <a:spLocks noChangeArrowheads="1"/>
            </p:cNvSpPr>
            <p:nvPr/>
          </p:nvSpPr>
          <p:spPr bwMode="auto">
            <a:xfrm>
              <a:off x="6837363" y="4098926"/>
              <a:ext cx="2095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o</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33" name="Rectangle 33"/>
            <p:cNvSpPr>
              <a:spLocks noChangeArrowheads="1"/>
            </p:cNvSpPr>
            <p:nvPr/>
          </p:nvSpPr>
          <p:spPr bwMode="auto">
            <a:xfrm>
              <a:off x="6935788" y="4098926"/>
              <a:ext cx="330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file</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34" name="Freeform 34"/>
            <p:cNvSpPr>
              <a:spLocks noEditPoints="1"/>
            </p:cNvSpPr>
            <p:nvPr/>
          </p:nvSpPr>
          <p:spPr bwMode="auto">
            <a:xfrm>
              <a:off x="4137025" y="2379663"/>
              <a:ext cx="3659188" cy="1657350"/>
            </a:xfrm>
            <a:custGeom>
              <a:avLst/>
              <a:gdLst>
                <a:gd name="T0" fmla="*/ 173 w 974"/>
                <a:gd name="T1" fmla="*/ 12 h 440"/>
                <a:gd name="T2" fmla="*/ 203 w 974"/>
                <a:gd name="T3" fmla="*/ 0 h 440"/>
                <a:gd name="T4" fmla="*/ 241 w 974"/>
                <a:gd name="T5" fmla="*/ 8 h 440"/>
                <a:gd name="T6" fmla="*/ 271 w 974"/>
                <a:gd name="T7" fmla="*/ 8 h 440"/>
                <a:gd name="T8" fmla="*/ 317 w 974"/>
                <a:gd name="T9" fmla="*/ 0 h 440"/>
                <a:gd name="T10" fmla="*/ 378 w 974"/>
                <a:gd name="T11" fmla="*/ 0 h 440"/>
                <a:gd name="T12" fmla="*/ 401 w 974"/>
                <a:gd name="T13" fmla="*/ 0 h 440"/>
                <a:gd name="T14" fmla="*/ 446 w 974"/>
                <a:gd name="T15" fmla="*/ 8 h 440"/>
                <a:gd name="T16" fmla="*/ 477 w 974"/>
                <a:gd name="T17" fmla="*/ 8 h 440"/>
                <a:gd name="T18" fmla="*/ 522 w 974"/>
                <a:gd name="T19" fmla="*/ 0 h 440"/>
                <a:gd name="T20" fmla="*/ 583 w 974"/>
                <a:gd name="T21" fmla="*/ 0 h 440"/>
                <a:gd name="T22" fmla="*/ 606 w 974"/>
                <a:gd name="T23" fmla="*/ 0 h 440"/>
                <a:gd name="T24" fmla="*/ 652 w 974"/>
                <a:gd name="T25" fmla="*/ 8 h 440"/>
                <a:gd name="T26" fmla="*/ 682 w 974"/>
                <a:gd name="T27" fmla="*/ 8 h 440"/>
                <a:gd name="T28" fmla="*/ 728 w 974"/>
                <a:gd name="T29" fmla="*/ 0 h 440"/>
                <a:gd name="T30" fmla="*/ 766 w 974"/>
                <a:gd name="T31" fmla="*/ 8 h 440"/>
                <a:gd name="T32" fmla="*/ 795 w 974"/>
                <a:gd name="T33" fmla="*/ 11 h 440"/>
                <a:gd name="T34" fmla="*/ 855 w 974"/>
                <a:gd name="T35" fmla="*/ 23 h 440"/>
                <a:gd name="T36" fmla="*/ 876 w 974"/>
                <a:gd name="T37" fmla="*/ 34 h 440"/>
                <a:gd name="T38" fmla="*/ 906 w 974"/>
                <a:gd name="T39" fmla="*/ 69 h 440"/>
                <a:gd name="T40" fmla="*/ 926 w 974"/>
                <a:gd name="T41" fmla="*/ 92 h 440"/>
                <a:gd name="T42" fmla="*/ 961 w 974"/>
                <a:gd name="T43" fmla="*/ 141 h 440"/>
                <a:gd name="T44" fmla="*/ 968 w 974"/>
                <a:gd name="T45" fmla="*/ 164 h 440"/>
                <a:gd name="T46" fmla="*/ 965 w 974"/>
                <a:gd name="T47" fmla="*/ 195 h 440"/>
                <a:gd name="T48" fmla="*/ 974 w 974"/>
                <a:gd name="T49" fmla="*/ 233 h 440"/>
                <a:gd name="T50" fmla="*/ 963 w 974"/>
                <a:gd name="T51" fmla="*/ 262 h 440"/>
                <a:gd name="T52" fmla="*/ 957 w 974"/>
                <a:gd name="T53" fmla="*/ 308 h 440"/>
                <a:gd name="T54" fmla="*/ 926 w 974"/>
                <a:gd name="T55" fmla="*/ 361 h 440"/>
                <a:gd name="T56" fmla="*/ 910 w 974"/>
                <a:gd name="T57" fmla="*/ 378 h 440"/>
                <a:gd name="T58" fmla="*/ 870 w 974"/>
                <a:gd name="T59" fmla="*/ 400 h 440"/>
                <a:gd name="T60" fmla="*/ 843 w 974"/>
                <a:gd name="T61" fmla="*/ 414 h 440"/>
                <a:gd name="T62" fmla="*/ 802 w 974"/>
                <a:gd name="T63" fmla="*/ 436 h 440"/>
                <a:gd name="T64" fmla="*/ 764 w 974"/>
                <a:gd name="T65" fmla="*/ 440 h 440"/>
                <a:gd name="T66" fmla="*/ 718 w 974"/>
                <a:gd name="T67" fmla="*/ 432 h 440"/>
                <a:gd name="T68" fmla="*/ 688 w 974"/>
                <a:gd name="T69" fmla="*/ 432 h 440"/>
                <a:gd name="T70" fmla="*/ 642 w 974"/>
                <a:gd name="T71" fmla="*/ 440 h 440"/>
                <a:gd name="T72" fmla="*/ 581 w 974"/>
                <a:gd name="T73" fmla="*/ 440 h 440"/>
                <a:gd name="T74" fmla="*/ 558 w 974"/>
                <a:gd name="T75" fmla="*/ 440 h 440"/>
                <a:gd name="T76" fmla="*/ 513 w 974"/>
                <a:gd name="T77" fmla="*/ 432 h 440"/>
                <a:gd name="T78" fmla="*/ 482 w 974"/>
                <a:gd name="T79" fmla="*/ 432 h 440"/>
                <a:gd name="T80" fmla="*/ 437 w 974"/>
                <a:gd name="T81" fmla="*/ 440 h 440"/>
                <a:gd name="T82" fmla="*/ 376 w 974"/>
                <a:gd name="T83" fmla="*/ 440 h 440"/>
                <a:gd name="T84" fmla="*/ 353 w 974"/>
                <a:gd name="T85" fmla="*/ 440 h 440"/>
                <a:gd name="T86" fmla="*/ 307 w 974"/>
                <a:gd name="T87" fmla="*/ 432 h 440"/>
                <a:gd name="T88" fmla="*/ 277 w 974"/>
                <a:gd name="T89" fmla="*/ 432 h 440"/>
                <a:gd name="T90" fmla="*/ 231 w 974"/>
                <a:gd name="T91" fmla="*/ 440 h 440"/>
                <a:gd name="T92" fmla="*/ 170 w 974"/>
                <a:gd name="T93" fmla="*/ 435 h 440"/>
                <a:gd name="T94" fmla="*/ 147 w 974"/>
                <a:gd name="T95" fmla="*/ 429 h 440"/>
                <a:gd name="T96" fmla="*/ 109 w 974"/>
                <a:gd name="T97" fmla="*/ 403 h 440"/>
                <a:gd name="T98" fmla="*/ 85 w 974"/>
                <a:gd name="T99" fmla="*/ 386 h 440"/>
                <a:gd name="T100" fmla="*/ 47 w 974"/>
                <a:gd name="T101" fmla="*/ 359 h 440"/>
                <a:gd name="T102" fmla="*/ 16 w 974"/>
                <a:gd name="T103" fmla="*/ 306 h 440"/>
                <a:gd name="T104" fmla="*/ 16 w 974"/>
                <a:gd name="T105" fmla="*/ 282 h 440"/>
                <a:gd name="T106" fmla="*/ 10 w 974"/>
                <a:gd name="T107" fmla="*/ 253 h 440"/>
                <a:gd name="T108" fmla="*/ 0 w 974"/>
                <a:gd name="T109" fmla="*/ 215 h 440"/>
                <a:gd name="T110" fmla="*/ 10 w 974"/>
                <a:gd name="T111" fmla="*/ 186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74" h="440">
                  <a:moveTo>
                    <a:pt x="149" y="10"/>
                  </a:moveTo>
                  <a:cubicBezTo>
                    <a:pt x="149" y="10"/>
                    <a:pt x="149" y="10"/>
                    <a:pt x="149" y="10"/>
                  </a:cubicBezTo>
                  <a:cubicBezTo>
                    <a:pt x="151" y="18"/>
                    <a:pt x="151" y="18"/>
                    <a:pt x="151" y="18"/>
                  </a:cubicBezTo>
                  <a:cubicBezTo>
                    <a:pt x="152" y="18"/>
                    <a:pt x="152" y="18"/>
                    <a:pt x="152" y="18"/>
                  </a:cubicBezTo>
                  <a:cubicBezTo>
                    <a:pt x="149" y="10"/>
                    <a:pt x="149" y="10"/>
                    <a:pt x="149" y="10"/>
                  </a:cubicBezTo>
                  <a:moveTo>
                    <a:pt x="172" y="4"/>
                  </a:moveTo>
                  <a:cubicBezTo>
                    <a:pt x="167" y="5"/>
                    <a:pt x="162" y="7"/>
                    <a:pt x="157" y="8"/>
                  </a:cubicBezTo>
                  <a:cubicBezTo>
                    <a:pt x="159" y="15"/>
                    <a:pt x="159" y="15"/>
                    <a:pt x="159" y="15"/>
                  </a:cubicBezTo>
                  <a:cubicBezTo>
                    <a:pt x="164" y="14"/>
                    <a:pt x="169" y="13"/>
                    <a:pt x="173" y="12"/>
                  </a:cubicBezTo>
                  <a:cubicBezTo>
                    <a:pt x="172" y="4"/>
                    <a:pt x="172" y="4"/>
                    <a:pt x="172" y="4"/>
                  </a:cubicBezTo>
                  <a:moveTo>
                    <a:pt x="195" y="1"/>
                  </a:moveTo>
                  <a:cubicBezTo>
                    <a:pt x="190" y="1"/>
                    <a:pt x="185" y="2"/>
                    <a:pt x="180" y="3"/>
                  </a:cubicBezTo>
                  <a:cubicBezTo>
                    <a:pt x="181" y="11"/>
                    <a:pt x="181" y="11"/>
                    <a:pt x="181" y="11"/>
                  </a:cubicBezTo>
                  <a:cubicBezTo>
                    <a:pt x="186" y="10"/>
                    <a:pt x="191" y="9"/>
                    <a:pt x="196" y="9"/>
                  </a:cubicBezTo>
                  <a:cubicBezTo>
                    <a:pt x="195" y="1"/>
                    <a:pt x="195" y="1"/>
                    <a:pt x="195" y="1"/>
                  </a:cubicBezTo>
                  <a:moveTo>
                    <a:pt x="218" y="0"/>
                  </a:moveTo>
                  <a:cubicBezTo>
                    <a:pt x="214" y="0"/>
                    <a:pt x="214" y="0"/>
                    <a:pt x="214" y="0"/>
                  </a:cubicBezTo>
                  <a:cubicBezTo>
                    <a:pt x="210" y="0"/>
                    <a:pt x="206" y="0"/>
                    <a:pt x="203" y="0"/>
                  </a:cubicBezTo>
                  <a:cubicBezTo>
                    <a:pt x="203" y="8"/>
                    <a:pt x="203" y="8"/>
                    <a:pt x="203" y="8"/>
                  </a:cubicBezTo>
                  <a:cubicBezTo>
                    <a:pt x="207" y="8"/>
                    <a:pt x="210" y="8"/>
                    <a:pt x="214" y="8"/>
                  </a:cubicBezTo>
                  <a:cubicBezTo>
                    <a:pt x="218" y="8"/>
                    <a:pt x="218" y="8"/>
                    <a:pt x="218" y="8"/>
                  </a:cubicBezTo>
                  <a:cubicBezTo>
                    <a:pt x="218" y="0"/>
                    <a:pt x="218" y="0"/>
                    <a:pt x="218" y="0"/>
                  </a:cubicBezTo>
                  <a:cubicBezTo>
                    <a:pt x="218" y="0"/>
                    <a:pt x="218" y="0"/>
                    <a:pt x="218" y="0"/>
                  </a:cubicBezTo>
                  <a:moveTo>
                    <a:pt x="241" y="0"/>
                  </a:moveTo>
                  <a:cubicBezTo>
                    <a:pt x="226" y="0"/>
                    <a:pt x="226" y="0"/>
                    <a:pt x="226" y="0"/>
                  </a:cubicBezTo>
                  <a:cubicBezTo>
                    <a:pt x="226" y="8"/>
                    <a:pt x="226" y="8"/>
                    <a:pt x="226" y="8"/>
                  </a:cubicBezTo>
                  <a:cubicBezTo>
                    <a:pt x="241" y="8"/>
                    <a:pt x="241" y="8"/>
                    <a:pt x="241" y="8"/>
                  </a:cubicBezTo>
                  <a:cubicBezTo>
                    <a:pt x="241" y="0"/>
                    <a:pt x="241" y="0"/>
                    <a:pt x="241" y="0"/>
                  </a:cubicBezTo>
                  <a:moveTo>
                    <a:pt x="264" y="0"/>
                  </a:moveTo>
                  <a:cubicBezTo>
                    <a:pt x="248" y="0"/>
                    <a:pt x="248" y="0"/>
                    <a:pt x="248" y="0"/>
                  </a:cubicBezTo>
                  <a:cubicBezTo>
                    <a:pt x="248" y="8"/>
                    <a:pt x="248" y="8"/>
                    <a:pt x="248" y="8"/>
                  </a:cubicBezTo>
                  <a:cubicBezTo>
                    <a:pt x="264" y="8"/>
                    <a:pt x="264" y="8"/>
                    <a:pt x="264" y="8"/>
                  </a:cubicBezTo>
                  <a:cubicBezTo>
                    <a:pt x="264" y="0"/>
                    <a:pt x="264" y="0"/>
                    <a:pt x="264" y="0"/>
                  </a:cubicBezTo>
                  <a:moveTo>
                    <a:pt x="287" y="0"/>
                  </a:moveTo>
                  <a:cubicBezTo>
                    <a:pt x="271" y="0"/>
                    <a:pt x="271" y="0"/>
                    <a:pt x="271" y="0"/>
                  </a:cubicBezTo>
                  <a:cubicBezTo>
                    <a:pt x="271" y="8"/>
                    <a:pt x="271" y="8"/>
                    <a:pt x="271" y="8"/>
                  </a:cubicBezTo>
                  <a:cubicBezTo>
                    <a:pt x="287" y="8"/>
                    <a:pt x="287" y="8"/>
                    <a:pt x="287" y="8"/>
                  </a:cubicBezTo>
                  <a:cubicBezTo>
                    <a:pt x="287" y="0"/>
                    <a:pt x="287" y="0"/>
                    <a:pt x="287" y="0"/>
                  </a:cubicBezTo>
                  <a:moveTo>
                    <a:pt x="309" y="0"/>
                  </a:moveTo>
                  <a:cubicBezTo>
                    <a:pt x="294" y="0"/>
                    <a:pt x="294" y="0"/>
                    <a:pt x="294" y="0"/>
                  </a:cubicBezTo>
                  <a:cubicBezTo>
                    <a:pt x="294" y="8"/>
                    <a:pt x="294" y="8"/>
                    <a:pt x="294" y="8"/>
                  </a:cubicBezTo>
                  <a:cubicBezTo>
                    <a:pt x="309" y="8"/>
                    <a:pt x="309" y="8"/>
                    <a:pt x="309" y="8"/>
                  </a:cubicBezTo>
                  <a:cubicBezTo>
                    <a:pt x="309" y="0"/>
                    <a:pt x="309" y="0"/>
                    <a:pt x="309" y="0"/>
                  </a:cubicBezTo>
                  <a:moveTo>
                    <a:pt x="332" y="0"/>
                  </a:moveTo>
                  <a:cubicBezTo>
                    <a:pt x="317" y="0"/>
                    <a:pt x="317" y="0"/>
                    <a:pt x="317" y="0"/>
                  </a:cubicBezTo>
                  <a:cubicBezTo>
                    <a:pt x="317" y="8"/>
                    <a:pt x="317" y="8"/>
                    <a:pt x="317" y="8"/>
                  </a:cubicBezTo>
                  <a:cubicBezTo>
                    <a:pt x="332" y="8"/>
                    <a:pt x="332" y="8"/>
                    <a:pt x="332" y="8"/>
                  </a:cubicBezTo>
                  <a:cubicBezTo>
                    <a:pt x="332" y="0"/>
                    <a:pt x="332" y="0"/>
                    <a:pt x="332" y="0"/>
                  </a:cubicBezTo>
                  <a:moveTo>
                    <a:pt x="355" y="0"/>
                  </a:moveTo>
                  <a:cubicBezTo>
                    <a:pt x="340" y="0"/>
                    <a:pt x="340" y="0"/>
                    <a:pt x="340" y="0"/>
                  </a:cubicBezTo>
                  <a:cubicBezTo>
                    <a:pt x="340" y="8"/>
                    <a:pt x="340" y="8"/>
                    <a:pt x="340" y="8"/>
                  </a:cubicBezTo>
                  <a:cubicBezTo>
                    <a:pt x="355" y="8"/>
                    <a:pt x="355" y="8"/>
                    <a:pt x="355" y="8"/>
                  </a:cubicBezTo>
                  <a:cubicBezTo>
                    <a:pt x="355" y="0"/>
                    <a:pt x="355" y="0"/>
                    <a:pt x="355" y="0"/>
                  </a:cubicBezTo>
                  <a:moveTo>
                    <a:pt x="378" y="0"/>
                  </a:moveTo>
                  <a:cubicBezTo>
                    <a:pt x="363" y="0"/>
                    <a:pt x="363" y="0"/>
                    <a:pt x="363" y="0"/>
                  </a:cubicBezTo>
                  <a:cubicBezTo>
                    <a:pt x="363" y="8"/>
                    <a:pt x="363" y="8"/>
                    <a:pt x="363" y="8"/>
                  </a:cubicBezTo>
                  <a:cubicBezTo>
                    <a:pt x="378" y="8"/>
                    <a:pt x="378" y="8"/>
                    <a:pt x="378" y="8"/>
                  </a:cubicBezTo>
                  <a:cubicBezTo>
                    <a:pt x="378" y="0"/>
                    <a:pt x="378" y="0"/>
                    <a:pt x="378" y="0"/>
                  </a:cubicBezTo>
                  <a:moveTo>
                    <a:pt x="401" y="0"/>
                  </a:moveTo>
                  <a:cubicBezTo>
                    <a:pt x="385" y="0"/>
                    <a:pt x="385" y="0"/>
                    <a:pt x="385" y="0"/>
                  </a:cubicBezTo>
                  <a:cubicBezTo>
                    <a:pt x="385" y="8"/>
                    <a:pt x="385" y="8"/>
                    <a:pt x="385" y="8"/>
                  </a:cubicBezTo>
                  <a:cubicBezTo>
                    <a:pt x="401" y="8"/>
                    <a:pt x="401" y="8"/>
                    <a:pt x="401" y="8"/>
                  </a:cubicBezTo>
                  <a:cubicBezTo>
                    <a:pt x="401" y="0"/>
                    <a:pt x="401" y="0"/>
                    <a:pt x="401" y="0"/>
                  </a:cubicBezTo>
                  <a:moveTo>
                    <a:pt x="423" y="0"/>
                  </a:moveTo>
                  <a:cubicBezTo>
                    <a:pt x="408" y="0"/>
                    <a:pt x="408" y="0"/>
                    <a:pt x="408" y="0"/>
                  </a:cubicBezTo>
                  <a:cubicBezTo>
                    <a:pt x="408" y="8"/>
                    <a:pt x="408" y="8"/>
                    <a:pt x="408" y="8"/>
                  </a:cubicBezTo>
                  <a:cubicBezTo>
                    <a:pt x="423" y="8"/>
                    <a:pt x="423" y="8"/>
                    <a:pt x="423" y="8"/>
                  </a:cubicBezTo>
                  <a:cubicBezTo>
                    <a:pt x="423" y="0"/>
                    <a:pt x="423" y="0"/>
                    <a:pt x="423" y="0"/>
                  </a:cubicBezTo>
                  <a:moveTo>
                    <a:pt x="446" y="0"/>
                  </a:moveTo>
                  <a:cubicBezTo>
                    <a:pt x="431" y="0"/>
                    <a:pt x="431" y="0"/>
                    <a:pt x="431" y="0"/>
                  </a:cubicBezTo>
                  <a:cubicBezTo>
                    <a:pt x="431" y="8"/>
                    <a:pt x="431" y="8"/>
                    <a:pt x="431" y="8"/>
                  </a:cubicBezTo>
                  <a:cubicBezTo>
                    <a:pt x="446" y="8"/>
                    <a:pt x="446" y="8"/>
                    <a:pt x="446" y="8"/>
                  </a:cubicBezTo>
                  <a:cubicBezTo>
                    <a:pt x="446" y="0"/>
                    <a:pt x="446" y="0"/>
                    <a:pt x="446" y="0"/>
                  </a:cubicBezTo>
                  <a:moveTo>
                    <a:pt x="469" y="0"/>
                  </a:moveTo>
                  <a:cubicBezTo>
                    <a:pt x="454" y="0"/>
                    <a:pt x="454" y="0"/>
                    <a:pt x="454" y="0"/>
                  </a:cubicBezTo>
                  <a:cubicBezTo>
                    <a:pt x="454" y="8"/>
                    <a:pt x="454" y="8"/>
                    <a:pt x="454" y="8"/>
                  </a:cubicBezTo>
                  <a:cubicBezTo>
                    <a:pt x="469" y="8"/>
                    <a:pt x="469" y="8"/>
                    <a:pt x="469" y="8"/>
                  </a:cubicBezTo>
                  <a:cubicBezTo>
                    <a:pt x="469" y="0"/>
                    <a:pt x="469" y="0"/>
                    <a:pt x="469" y="0"/>
                  </a:cubicBezTo>
                  <a:moveTo>
                    <a:pt x="492" y="0"/>
                  </a:moveTo>
                  <a:cubicBezTo>
                    <a:pt x="477" y="0"/>
                    <a:pt x="477" y="0"/>
                    <a:pt x="477" y="0"/>
                  </a:cubicBezTo>
                  <a:cubicBezTo>
                    <a:pt x="477" y="8"/>
                    <a:pt x="477" y="8"/>
                    <a:pt x="477" y="8"/>
                  </a:cubicBezTo>
                  <a:cubicBezTo>
                    <a:pt x="492" y="8"/>
                    <a:pt x="492" y="8"/>
                    <a:pt x="492" y="8"/>
                  </a:cubicBezTo>
                  <a:cubicBezTo>
                    <a:pt x="492" y="0"/>
                    <a:pt x="492" y="0"/>
                    <a:pt x="492" y="0"/>
                  </a:cubicBezTo>
                  <a:moveTo>
                    <a:pt x="515" y="0"/>
                  </a:moveTo>
                  <a:cubicBezTo>
                    <a:pt x="500" y="0"/>
                    <a:pt x="500" y="0"/>
                    <a:pt x="500" y="0"/>
                  </a:cubicBezTo>
                  <a:cubicBezTo>
                    <a:pt x="500" y="8"/>
                    <a:pt x="500" y="8"/>
                    <a:pt x="500" y="8"/>
                  </a:cubicBezTo>
                  <a:cubicBezTo>
                    <a:pt x="515" y="8"/>
                    <a:pt x="515" y="8"/>
                    <a:pt x="515" y="8"/>
                  </a:cubicBezTo>
                  <a:cubicBezTo>
                    <a:pt x="515" y="0"/>
                    <a:pt x="515" y="0"/>
                    <a:pt x="515" y="0"/>
                  </a:cubicBezTo>
                  <a:moveTo>
                    <a:pt x="538" y="0"/>
                  </a:moveTo>
                  <a:cubicBezTo>
                    <a:pt x="522" y="0"/>
                    <a:pt x="522" y="0"/>
                    <a:pt x="522" y="0"/>
                  </a:cubicBezTo>
                  <a:cubicBezTo>
                    <a:pt x="522" y="8"/>
                    <a:pt x="522" y="8"/>
                    <a:pt x="522" y="8"/>
                  </a:cubicBezTo>
                  <a:cubicBezTo>
                    <a:pt x="538" y="8"/>
                    <a:pt x="538" y="8"/>
                    <a:pt x="538" y="8"/>
                  </a:cubicBezTo>
                  <a:cubicBezTo>
                    <a:pt x="538" y="0"/>
                    <a:pt x="538" y="0"/>
                    <a:pt x="538" y="0"/>
                  </a:cubicBezTo>
                  <a:moveTo>
                    <a:pt x="560" y="0"/>
                  </a:moveTo>
                  <a:cubicBezTo>
                    <a:pt x="545" y="0"/>
                    <a:pt x="545" y="0"/>
                    <a:pt x="545" y="0"/>
                  </a:cubicBezTo>
                  <a:cubicBezTo>
                    <a:pt x="545" y="8"/>
                    <a:pt x="545" y="8"/>
                    <a:pt x="545" y="8"/>
                  </a:cubicBezTo>
                  <a:cubicBezTo>
                    <a:pt x="560" y="8"/>
                    <a:pt x="560" y="8"/>
                    <a:pt x="560" y="8"/>
                  </a:cubicBezTo>
                  <a:cubicBezTo>
                    <a:pt x="560" y="0"/>
                    <a:pt x="560" y="0"/>
                    <a:pt x="560" y="0"/>
                  </a:cubicBezTo>
                  <a:moveTo>
                    <a:pt x="583" y="0"/>
                  </a:moveTo>
                  <a:cubicBezTo>
                    <a:pt x="568" y="0"/>
                    <a:pt x="568" y="0"/>
                    <a:pt x="568" y="0"/>
                  </a:cubicBezTo>
                  <a:cubicBezTo>
                    <a:pt x="568" y="8"/>
                    <a:pt x="568" y="8"/>
                    <a:pt x="568" y="8"/>
                  </a:cubicBezTo>
                  <a:cubicBezTo>
                    <a:pt x="583" y="8"/>
                    <a:pt x="583" y="8"/>
                    <a:pt x="583" y="8"/>
                  </a:cubicBezTo>
                  <a:cubicBezTo>
                    <a:pt x="583" y="0"/>
                    <a:pt x="583" y="0"/>
                    <a:pt x="583" y="0"/>
                  </a:cubicBezTo>
                  <a:moveTo>
                    <a:pt x="606" y="0"/>
                  </a:moveTo>
                  <a:cubicBezTo>
                    <a:pt x="591" y="0"/>
                    <a:pt x="591" y="0"/>
                    <a:pt x="591" y="0"/>
                  </a:cubicBezTo>
                  <a:cubicBezTo>
                    <a:pt x="591" y="8"/>
                    <a:pt x="591" y="8"/>
                    <a:pt x="591" y="8"/>
                  </a:cubicBezTo>
                  <a:cubicBezTo>
                    <a:pt x="606" y="8"/>
                    <a:pt x="606" y="8"/>
                    <a:pt x="606" y="8"/>
                  </a:cubicBezTo>
                  <a:cubicBezTo>
                    <a:pt x="606" y="0"/>
                    <a:pt x="606" y="0"/>
                    <a:pt x="606" y="0"/>
                  </a:cubicBezTo>
                  <a:moveTo>
                    <a:pt x="629" y="0"/>
                  </a:moveTo>
                  <a:cubicBezTo>
                    <a:pt x="614" y="0"/>
                    <a:pt x="614" y="0"/>
                    <a:pt x="614" y="0"/>
                  </a:cubicBezTo>
                  <a:cubicBezTo>
                    <a:pt x="614" y="8"/>
                    <a:pt x="614" y="8"/>
                    <a:pt x="614" y="8"/>
                  </a:cubicBezTo>
                  <a:cubicBezTo>
                    <a:pt x="629" y="8"/>
                    <a:pt x="629" y="8"/>
                    <a:pt x="629" y="8"/>
                  </a:cubicBezTo>
                  <a:cubicBezTo>
                    <a:pt x="629" y="0"/>
                    <a:pt x="629" y="0"/>
                    <a:pt x="629" y="0"/>
                  </a:cubicBezTo>
                  <a:moveTo>
                    <a:pt x="652" y="0"/>
                  </a:moveTo>
                  <a:cubicBezTo>
                    <a:pt x="637" y="0"/>
                    <a:pt x="637" y="0"/>
                    <a:pt x="637" y="0"/>
                  </a:cubicBezTo>
                  <a:cubicBezTo>
                    <a:pt x="637" y="8"/>
                    <a:pt x="637" y="8"/>
                    <a:pt x="637" y="8"/>
                  </a:cubicBezTo>
                  <a:cubicBezTo>
                    <a:pt x="652" y="8"/>
                    <a:pt x="652" y="8"/>
                    <a:pt x="652" y="8"/>
                  </a:cubicBezTo>
                  <a:cubicBezTo>
                    <a:pt x="652" y="0"/>
                    <a:pt x="652" y="0"/>
                    <a:pt x="652" y="0"/>
                  </a:cubicBezTo>
                  <a:moveTo>
                    <a:pt x="675" y="0"/>
                  </a:moveTo>
                  <a:cubicBezTo>
                    <a:pt x="659" y="0"/>
                    <a:pt x="659" y="0"/>
                    <a:pt x="659" y="0"/>
                  </a:cubicBezTo>
                  <a:cubicBezTo>
                    <a:pt x="659" y="8"/>
                    <a:pt x="659" y="8"/>
                    <a:pt x="659" y="8"/>
                  </a:cubicBezTo>
                  <a:cubicBezTo>
                    <a:pt x="675" y="8"/>
                    <a:pt x="675" y="8"/>
                    <a:pt x="675" y="8"/>
                  </a:cubicBezTo>
                  <a:cubicBezTo>
                    <a:pt x="675" y="0"/>
                    <a:pt x="675" y="0"/>
                    <a:pt x="675" y="0"/>
                  </a:cubicBezTo>
                  <a:moveTo>
                    <a:pt x="697" y="0"/>
                  </a:moveTo>
                  <a:cubicBezTo>
                    <a:pt x="682" y="0"/>
                    <a:pt x="682" y="0"/>
                    <a:pt x="682" y="0"/>
                  </a:cubicBezTo>
                  <a:cubicBezTo>
                    <a:pt x="682" y="8"/>
                    <a:pt x="682" y="8"/>
                    <a:pt x="682" y="8"/>
                  </a:cubicBezTo>
                  <a:cubicBezTo>
                    <a:pt x="697" y="8"/>
                    <a:pt x="697" y="8"/>
                    <a:pt x="697" y="8"/>
                  </a:cubicBezTo>
                  <a:cubicBezTo>
                    <a:pt x="697" y="0"/>
                    <a:pt x="697" y="0"/>
                    <a:pt x="697" y="0"/>
                  </a:cubicBezTo>
                  <a:moveTo>
                    <a:pt x="720" y="0"/>
                  </a:moveTo>
                  <a:cubicBezTo>
                    <a:pt x="705" y="0"/>
                    <a:pt x="705" y="0"/>
                    <a:pt x="705" y="0"/>
                  </a:cubicBezTo>
                  <a:cubicBezTo>
                    <a:pt x="705" y="8"/>
                    <a:pt x="705" y="8"/>
                    <a:pt x="705" y="8"/>
                  </a:cubicBezTo>
                  <a:cubicBezTo>
                    <a:pt x="720" y="8"/>
                    <a:pt x="720" y="8"/>
                    <a:pt x="720" y="8"/>
                  </a:cubicBezTo>
                  <a:cubicBezTo>
                    <a:pt x="720" y="0"/>
                    <a:pt x="720" y="0"/>
                    <a:pt x="720" y="0"/>
                  </a:cubicBezTo>
                  <a:moveTo>
                    <a:pt x="743" y="0"/>
                  </a:moveTo>
                  <a:cubicBezTo>
                    <a:pt x="728" y="0"/>
                    <a:pt x="728" y="0"/>
                    <a:pt x="728" y="0"/>
                  </a:cubicBezTo>
                  <a:cubicBezTo>
                    <a:pt x="728" y="8"/>
                    <a:pt x="728" y="8"/>
                    <a:pt x="728" y="8"/>
                  </a:cubicBezTo>
                  <a:cubicBezTo>
                    <a:pt x="743" y="8"/>
                    <a:pt x="743" y="8"/>
                    <a:pt x="743" y="8"/>
                  </a:cubicBezTo>
                  <a:cubicBezTo>
                    <a:pt x="743" y="0"/>
                    <a:pt x="743" y="0"/>
                    <a:pt x="743" y="0"/>
                  </a:cubicBezTo>
                  <a:moveTo>
                    <a:pt x="766" y="0"/>
                  </a:moveTo>
                  <a:cubicBezTo>
                    <a:pt x="764" y="0"/>
                    <a:pt x="762" y="0"/>
                    <a:pt x="760" y="0"/>
                  </a:cubicBezTo>
                  <a:cubicBezTo>
                    <a:pt x="751" y="0"/>
                    <a:pt x="751" y="0"/>
                    <a:pt x="751" y="0"/>
                  </a:cubicBezTo>
                  <a:cubicBezTo>
                    <a:pt x="751" y="8"/>
                    <a:pt x="751" y="8"/>
                    <a:pt x="751" y="8"/>
                  </a:cubicBezTo>
                  <a:cubicBezTo>
                    <a:pt x="760" y="8"/>
                    <a:pt x="760" y="8"/>
                    <a:pt x="760" y="8"/>
                  </a:cubicBezTo>
                  <a:cubicBezTo>
                    <a:pt x="762" y="8"/>
                    <a:pt x="764" y="8"/>
                    <a:pt x="766" y="8"/>
                  </a:cubicBezTo>
                  <a:cubicBezTo>
                    <a:pt x="766" y="0"/>
                    <a:pt x="766" y="0"/>
                    <a:pt x="766" y="0"/>
                  </a:cubicBezTo>
                  <a:moveTo>
                    <a:pt x="789" y="2"/>
                  </a:moveTo>
                  <a:cubicBezTo>
                    <a:pt x="784" y="1"/>
                    <a:pt x="779" y="1"/>
                    <a:pt x="774" y="1"/>
                  </a:cubicBezTo>
                  <a:cubicBezTo>
                    <a:pt x="773" y="8"/>
                    <a:pt x="773" y="8"/>
                    <a:pt x="773" y="8"/>
                  </a:cubicBezTo>
                  <a:cubicBezTo>
                    <a:pt x="778" y="9"/>
                    <a:pt x="783" y="9"/>
                    <a:pt x="788" y="10"/>
                  </a:cubicBezTo>
                  <a:cubicBezTo>
                    <a:pt x="789" y="2"/>
                    <a:pt x="789" y="2"/>
                    <a:pt x="789" y="2"/>
                  </a:cubicBezTo>
                  <a:moveTo>
                    <a:pt x="812" y="7"/>
                  </a:moveTo>
                  <a:cubicBezTo>
                    <a:pt x="807" y="5"/>
                    <a:pt x="802" y="4"/>
                    <a:pt x="797" y="3"/>
                  </a:cubicBezTo>
                  <a:cubicBezTo>
                    <a:pt x="795" y="11"/>
                    <a:pt x="795" y="11"/>
                    <a:pt x="795" y="11"/>
                  </a:cubicBezTo>
                  <a:cubicBezTo>
                    <a:pt x="800" y="12"/>
                    <a:pt x="805" y="13"/>
                    <a:pt x="810" y="14"/>
                  </a:cubicBezTo>
                  <a:cubicBezTo>
                    <a:pt x="812" y="7"/>
                    <a:pt x="812" y="7"/>
                    <a:pt x="812" y="7"/>
                  </a:cubicBezTo>
                  <a:moveTo>
                    <a:pt x="834" y="13"/>
                  </a:moveTo>
                  <a:cubicBezTo>
                    <a:pt x="829" y="12"/>
                    <a:pt x="824" y="10"/>
                    <a:pt x="819" y="9"/>
                  </a:cubicBezTo>
                  <a:cubicBezTo>
                    <a:pt x="817" y="16"/>
                    <a:pt x="817" y="16"/>
                    <a:pt x="817" y="16"/>
                  </a:cubicBezTo>
                  <a:cubicBezTo>
                    <a:pt x="822" y="17"/>
                    <a:pt x="827" y="19"/>
                    <a:pt x="831" y="21"/>
                  </a:cubicBezTo>
                  <a:cubicBezTo>
                    <a:pt x="834" y="13"/>
                    <a:pt x="834" y="13"/>
                    <a:pt x="834" y="13"/>
                  </a:cubicBezTo>
                  <a:cubicBezTo>
                    <a:pt x="834" y="13"/>
                    <a:pt x="834" y="13"/>
                    <a:pt x="834" y="13"/>
                  </a:cubicBezTo>
                  <a:moveTo>
                    <a:pt x="855" y="23"/>
                  </a:moveTo>
                  <a:cubicBezTo>
                    <a:pt x="851" y="20"/>
                    <a:pt x="846" y="18"/>
                    <a:pt x="841" y="16"/>
                  </a:cubicBezTo>
                  <a:cubicBezTo>
                    <a:pt x="838" y="23"/>
                    <a:pt x="838" y="23"/>
                    <a:pt x="838" y="23"/>
                  </a:cubicBezTo>
                  <a:cubicBezTo>
                    <a:pt x="843" y="25"/>
                    <a:pt x="847" y="27"/>
                    <a:pt x="852" y="30"/>
                  </a:cubicBezTo>
                  <a:cubicBezTo>
                    <a:pt x="855" y="23"/>
                    <a:pt x="855" y="23"/>
                    <a:pt x="855" y="23"/>
                  </a:cubicBezTo>
                  <a:moveTo>
                    <a:pt x="876" y="34"/>
                  </a:moveTo>
                  <a:cubicBezTo>
                    <a:pt x="871" y="31"/>
                    <a:pt x="867" y="29"/>
                    <a:pt x="862" y="26"/>
                  </a:cubicBezTo>
                  <a:cubicBezTo>
                    <a:pt x="858" y="33"/>
                    <a:pt x="858" y="33"/>
                    <a:pt x="858" y="33"/>
                  </a:cubicBezTo>
                  <a:cubicBezTo>
                    <a:pt x="863" y="35"/>
                    <a:pt x="867" y="38"/>
                    <a:pt x="871" y="41"/>
                  </a:cubicBezTo>
                  <a:cubicBezTo>
                    <a:pt x="876" y="34"/>
                    <a:pt x="876" y="34"/>
                    <a:pt x="876" y="34"/>
                  </a:cubicBezTo>
                  <a:moveTo>
                    <a:pt x="894" y="48"/>
                  </a:moveTo>
                  <a:cubicBezTo>
                    <a:pt x="890" y="45"/>
                    <a:pt x="886" y="42"/>
                    <a:pt x="882" y="39"/>
                  </a:cubicBezTo>
                  <a:cubicBezTo>
                    <a:pt x="878" y="45"/>
                    <a:pt x="878" y="45"/>
                    <a:pt x="878" y="45"/>
                  </a:cubicBezTo>
                  <a:cubicBezTo>
                    <a:pt x="882" y="48"/>
                    <a:pt x="886" y="51"/>
                    <a:pt x="889" y="54"/>
                  </a:cubicBezTo>
                  <a:cubicBezTo>
                    <a:pt x="894" y="48"/>
                    <a:pt x="894" y="48"/>
                    <a:pt x="894" y="48"/>
                  </a:cubicBezTo>
                  <a:moveTo>
                    <a:pt x="912" y="63"/>
                  </a:moveTo>
                  <a:cubicBezTo>
                    <a:pt x="908" y="60"/>
                    <a:pt x="904" y="56"/>
                    <a:pt x="900" y="53"/>
                  </a:cubicBezTo>
                  <a:cubicBezTo>
                    <a:pt x="895" y="59"/>
                    <a:pt x="895" y="59"/>
                    <a:pt x="895" y="59"/>
                  </a:cubicBezTo>
                  <a:cubicBezTo>
                    <a:pt x="899" y="62"/>
                    <a:pt x="903" y="65"/>
                    <a:pt x="906" y="69"/>
                  </a:cubicBezTo>
                  <a:cubicBezTo>
                    <a:pt x="912" y="63"/>
                    <a:pt x="912" y="63"/>
                    <a:pt x="912" y="63"/>
                  </a:cubicBezTo>
                  <a:moveTo>
                    <a:pt x="927" y="81"/>
                  </a:moveTo>
                  <a:cubicBezTo>
                    <a:pt x="924" y="77"/>
                    <a:pt x="920" y="73"/>
                    <a:pt x="917" y="69"/>
                  </a:cubicBezTo>
                  <a:cubicBezTo>
                    <a:pt x="911" y="74"/>
                    <a:pt x="911" y="74"/>
                    <a:pt x="911" y="74"/>
                  </a:cubicBezTo>
                  <a:cubicBezTo>
                    <a:pt x="915" y="78"/>
                    <a:pt x="918" y="82"/>
                    <a:pt x="921" y="86"/>
                  </a:cubicBezTo>
                  <a:cubicBezTo>
                    <a:pt x="927" y="81"/>
                    <a:pt x="927" y="81"/>
                    <a:pt x="927" y="81"/>
                  </a:cubicBezTo>
                  <a:moveTo>
                    <a:pt x="941" y="100"/>
                  </a:moveTo>
                  <a:cubicBezTo>
                    <a:pt x="938" y="95"/>
                    <a:pt x="935" y="91"/>
                    <a:pt x="932" y="87"/>
                  </a:cubicBezTo>
                  <a:cubicBezTo>
                    <a:pt x="926" y="92"/>
                    <a:pt x="926" y="92"/>
                    <a:pt x="926" y="92"/>
                  </a:cubicBezTo>
                  <a:cubicBezTo>
                    <a:pt x="928" y="96"/>
                    <a:pt x="931" y="100"/>
                    <a:pt x="934" y="104"/>
                  </a:cubicBezTo>
                  <a:cubicBezTo>
                    <a:pt x="941" y="100"/>
                    <a:pt x="941" y="100"/>
                    <a:pt x="941" y="100"/>
                  </a:cubicBezTo>
                  <a:moveTo>
                    <a:pt x="952" y="120"/>
                  </a:moveTo>
                  <a:cubicBezTo>
                    <a:pt x="950" y="115"/>
                    <a:pt x="947" y="111"/>
                    <a:pt x="945" y="106"/>
                  </a:cubicBezTo>
                  <a:cubicBezTo>
                    <a:pt x="938" y="110"/>
                    <a:pt x="938" y="110"/>
                    <a:pt x="938" y="110"/>
                  </a:cubicBezTo>
                  <a:cubicBezTo>
                    <a:pt x="940" y="114"/>
                    <a:pt x="943" y="119"/>
                    <a:pt x="945" y="123"/>
                  </a:cubicBezTo>
                  <a:cubicBezTo>
                    <a:pt x="952" y="120"/>
                    <a:pt x="952" y="120"/>
                    <a:pt x="952" y="120"/>
                  </a:cubicBezTo>
                  <a:cubicBezTo>
                    <a:pt x="952" y="120"/>
                    <a:pt x="952" y="120"/>
                    <a:pt x="952" y="120"/>
                  </a:cubicBezTo>
                  <a:moveTo>
                    <a:pt x="961" y="141"/>
                  </a:moveTo>
                  <a:cubicBezTo>
                    <a:pt x="959" y="136"/>
                    <a:pt x="957" y="132"/>
                    <a:pt x="955" y="127"/>
                  </a:cubicBezTo>
                  <a:cubicBezTo>
                    <a:pt x="948" y="130"/>
                    <a:pt x="948" y="130"/>
                    <a:pt x="948" y="130"/>
                  </a:cubicBezTo>
                  <a:cubicBezTo>
                    <a:pt x="950" y="135"/>
                    <a:pt x="952" y="139"/>
                    <a:pt x="954" y="144"/>
                  </a:cubicBezTo>
                  <a:cubicBezTo>
                    <a:pt x="961" y="141"/>
                    <a:pt x="961" y="141"/>
                    <a:pt x="961" y="141"/>
                  </a:cubicBezTo>
                  <a:moveTo>
                    <a:pt x="968" y="164"/>
                  </a:moveTo>
                  <a:cubicBezTo>
                    <a:pt x="967" y="159"/>
                    <a:pt x="965" y="154"/>
                    <a:pt x="964" y="149"/>
                  </a:cubicBezTo>
                  <a:cubicBezTo>
                    <a:pt x="956" y="151"/>
                    <a:pt x="956" y="151"/>
                    <a:pt x="956" y="151"/>
                  </a:cubicBezTo>
                  <a:cubicBezTo>
                    <a:pt x="958" y="156"/>
                    <a:pt x="959" y="161"/>
                    <a:pt x="960" y="165"/>
                  </a:cubicBezTo>
                  <a:cubicBezTo>
                    <a:pt x="968" y="164"/>
                    <a:pt x="968" y="164"/>
                    <a:pt x="968" y="164"/>
                  </a:cubicBezTo>
                  <a:cubicBezTo>
                    <a:pt x="968" y="164"/>
                    <a:pt x="968" y="164"/>
                    <a:pt x="968" y="164"/>
                  </a:cubicBezTo>
                  <a:moveTo>
                    <a:pt x="972" y="186"/>
                  </a:moveTo>
                  <a:cubicBezTo>
                    <a:pt x="971" y="181"/>
                    <a:pt x="971" y="176"/>
                    <a:pt x="970" y="171"/>
                  </a:cubicBezTo>
                  <a:cubicBezTo>
                    <a:pt x="962" y="173"/>
                    <a:pt x="962" y="173"/>
                    <a:pt x="962" y="173"/>
                  </a:cubicBezTo>
                  <a:cubicBezTo>
                    <a:pt x="963" y="178"/>
                    <a:pt x="964" y="182"/>
                    <a:pt x="964" y="187"/>
                  </a:cubicBezTo>
                  <a:cubicBezTo>
                    <a:pt x="972" y="186"/>
                    <a:pt x="972" y="186"/>
                    <a:pt x="972" y="186"/>
                  </a:cubicBezTo>
                  <a:moveTo>
                    <a:pt x="974" y="210"/>
                  </a:moveTo>
                  <a:cubicBezTo>
                    <a:pt x="974" y="204"/>
                    <a:pt x="973" y="199"/>
                    <a:pt x="973" y="194"/>
                  </a:cubicBezTo>
                  <a:cubicBezTo>
                    <a:pt x="965" y="195"/>
                    <a:pt x="965" y="195"/>
                    <a:pt x="965" y="195"/>
                  </a:cubicBezTo>
                  <a:cubicBezTo>
                    <a:pt x="966" y="200"/>
                    <a:pt x="966" y="205"/>
                    <a:pt x="966" y="210"/>
                  </a:cubicBezTo>
                  <a:cubicBezTo>
                    <a:pt x="974" y="210"/>
                    <a:pt x="974" y="210"/>
                    <a:pt x="974" y="210"/>
                  </a:cubicBezTo>
                  <a:moveTo>
                    <a:pt x="974" y="233"/>
                  </a:moveTo>
                  <a:cubicBezTo>
                    <a:pt x="974" y="230"/>
                    <a:pt x="974" y="228"/>
                    <a:pt x="974" y="226"/>
                  </a:cubicBezTo>
                  <a:cubicBezTo>
                    <a:pt x="974" y="217"/>
                    <a:pt x="974" y="217"/>
                    <a:pt x="974" y="217"/>
                  </a:cubicBezTo>
                  <a:cubicBezTo>
                    <a:pt x="966" y="217"/>
                    <a:pt x="966" y="217"/>
                    <a:pt x="966" y="217"/>
                  </a:cubicBezTo>
                  <a:cubicBezTo>
                    <a:pt x="966" y="226"/>
                    <a:pt x="966" y="226"/>
                    <a:pt x="966" y="226"/>
                  </a:cubicBezTo>
                  <a:cubicBezTo>
                    <a:pt x="966" y="228"/>
                    <a:pt x="966" y="230"/>
                    <a:pt x="966" y="232"/>
                  </a:cubicBezTo>
                  <a:cubicBezTo>
                    <a:pt x="974" y="233"/>
                    <a:pt x="974" y="233"/>
                    <a:pt x="974" y="233"/>
                  </a:cubicBezTo>
                  <a:moveTo>
                    <a:pt x="972" y="256"/>
                  </a:moveTo>
                  <a:cubicBezTo>
                    <a:pt x="973" y="251"/>
                    <a:pt x="973" y="246"/>
                    <a:pt x="973" y="240"/>
                  </a:cubicBezTo>
                  <a:cubicBezTo>
                    <a:pt x="966" y="240"/>
                    <a:pt x="966" y="240"/>
                    <a:pt x="966" y="240"/>
                  </a:cubicBezTo>
                  <a:cubicBezTo>
                    <a:pt x="965" y="245"/>
                    <a:pt x="965" y="250"/>
                    <a:pt x="964" y="255"/>
                  </a:cubicBezTo>
                  <a:cubicBezTo>
                    <a:pt x="972" y="256"/>
                    <a:pt x="972" y="256"/>
                    <a:pt x="972" y="256"/>
                  </a:cubicBezTo>
                  <a:cubicBezTo>
                    <a:pt x="972" y="256"/>
                    <a:pt x="972" y="256"/>
                    <a:pt x="972" y="256"/>
                  </a:cubicBezTo>
                  <a:moveTo>
                    <a:pt x="967" y="279"/>
                  </a:moveTo>
                  <a:cubicBezTo>
                    <a:pt x="969" y="274"/>
                    <a:pt x="970" y="268"/>
                    <a:pt x="971" y="263"/>
                  </a:cubicBezTo>
                  <a:cubicBezTo>
                    <a:pt x="963" y="262"/>
                    <a:pt x="963" y="262"/>
                    <a:pt x="963" y="262"/>
                  </a:cubicBezTo>
                  <a:cubicBezTo>
                    <a:pt x="962" y="267"/>
                    <a:pt x="961" y="272"/>
                    <a:pt x="960" y="277"/>
                  </a:cubicBezTo>
                  <a:cubicBezTo>
                    <a:pt x="967" y="279"/>
                    <a:pt x="967" y="279"/>
                    <a:pt x="967" y="279"/>
                  </a:cubicBezTo>
                  <a:moveTo>
                    <a:pt x="960" y="301"/>
                  </a:moveTo>
                  <a:cubicBezTo>
                    <a:pt x="962" y="296"/>
                    <a:pt x="964" y="291"/>
                    <a:pt x="965" y="286"/>
                  </a:cubicBezTo>
                  <a:cubicBezTo>
                    <a:pt x="958" y="284"/>
                    <a:pt x="958" y="284"/>
                    <a:pt x="958" y="284"/>
                  </a:cubicBezTo>
                  <a:cubicBezTo>
                    <a:pt x="956" y="289"/>
                    <a:pt x="955" y="293"/>
                    <a:pt x="953" y="298"/>
                  </a:cubicBezTo>
                  <a:cubicBezTo>
                    <a:pt x="960" y="301"/>
                    <a:pt x="960" y="301"/>
                    <a:pt x="960" y="301"/>
                  </a:cubicBezTo>
                  <a:moveTo>
                    <a:pt x="951" y="322"/>
                  </a:moveTo>
                  <a:cubicBezTo>
                    <a:pt x="953" y="317"/>
                    <a:pt x="956" y="313"/>
                    <a:pt x="957" y="308"/>
                  </a:cubicBezTo>
                  <a:cubicBezTo>
                    <a:pt x="950" y="305"/>
                    <a:pt x="950" y="305"/>
                    <a:pt x="950" y="305"/>
                  </a:cubicBezTo>
                  <a:cubicBezTo>
                    <a:pt x="948" y="309"/>
                    <a:pt x="946" y="314"/>
                    <a:pt x="944" y="318"/>
                  </a:cubicBezTo>
                  <a:cubicBezTo>
                    <a:pt x="951" y="322"/>
                    <a:pt x="951" y="322"/>
                    <a:pt x="951" y="322"/>
                  </a:cubicBezTo>
                  <a:moveTo>
                    <a:pt x="939" y="342"/>
                  </a:moveTo>
                  <a:cubicBezTo>
                    <a:pt x="942" y="338"/>
                    <a:pt x="945" y="333"/>
                    <a:pt x="947" y="329"/>
                  </a:cubicBezTo>
                  <a:cubicBezTo>
                    <a:pt x="941" y="325"/>
                    <a:pt x="941" y="325"/>
                    <a:pt x="941" y="325"/>
                  </a:cubicBezTo>
                  <a:cubicBezTo>
                    <a:pt x="938" y="329"/>
                    <a:pt x="936" y="334"/>
                    <a:pt x="933" y="338"/>
                  </a:cubicBezTo>
                  <a:cubicBezTo>
                    <a:pt x="939" y="342"/>
                    <a:pt x="939" y="342"/>
                    <a:pt x="939" y="342"/>
                  </a:cubicBezTo>
                  <a:moveTo>
                    <a:pt x="926" y="361"/>
                  </a:moveTo>
                  <a:cubicBezTo>
                    <a:pt x="929" y="357"/>
                    <a:pt x="932" y="353"/>
                    <a:pt x="935" y="348"/>
                  </a:cubicBezTo>
                  <a:cubicBezTo>
                    <a:pt x="929" y="344"/>
                    <a:pt x="929" y="344"/>
                    <a:pt x="929" y="344"/>
                  </a:cubicBezTo>
                  <a:cubicBezTo>
                    <a:pt x="926" y="348"/>
                    <a:pt x="923" y="352"/>
                    <a:pt x="920" y="356"/>
                  </a:cubicBezTo>
                  <a:cubicBezTo>
                    <a:pt x="926" y="361"/>
                    <a:pt x="926" y="361"/>
                    <a:pt x="926" y="361"/>
                  </a:cubicBezTo>
                  <a:moveTo>
                    <a:pt x="910" y="378"/>
                  </a:moveTo>
                  <a:cubicBezTo>
                    <a:pt x="914" y="374"/>
                    <a:pt x="917" y="371"/>
                    <a:pt x="921" y="367"/>
                  </a:cubicBezTo>
                  <a:cubicBezTo>
                    <a:pt x="915" y="362"/>
                    <a:pt x="915" y="362"/>
                    <a:pt x="915" y="362"/>
                  </a:cubicBezTo>
                  <a:cubicBezTo>
                    <a:pt x="912" y="365"/>
                    <a:pt x="908" y="369"/>
                    <a:pt x="905" y="372"/>
                  </a:cubicBezTo>
                  <a:cubicBezTo>
                    <a:pt x="910" y="378"/>
                    <a:pt x="910" y="378"/>
                    <a:pt x="910" y="378"/>
                  </a:cubicBezTo>
                  <a:moveTo>
                    <a:pt x="893" y="393"/>
                  </a:moveTo>
                  <a:cubicBezTo>
                    <a:pt x="897" y="390"/>
                    <a:pt x="901" y="387"/>
                    <a:pt x="905" y="383"/>
                  </a:cubicBezTo>
                  <a:cubicBezTo>
                    <a:pt x="899" y="378"/>
                    <a:pt x="899" y="378"/>
                    <a:pt x="899" y="378"/>
                  </a:cubicBezTo>
                  <a:cubicBezTo>
                    <a:pt x="896" y="381"/>
                    <a:pt x="892" y="384"/>
                    <a:pt x="888" y="387"/>
                  </a:cubicBezTo>
                  <a:cubicBezTo>
                    <a:pt x="893" y="393"/>
                    <a:pt x="893" y="393"/>
                    <a:pt x="893" y="393"/>
                  </a:cubicBezTo>
                  <a:moveTo>
                    <a:pt x="874" y="407"/>
                  </a:moveTo>
                  <a:cubicBezTo>
                    <a:pt x="878" y="404"/>
                    <a:pt x="882" y="401"/>
                    <a:pt x="887" y="398"/>
                  </a:cubicBezTo>
                  <a:cubicBezTo>
                    <a:pt x="882" y="392"/>
                    <a:pt x="882" y="392"/>
                    <a:pt x="882" y="392"/>
                  </a:cubicBezTo>
                  <a:cubicBezTo>
                    <a:pt x="878" y="395"/>
                    <a:pt x="874" y="398"/>
                    <a:pt x="870" y="400"/>
                  </a:cubicBezTo>
                  <a:cubicBezTo>
                    <a:pt x="874" y="407"/>
                    <a:pt x="874" y="407"/>
                    <a:pt x="874" y="407"/>
                  </a:cubicBezTo>
                  <a:moveTo>
                    <a:pt x="854" y="418"/>
                  </a:moveTo>
                  <a:cubicBezTo>
                    <a:pt x="858" y="416"/>
                    <a:pt x="863" y="413"/>
                    <a:pt x="867" y="411"/>
                  </a:cubicBezTo>
                  <a:cubicBezTo>
                    <a:pt x="863" y="404"/>
                    <a:pt x="863" y="404"/>
                    <a:pt x="863" y="404"/>
                  </a:cubicBezTo>
                  <a:cubicBezTo>
                    <a:pt x="859" y="407"/>
                    <a:pt x="855" y="409"/>
                    <a:pt x="850" y="411"/>
                  </a:cubicBezTo>
                  <a:cubicBezTo>
                    <a:pt x="854" y="418"/>
                    <a:pt x="854" y="418"/>
                    <a:pt x="854" y="418"/>
                  </a:cubicBezTo>
                  <a:moveTo>
                    <a:pt x="832" y="427"/>
                  </a:moveTo>
                  <a:cubicBezTo>
                    <a:pt x="837" y="426"/>
                    <a:pt x="842" y="424"/>
                    <a:pt x="846" y="421"/>
                  </a:cubicBezTo>
                  <a:cubicBezTo>
                    <a:pt x="843" y="414"/>
                    <a:pt x="843" y="414"/>
                    <a:pt x="843" y="414"/>
                  </a:cubicBezTo>
                  <a:cubicBezTo>
                    <a:pt x="839" y="416"/>
                    <a:pt x="834" y="418"/>
                    <a:pt x="829" y="420"/>
                  </a:cubicBezTo>
                  <a:cubicBezTo>
                    <a:pt x="832" y="427"/>
                    <a:pt x="832" y="427"/>
                    <a:pt x="832" y="427"/>
                  </a:cubicBezTo>
                  <a:moveTo>
                    <a:pt x="810" y="434"/>
                  </a:moveTo>
                  <a:cubicBezTo>
                    <a:pt x="815" y="433"/>
                    <a:pt x="820" y="431"/>
                    <a:pt x="825" y="430"/>
                  </a:cubicBezTo>
                  <a:cubicBezTo>
                    <a:pt x="822" y="422"/>
                    <a:pt x="822" y="422"/>
                    <a:pt x="822" y="422"/>
                  </a:cubicBezTo>
                  <a:cubicBezTo>
                    <a:pt x="818" y="424"/>
                    <a:pt x="813" y="425"/>
                    <a:pt x="808" y="426"/>
                  </a:cubicBezTo>
                  <a:cubicBezTo>
                    <a:pt x="810" y="434"/>
                    <a:pt x="810" y="434"/>
                    <a:pt x="810" y="434"/>
                  </a:cubicBezTo>
                  <a:moveTo>
                    <a:pt x="787" y="438"/>
                  </a:moveTo>
                  <a:cubicBezTo>
                    <a:pt x="792" y="438"/>
                    <a:pt x="797" y="437"/>
                    <a:pt x="802" y="436"/>
                  </a:cubicBezTo>
                  <a:cubicBezTo>
                    <a:pt x="801" y="428"/>
                    <a:pt x="801" y="428"/>
                    <a:pt x="801" y="428"/>
                  </a:cubicBezTo>
                  <a:cubicBezTo>
                    <a:pt x="796" y="429"/>
                    <a:pt x="791" y="430"/>
                    <a:pt x="786" y="430"/>
                  </a:cubicBezTo>
                  <a:cubicBezTo>
                    <a:pt x="787" y="438"/>
                    <a:pt x="787" y="438"/>
                    <a:pt x="787" y="438"/>
                  </a:cubicBezTo>
                  <a:moveTo>
                    <a:pt x="764" y="440"/>
                  </a:moveTo>
                  <a:cubicBezTo>
                    <a:pt x="769" y="440"/>
                    <a:pt x="774" y="439"/>
                    <a:pt x="779" y="439"/>
                  </a:cubicBezTo>
                  <a:cubicBezTo>
                    <a:pt x="779" y="431"/>
                    <a:pt x="779" y="431"/>
                    <a:pt x="779" y="431"/>
                  </a:cubicBezTo>
                  <a:cubicBezTo>
                    <a:pt x="774" y="432"/>
                    <a:pt x="769" y="432"/>
                    <a:pt x="764" y="432"/>
                  </a:cubicBezTo>
                  <a:cubicBezTo>
                    <a:pt x="764" y="440"/>
                    <a:pt x="764" y="440"/>
                    <a:pt x="764" y="440"/>
                  </a:cubicBezTo>
                  <a:cubicBezTo>
                    <a:pt x="764" y="440"/>
                    <a:pt x="764" y="440"/>
                    <a:pt x="764" y="440"/>
                  </a:cubicBezTo>
                  <a:moveTo>
                    <a:pt x="741" y="440"/>
                  </a:moveTo>
                  <a:cubicBezTo>
                    <a:pt x="756" y="440"/>
                    <a:pt x="756" y="440"/>
                    <a:pt x="756" y="440"/>
                  </a:cubicBezTo>
                  <a:cubicBezTo>
                    <a:pt x="756" y="432"/>
                    <a:pt x="756" y="432"/>
                    <a:pt x="756" y="432"/>
                  </a:cubicBezTo>
                  <a:cubicBezTo>
                    <a:pt x="741" y="432"/>
                    <a:pt x="741" y="432"/>
                    <a:pt x="741" y="432"/>
                  </a:cubicBezTo>
                  <a:cubicBezTo>
                    <a:pt x="741" y="440"/>
                    <a:pt x="741" y="440"/>
                    <a:pt x="741" y="440"/>
                  </a:cubicBezTo>
                  <a:moveTo>
                    <a:pt x="718" y="440"/>
                  </a:moveTo>
                  <a:cubicBezTo>
                    <a:pt x="733" y="440"/>
                    <a:pt x="733" y="440"/>
                    <a:pt x="733" y="440"/>
                  </a:cubicBezTo>
                  <a:cubicBezTo>
                    <a:pt x="733" y="432"/>
                    <a:pt x="733" y="432"/>
                    <a:pt x="733" y="432"/>
                  </a:cubicBezTo>
                  <a:cubicBezTo>
                    <a:pt x="718" y="432"/>
                    <a:pt x="718" y="432"/>
                    <a:pt x="718" y="432"/>
                  </a:cubicBezTo>
                  <a:cubicBezTo>
                    <a:pt x="718" y="440"/>
                    <a:pt x="718" y="440"/>
                    <a:pt x="718" y="440"/>
                  </a:cubicBezTo>
                  <a:moveTo>
                    <a:pt x="695" y="440"/>
                  </a:moveTo>
                  <a:cubicBezTo>
                    <a:pt x="710" y="440"/>
                    <a:pt x="710" y="440"/>
                    <a:pt x="710" y="440"/>
                  </a:cubicBezTo>
                  <a:cubicBezTo>
                    <a:pt x="710" y="432"/>
                    <a:pt x="710" y="432"/>
                    <a:pt x="710" y="432"/>
                  </a:cubicBezTo>
                  <a:cubicBezTo>
                    <a:pt x="695" y="432"/>
                    <a:pt x="695" y="432"/>
                    <a:pt x="695" y="432"/>
                  </a:cubicBezTo>
                  <a:cubicBezTo>
                    <a:pt x="695" y="440"/>
                    <a:pt x="695" y="440"/>
                    <a:pt x="695" y="440"/>
                  </a:cubicBezTo>
                  <a:moveTo>
                    <a:pt x="672" y="440"/>
                  </a:moveTo>
                  <a:cubicBezTo>
                    <a:pt x="688" y="440"/>
                    <a:pt x="688" y="440"/>
                    <a:pt x="688" y="440"/>
                  </a:cubicBezTo>
                  <a:cubicBezTo>
                    <a:pt x="688" y="432"/>
                    <a:pt x="688" y="432"/>
                    <a:pt x="688" y="432"/>
                  </a:cubicBezTo>
                  <a:cubicBezTo>
                    <a:pt x="672" y="432"/>
                    <a:pt x="672" y="432"/>
                    <a:pt x="672" y="432"/>
                  </a:cubicBezTo>
                  <a:cubicBezTo>
                    <a:pt x="672" y="440"/>
                    <a:pt x="672" y="440"/>
                    <a:pt x="672" y="440"/>
                  </a:cubicBezTo>
                  <a:moveTo>
                    <a:pt x="650" y="440"/>
                  </a:moveTo>
                  <a:cubicBezTo>
                    <a:pt x="665" y="440"/>
                    <a:pt x="665" y="440"/>
                    <a:pt x="665" y="440"/>
                  </a:cubicBezTo>
                  <a:cubicBezTo>
                    <a:pt x="665" y="432"/>
                    <a:pt x="665" y="432"/>
                    <a:pt x="665" y="432"/>
                  </a:cubicBezTo>
                  <a:cubicBezTo>
                    <a:pt x="650" y="432"/>
                    <a:pt x="650" y="432"/>
                    <a:pt x="650" y="432"/>
                  </a:cubicBezTo>
                  <a:cubicBezTo>
                    <a:pt x="650" y="440"/>
                    <a:pt x="650" y="440"/>
                    <a:pt x="650" y="440"/>
                  </a:cubicBezTo>
                  <a:moveTo>
                    <a:pt x="627" y="440"/>
                  </a:moveTo>
                  <a:cubicBezTo>
                    <a:pt x="642" y="440"/>
                    <a:pt x="642" y="440"/>
                    <a:pt x="642" y="440"/>
                  </a:cubicBezTo>
                  <a:cubicBezTo>
                    <a:pt x="642" y="432"/>
                    <a:pt x="642" y="432"/>
                    <a:pt x="642" y="432"/>
                  </a:cubicBezTo>
                  <a:cubicBezTo>
                    <a:pt x="627" y="432"/>
                    <a:pt x="627" y="432"/>
                    <a:pt x="627" y="432"/>
                  </a:cubicBezTo>
                  <a:cubicBezTo>
                    <a:pt x="627" y="440"/>
                    <a:pt x="627" y="440"/>
                    <a:pt x="627" y="440"/>
                  </a:cubicBezTo>
                  <a:moveTo>
                    <a:pt x="604" y="440"/>
                  </a:moveTo>
                  <a:cubicBezTo>
                    <a:pt x="619" y="440"/>
                    <a:pt x="619" y="440"/>
                    <a:pt x="619" y="440"/>
                  </a:cubicBezTo>
                  <a:cubicBezTo>
                    <a:pt x="619" y="432"/>
                    <a:pt x="619" y="432"/>
                    <a:pt x="619" y="432"/>
                  </a:cubicBezTo>
                  <a:cubicBezTo>
                    <a:pt x="604" y="432"/>
                    <a:pt x="604" y="432"/>
                    <a:pt x="604" y="432"/>
                  </a:cubicBezTo>
                  <a:cubicBezTo>
                    <a:pt x="604" y="440"/>
                    <a:pt x="604" y="440"/>
                    <a:pt x="604" y="440"/>
                  </a:cubicBezTo>
                  <a:moveTo>
                    <a:pt x="581" y="440"/>
                  </a:moveTo>
                  <a:cubicBezTo>
                    <a:pt x="596" y="440"/>
                    <a:pt x="596" y="440"/>
                    <a:pt x="596" y="440"/>
                  </a:cubicBezTo>
                  <a:cubicBezTo>
                    <a:pt x="596" y="432"/>
                    <a:pt x="596" y="432"/>
                    <a:pt x="596" y="432"/>
                  </a:cubicBezTo>
                  <a:cubicBezTo>
                    <a:pt x="581" y="432"/>
                    <a:pt x="581" y="432"/>
                    <a:pt x="581" y="432"/>
                  </a:cubicBezTo>
                  <a:cubicBezTo>
                    <a:pt x="581" y="440"/>
                    <a:pt x="581" y="440"/>
                    <a:pt x="581" y="440"/>
                  </a:cubicBezTo>
                  <a:moveTo>
                    <a:pt x="558" y="440"/>
                  </a:moveTo>
                  <a:cubicBezTo>
                    <a:pt x="574" y="440"/>
                    <a:pt x="574" y="440"/>
                    <a:pt x="574" y="440"/>
                  </a:cubicBezTo>
                  <a:cubicBezTo>
                    <a:pt x="574" y="432"/>
                    <a:pt x="574" y="432"/>
                    <a:pt x="574" y="432"/>
                  </a:cubicBezTo>
                  <a:cubicBezTo>
                    <a:pt x="558" y="432"/>
                    <a:pt x="558" y="432"/>
                    <a:pt x="558" y="432"/>
                  </a:cubicBezTo>
                  <a:cubicBezTo>
                    <a:pt x="558" y="440"/>
                    <a:pt x="558" y="440"/>
                    <a:pt x="558" y="440"/>
                  </a:cubicBezTo>
                  <a:moveTo>
                    <a:pt x="535" y="440"/>
                  </a:moveTo>
                  <a:cubicBezTo>
                    <a:pt x="551" y="440"/>
                    <a:pt x="551" y="440"/>
                    <a:pt x="551" y="440"/>
                  </a:cubicBezTo>
                  <a:cubicBezTo>
                    <a:pt x="551" y="432"/>
                    <a:pt x="551" y="432"/>
                    <a:pt x="551" y="432"/>
                  </a:cubicBezTo>
                  <a:cubicBezTo>
                    <a:pt x="535" y="432"/>
                    <a:pt x="535" y="432"/>
                    <a:pt x="535" y="432"/>
                  </a:cubicBezTo>
                  <a:cubicBezTo>
                    <a:pt x="535" y="440"/>
                    <a:pt x="535" y="440"/>
                    <a:pt x="535" y="440"/>
                  </a:cubicBezTo>
                  <a:moveTo>
                    <a:pt x="513" y="440"/>
                  </a:moveTo>
                  <a:cubicBezTo>
                    <a:pt x="528" y="440"/>
                    <a:pt x="528" y="440"/>
                    <a:pt x="528" y="440"/>
                  </a:cubicBezTo>
                  <a:cubicBezTo>
                    <a:pt x="528" y="432"/>
                    <a:pt x="528" y="432"/>
                    <a:pt x="528" y="432"/>
                  </a:cubicBezTo>
                  <a:cubicBezTo>
                    <a:pt x="513" y="432"/>
                    <a:pt x="513" y="432"/>
                    <a:pt x="513" y="432"/>
                  </a:cubicBezTo>
                  <a:cubicBezTo>
                    <a:pt x="513" y="440"/>
                    <a:pt x="513" y="440"/>
                    <a:pt x="513"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7" y="440"/>
                    <a:pt x="437" y="440"/>
                    <a:pt x="437" y="440"/>
                  </a:cubicBezTo>
                  <a:cubicBezTo>
                    <a:pt x="437" y="432"/>
                    <a:pt x="437" y="432"/>
                    <a:pt x="437" y="432"/>
                  </a:cubicBezTo>
                  <a:cubicBezTo>
                    <a:pt x="421" y="432"/>
                    <a:pt x="421" y="432"/>
                    <a:pt x="421" y="432"/>
                  </a:cubicBezTo>
                  <a:cubicBezTo>
                    <a:pt x="421" y="440"/>
                    <a:pt x="421" y="440"/>
                    <a:pt x="421" y="440"/>
                  </a:cubicBezTo>
                  <a:moveTo>
                    <a:pt x="399" y="440"/>
                  </a:moveTo>
                  <a:cubicBezTo>
                    <a:pt x="414" y="440"/>
                    <a:pt x="414" y="440"/>
                    <a:pt x="414" y="440"/>
                  </a:cubicBezTo>
                  <a:cubicBezTo>
                    <a:pt x="414" y="432"/>
                    <a:pt x="414" y="432"/>
                    <a:pt x="414" y="432"/>
                  </a:cubicBezTo>
                  <a:cubicBezTo>
                    <a:pt x="399" y="432"/>
                    <a:pt x="399" y="432"/>
                    <a:pt x="399" y="432"/>
                  </a:cubicBezTo>
                  <a:cubicBezTo>
                    <a:pt x="399" y="440"/>
                    <a:pt x="399" y="440"/>
                    <a:pt x="399" y="440"/>
                  </a:cubicBezTo>
                  <a:moveTo>
                    <a:pt x="376" y="440"/>
                  </a:moveTo>
                  <a:cubicBezTo>
                    <a:pt x="391" y="440"/>
                    <a:pt x="391" y="440"/>
                    <a:pt x="391" y="440"/>
                  </a:cubicBezTo>
                  <a:cubicBezTo>
                    <a:pt x="391" y="432"/>
                    <a:pt x="391" y="432"/>
                    <a:pt x="391" y="432"/>
                  </a:cubicBezTo>
                  <a:cubicBezTo>
                    <a:pt x="376" y="432"/>
                    <a:pt x="376" y="432"/>
                    <a:pt x="376" y="432"/>
                  </a:cubicBezTo>
                  <a:cubicBezTo>
                    <a:pt x="376" y="440"/>
                    <a:pt x="376" y="440"/>
                    <a:pt x="376"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300" y="440"/>
                    <a:pt x="300" y="440"/>
                    <a:pt x="300" y="440"/>
                  </a:cubicBezTo>
                  <a:cubicBezTo>
                    <a:pt x="300" y="432"/>
                    <a:pt x="300" y="432"/>
                    <a:pt x="300" y="432"/>
                  </a:cubicBezTo>
                  <a:cubicBezTo>
                    <a:pt x="284" y="432"/>
                    <a:pt x="284" y="432"/>
                    <a:pt x="284" y="432"/>
                  </a:cubicBezTo>
                  <a:cubicBezTo>
                    <a:pt x="284" y="440"/>
                    <a:pt x="284" y="440"/>
                    <a:pt x="284" y="440"/>
                  </a:cubicBezTo>
                  <a:moveTo>
                    <a:pt x="262" y="440"/>
                  </a:moveTo>
                  <a:cubicBezTo>
                    <a:pt x="277" y="440"/>
                    <a:pt x="277" y="440"/>
                    <a:pt x="277" y="440"/>
                  </a:cubicBezTo>
                  <a:cubicBezTo>
                    <a:pt x="277" y="432"/>
                    <a:pt x="277" y="432"/>
                    <a:pt x="277" y="432"/>
                  </a:cubicBezTo>
                  <a:cubicBezTo>
                    <a:pt x="262" y="432"/>
                    <a:pt x="262" y="432"/>
                    <a:pt x="262" y="432"/>
                  </a:cubicBezTo>
                  <a:cubicBezTo>
                    <a:pt x="262" y="440"/>
                    <a:pt x="262" y="440"/>
                    <a:pt x="262" y="440"/>
                  </a:cubicBezTo>
                  <a:moveTo>
                    <a:pt x="239" y="440"/>
                  </a:moveTo>
                  <a:cubicBezTo>
                    <a:pt x="254" y="440"/>
                    <a:pt x="254" y="440"/>
                    <a:pt x="254" y="440"/>
                  </a:cubicBezTo>
                  <a:cubicBezTo>
                    <a:pt x="254" y="432"/>
                    <a:pt x="254" y="432"/>
                    <a:pt x="254" y="432"/>
                  </a:cubicBezTo>
                  <a:cubicBezTo>
                    <a:pt x="239" y="432"/>
                    <a:pt x="239" y="432"/>
                    <a:pt x="239" y="432"/>
                  </a:cubicBezTo>
                  <a:cubicBezTo>
                    <a:pt x="239" y="440"/>
                    <a:pt x="239" y="440"/>
                    <a:pt x="239"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ubicBezTo>
                    <a:pt x="16" y="306"/>
                    <a:pt x="16" y="306"/>
                    <a:pt x="16" y="306"/>
                  </a:cubicBezTo>
                  <a:moveTo>
                    <a:pt x="8" y="284"/>
                  </a:moveTo>
                  <a:cubicBezTo>
                    <a:pt x="10" y="289"/>
                    <a:pt x="11" y="294"/>
                    <a:pt x="13" y="299"/>
                  </a:cubicBezTo>
                  <a:cubicBezTo>
                    <a:pt x="20" y="296"/>
                    <a:pt x="20" y="296"/>
                    <a:pt x="20" y="296"/>
                  </a:cubicBezTo>
                  <a:cubicBezTo>
                    <a:pt x="19" y="292"/>
                    <a:pt x="17" y="287"/>
                    <a:pt x="16" y="282"/>
                  </a:cubicBezTo>
                  <a:cubicBezTo>
                    <a:pt x="8" y="284"/>
                    <a:pt x="8" y="284"/>
                    <a:pt x="8" y="284"/>
                  </a:cubicBezTo>
                  <a:moveTo>
                    <a:pt x="3" y="261"/>
                  </a:moveTo>
                  <a:cubicBezTo>
                    <a:pt x="4" y="267"/>
                    <a:pt x="5" y="272"/>
                    <a:pt x="6" y="277"/>
                  </a:cubicBezTo>
                  <a:cubicBezTo>
                    <a:pt x="14" y="275"/>
                    <a:pt x="14" y="275"/>
                    <a:pt x="14" y="275"/>
                  </a:cubicBezTo>
                  <a:cubicBezTo>
                    <a:pt x="13" y="270"/>
                    <a:pt x="12" y="265"/>
                    <a:pt x="11" y="260"/>
                  </a:cubicBezTo>
                  <a:cubicBezTo>
                    <a:pt x="3" y="261"/>
                    <a:pt x="3" y="261"/>
                    <a:pt x="3" y="261"/>
                  </a:cubicBezTo>
                  <a:moveTo>
                    <a:pt x="0" y="238"/>
                  </a:moveTo>
                  <a:cubicBezTo>
                    <a:pt x="1" y="244"/>
                    <a:pt x="1" y="249"/>
                    <a:pt x="2" y="254"/>
                  </a:cubicBezTo>
                  <a:cubicBezTo>
                    <a:pt x="10" y="253"/>
                    <a:pt x="10" y="253"/>
                    <a:pt x="10" y="253"/>
                  </a:cubicBezTo>
                  <a:cubicBezTo>
                    <a:pt x="9" y="248"/>
                    <a:pt x="9" y="243"/>
                    <a:pt x="8" y="238"/>
                  </a:cubicBezTo>
                  <a:cubicBezTo>
                    <a:pt x="0" y="238"/>
                    <a:pt x="0" y="238"/>
                    <a:pt x="0" y="238"/>
                  </a:cubicBezTo>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1" y="197"/>
                    <a:pt x="0" y="202"/>
                    <a:pt x="0" y="208"/>
                  </a:cubicBezTo>
                  <a:cubicBezTo>
                    <a:pt x="8" y="208"/>
                    <a:pt x="8" y="208"/>
                    <a:pt x="8" y="208"/>
                  </a:cubicBezTo>
                  <a:cubicBezTo>
                    <a:pt x="8" y="203"/>
                    <a:pt x="8" y="198"/>
                    <a:pt x="9" y="193"/>
                  </a:cubicBezTo>
                  <a:cubicBezTo>
                    <a:pt x="1" y="192"/>
                    <a:pt x="1" y="192"/>
                    <a:pt x="1" y="192"/>
                  </a:cubicBezTo>
                  <a:cubicBezTo>
                    <a:pt x="1" y="192"/>
                    <a:pt x="1" y="192"/>
                    <a:pt x="1" y="192"/>
                  </a:cubicBezTo>
                  <a:moveTo>
                    <a:pt x="5" y="169"/>
                  </a:moveTo>
                  <a:cubicBezTo>
                    <a:pt x="4" y="174"/>
                    <a:pt x="3" y="179"/>
                    <a:pt x="2" y="184"/>
                  </a:cubicBezTo>
                  <a:cubicBezTo>
                    <a:pt x="10" y="186"/>
                    <a:pt x="10" y="186"/>
                    <a:pt x="10" y="186"/>
                  </a:cubicBezTo>
                  <a:cubicBezTo>
                    <a:pt x="11" y="181"/>
                    <a:pt x="11" y="176"/>
                    <a:pt x="13" y="171"/>
                  </a:cubicBezTo>
                  <a:cubicBezTo>
                    <a:pt x="5" y="169"/>
                    <a:pt x="5" y="169"/>
                    <a:pt x="5" y="169"/>
                  </a:cubicBezTo>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Oval 49"/>
            <p:cNvSpPr>
              <a:spLocks noChangeArrowheads="1"/>
            </p:cNvSpPr>
            <p:nvPr/>
          </p:nvSpPr>
          <p:spPr bwMode="auto">
            <a:xfrm>
              <a:off x="5189538" y="2582863"/>
              <a:ext cx="209550" cy="21113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Freeform 50"/>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close/>
                </a:path>
              </a:pathLst>
            </a:cu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Freeform 51"/>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Freeform 52"/>
            <p:cNvSpPr>
              <a:spLocks/>
            </p:cNvSpPr>
            <p:nvPr/>
          </p:nvSpPr>
          <p:spPr bwMode="auto">
            <a:xfrm>
              <a:off x="5189538" y="2582863"/>
              <a:ext cx="127000" cy="211138"/>
            </a:xfrm>
            <a:custGeom>
              <a:avLst/>
              <a:gdLst>
                <a:gd name="T0" fmla="*/ 28 w 34"/>
                <a:gd name="T1" fmla="*/ 0 h 56"/>
                <a:gd name="T2" fmla="*/ 28 w 34"/>
                <a:gd name="T3" fmla="*/ 0 h 56"/>
                <a:gd name="T4" fmla="*/ 0 w 34"/>
                <a:gd name="T5" fmla="*/ 28 h 56"/>
                <a:gd name="T6" fmla="*/ 27 w 34"/>
                <a:gd name="T7" fmla="*/ 56 h 56"/>
                <a:gd name="T8" fmla="*/ 34 w 34"/>
                <a:gd name="T9" fmla="*/ 1 h 56"/>
                <a:gd name="T10" fmla="*/ 28 w 34"/>
                <a:gd name="T11" fmla="*/ 0 h 56"/>
                <a:gd name="T12" fmla="*/ 28 w 34"/>
                <a:gd name="T13" fmla="*/ 0 h 56"/>
                <a:gd name="T14" fmla="*/ 28 w 34"/>
                <a:gd name="T15" fmla="*/ 0 h 56"/>
                <a:gd name="T16" fmla="*/ 28 w 34"/>
                <a:gd name="T1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6">
                  <a:moveTo>
                    <a:pt x="28" y="0"/>
                  </a:moveTo>
                  <a:cubicBezTo>
                    <a:pt x="28" y="0"/>
                    <a:pt x="28" y="0"/>
                    <a:pt x="28" y="0"/>
                  </a:cubicBezTo>
                  <a:cubicBezTo>
                    <a:pt x="12" y="0"/>
                    <a:pt x="0" y="13"/>
                    <a:pt x="0" y="28"/>
                  </a:cubicBezTo>
                  <a:cubicBezTo>
                    <a:pt x="0" y="43"/>
                    <a:pt x="12" y="56"/>
                    <a:pt x="27" y="56"/>
                  </a:cubicBezTo>
                  <a:cubicBezTo>
                    <a:pt x="34" y="1"/>
                    <a:pt x="34" y="1"/>
                    <a:pt x="34" y="1"/>
                  </a:cubicBezTo>
                  <a:cubicBezTo>
                    <a:pt x="32" y="0"/>
                    <a:pt x="30" y="0"/>
                    <a:pt x="28" y="0"/>
                  </a:cubicBezTo>
                  <a:cubicBezTo>
                    <a:pt x="28" y="0"/>
                    <a:pt x="28" y="0"/>
                    <a:pt x="28" y="0"/>
                  </a:cubicBezTo>
                  <a:cubicBezTo>
                    <a:pt x="28" y="0"/>
                    <a:pt x="28" y="0"/>
                    <a:pt x="28" y="0"/>
                  </a:cubicBezTo>
                  <a:cubicBezTo>
                    <a:pt x="28" y="0"/>
                    <a:pt x="28" y="0"/>
                    <a:pt x="28" y="0"/>
                  </a:cubicBezTo>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Freeform 53"/>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Freeform 54"/>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Freeform 55"/>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close/>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Freeform 56"/>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 name="Freeform 57"/>
            <p:cNvSpPr>
              <a:spLocks/>
            </p:cNvSpPr>
            <p:nvPr/>
          </p:nvSpPr>
          <p:spPr bwMode="auto">
            <a:xfrm>
              <a:off x="5294313" y="3405188"/>
              <a:ext cx="176213" cy="398463"/>
            </a:xfrm>
            <a:custGeom>
              <a:avLst/>
              <a:gdLst>
                <a:gd name="T0" fmla="*/ 0 w 47"/>
                <a:gd name="T1" fmla="*/ 106 h 106"/>
                <a:gd name="T2" fmla="*/ 1 w 47"/>
                <a:gd name="T3" fmla="*/ 106 h 106"/>
                <a:gd name="T4" fmla="*/ 47 w 47"/>
                <a:gd name="T5" fmla="*/ 89 h 106"/>
                <a:gd name="T6" fmla="*/ 47 w 47"/>
                <a:gd name="T7" fmla="*/ 0 h 106"/>
                <a:gd name="T8" fmla="*/ 0 w 47"/>
                <a:gd name="T9" fmla="*/ 0 h 106"/>
                <a:gd name="T10" fmla="*/ 0 w 47"/>
                <a:gd name="T11" fmla="*/ 106 h 106"/>
              </a:gdLst>
              <a:ahLst/>
              <a:cxnLst>
                <a:cxn ang="0">
                  <a:pos x="T0" y="T1"/>
                </a:cxn>
                <a:cxn ang="0">
                  <a:pos x="T2" y="T3"/>
                </a:cxn>
                <a:cxn ang="0">
                  <a:pos x="T4" y="T5"/>
                </a:cxn>
                <a:cxn ang="0">
                  <a:pos x="T6" y="T7"/>
                </a:cxn>
                <a:cxn ang="0">
                  <a:pos x="T8" y="T9"/>
                </a:cxn>
                <a:cxn ang="0">
                  <a:pos x="T10" y="T11"/>
                </a:cxn>
              </a:cxnLst>
              <a:rect l="0" t="0" r="r" b="b"/>
              <a:pathLst>
                <a:path w="47" h="106">
                  <a:moveTo>
                    <a:pt x="0" y="106"/>
                  </a:moveTo>
                  <a:cubicBezTo>
                    <a:pt x="1" y="106"/>
                    <a:pt x="1" y="106"/>
                    <a:pt x="1" y="106"/>
                  </a:cubicBezTo>
                  <a:cubicBezTo>
                    <a:pt x="26" y="106"/>
                    <a:pt x="47" y="98"/>
                    <a:pt x="47" y="89"/>
                  </a:cubicBezTo>
                  <a:cubicBezTo>
                    <a:pt x="47" y="0"/>
                    <a:pt x="47" y="0"/>
                    <a:pt x="47" y="0"/>
                  </a:cubicBezTo>
                  <a:cubicBezTo>
                    <a:pt x="0" y="0"/>
                    <a:pt x="0" y="0"/>
                    <a:pt x="0" y="0"/>
                  </a:cubicBezTo>
                  <a:lnTo>
                    <a:pt x="0" y="106"/>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8" name="Freeform 58"/>
            <p:cNvSpPr>
              <a:spLocks/>
            </p:cNvSpPr>
            <p:nvPr/>
          </p:nvSpPr>
          <p:spPr bwMode="auto">
            <a:xfrm>
              <a:off x="5121275" y="3400426"/>
              <a:ext cx="176213" cy="403225"/>
            </a:xfrm>
            <a:custGeom>
              <a:avLst/>
              <a:gdLst>
                <a:gd name="T0" fmla="*/ 0 w 47"/>
                <a:gd name="T1" fmla="*/ 0 h 107"/>
                <a:gd name="T2" fmla="*/ 0 w 47"/>
                <a:gd name="T3" fmla="*/ 90 h 107"/>
                <a:gd name="T4" fmla="*/ 47 w 47"/>
                <a:gd name="T5" fmla="*/ 107 h 107"/>
                <a:gd name="T6" fmla="*/ 47 w 47"/>
                <a:gd name="T7" fmla="*/ 0 h 107"/>
                <a:gd name="T8" fmla="*/ 0 w 47"/>
                <a:gd name="T9" fmla="*/ 0 h 107"/>
              </a:gdLst>
              <a:ahLst/>
              <a:cxnLst>
                <a:cxn ang="0">
                  <a:pos x="T0" y="T1"/>
                </a:cxn>
                <a:cxn ang="0">
                  <a:pos x="T2" y="T3"/>
                </a:cxn>
                <a:cxn ang="0">
                  <a:pos x="T4" y="T5"/>
                </a:cxn>
                <a:cxn ang="0">
                  <a:pos x="T6" y="T7"/>
                </a:cxn>
                <a:cxn ang="0">
                  <a:pos x="T8" y="T9"/>
                </a:cxn>
              </a:cxnLst>
              <a:rect l="0" t="0" r="r" b="b"/>
              <a:pathLst>
                <a:path w="47" h="107">
                  <a:moveTo>
                    <a:pt x="0" y="0"/>
                  </a:moveTo>
                  <a:cubicBezTo>
                    <a:pt x="0" y="90"/>
                    <a:pt x="0" y="90"/>
                    <a:pt x="0" y="90"/>
                  </a:cubicBezTo>
                  <a:cubicBezTo>
                    <a:pt x="0" y="99"/>
                    <a:pt x="21" y="107"/>
                    <a:pt x="47" y="107"/>
                  </a:cubicBezTo>
                  <a:cubicBezTo>
                    <a:pt x="47" y="0"/>
                    <a:pt x="47" y="0"/>
                    <a:pt x="47" y="0"/>
                  </a:cubicBezTo>
                  <a:lnTo>
                    <a:pt x="0" y="0"/>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9" name="Oval 59"/>
            <p:cNvSpPr>
              <a:spLocks noChangeArrowheads="1"/>
            </p:cNvSpPr>
            <p:nvPr/>
          </p:nvSpPr>
          <p:spPr bwMode="auto">
            <a:xfrm>
              <a:off x="5121275" y="3340101"/>
              <a:ext cx="349250" cy="125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0" name="Oval 60"/>
            <p:cNvSpPr>
              <a:spLocks noChangeArrowheads="1"/>
            </p:cNvSpPr>
            <p:nvPr/>
          </p:nvSpPr>
          <p:spPr bwMode="auto">
            <a:xfrm>
              <a:off x="5159375" y="3355976"/>
              <a:ext cx="274638" cy="8255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1" name="Freeform 61"/>
            <p:cNvSpPr>
              <a:spLocks/>
            </p:cNvSpPr>
            <p:nvPr/>
          </p:nvSpPr>
          <p:spPr bwMode="auto">
            <a:xfrm>
              <a:off x="5159375" y="3355976"/>
              <a:ext cx="274638" cy="66675"/>
            </a:xfrm>
            <a:custGeom>
              <a:avLst/>
              <a:gdLst>
                <a:gd name="T0" fmla="*/ 66 w 73"/>
                <a:gd name="T1" fmla="*/ 18 h 18"/>
                <a:gd name="T2" fmla="*/ 73 w 73"/>
                <a:gd name="T3" fmla="*/ 11 h 18"/>
                <a:gd name="T4" fmla="*/ 37 w 73"/>
                <a:gd name="T5" fmla="*/ 0 h 18"/>
                <a:gd name="T6" fmla="*/ 0 w 73"/>
                <a:gd name="T7" fmla="*/ 11 h 18"/>
                <a:gd name="T8" fmla="*/ 8 w 73"/>
                <a:gd name="T9" fmla="*/ 18 h 18"/>
                <a:gd name="T10" fmla="*/ 37 w 73"/>
                <a:gd name="T11" fmla="*/ 14 h 18"/>
                <a:gd name="T12" fmla="*/ 66 w 73"/>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73" h="18">
                  <a:moveTo>
                    <a:pt x="66" y="18"/>
                  </a:moveTo>
                  <a:cubicBezTo>
                    <a:pt x="71" y="16"/>
                    <a:pt x="73" y="14"/>
                    <a:pt x="73" y="11"/>
                  </a:cubicBezTo>
                  <a:cubicBezTo>
                    <a:pt x="73" y="5"/>
                    <a:pt x="57" y="0"/>
                    <a:pt x="37" y="0"/>
                  </a:cubicBezTo>
                  <a:cubicBezTo>
                    <a:pt x="17" y="0"/>
                    <a:pt x="0" y="5"/>
                    <a:pt x="0" y="11"/>
                  </a:cubicBezTo>
                  <a:cubicBezTo>
                    <a:pt x="0" y="14"/>
                    <a:pt x="3" y="16"/>
                    <a:pt x="8" y="18"/>
                  </a:cubicBezTo>
                  <a:cubicBezTo>
                    <a:pt x="15" y="16"/>
                    <a:pt x="25" y="14"/>
                    <a:pt x="37" y="14"/>
                  </a:cubicBezTo>
                  <a:cubicBezTo>
                    <a:pt x="49" y="14"/>
                    <a:pt x="59" y="16"/>
                    <a:pt x="66" y="18"/>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2" name="Freeform 62"/>
            <p:cNvSpPr>
              <a:spLocks noEditPoints="1"/>
            </p:cNvSpPr>
            <p:nvPr/>
          </p:nvSpPr>
          <p:spPr bwMode="auto">
            <a:xfrm>
              <a:off x="6086475" y="2868613"/>
              <a:ext cx="1111250" cy="792163"/>
            </a:xfrm>
            <a:custGeom>
              <a:avLst/>
              <a:gdLst>
                <a:gd name="T0" fmla="*/ 242 w 296"/>
                <a:gd name="T1" fmla="*/ 210 h 210"/>
                <a:gd name="T2" fmla="*/ 249 w 296"/>
                <a:gd name="T3" fmla="*/ 209 h 210"/>
                <a:gd name="T4" fmla="*/ 268 w 296"/>
                <a:gd name="T5" fmla="*/ 194 h 210"/>
                <a:gd name="T6" fmla="*/ 287 w 296"/>
                <a:gd name="T7" fmla="*/ 164 h 210"/>
                <a:gd name="T8" fmla="*/ 287 w 296"/>
                <a:gd name="T9" fmla="*/ 164 h 210"/>
                <a:gd name="T10" fmla="*/ 296 w 296"/>
                <a:gd name="T11" fmla="*/ 157 h 210"/>
                <a:gd name="T12" fmla="*/ 288 w 296"/>
                <a:gd name="T13" fmla="*/ 118 h 210"/>
                <a:gd name="T14" fmla="*/ 288 w 296"/>
                <a:gd name="T15" fmla="*/ 118 h 210"/>
                <a:gd name="T16" fmla="*/ 296 w 296"/>
                <a:gd name="T17" fmla="*/ 94 h 210"/>
                <a:gd name="T18" fmla="*/ 296 w 296"/>
                <a:gd name="T19" fmla="*/ 86 h 210"/>
                <a:gd name="T20" fmla="*/ 288 w 296"/>
                <a:gd name="T21" fmla="*/ 54 h 210"/>
                <a:gd name="T22" fmla="*/ 295 w 296"/>
                <a:gd name="T23" fmla="*/ 46 h 210"/>
                <a:gd name="T24" fmla="*/ 293 w 296"/>
                <a:gd name="T25" fmla="*/ 38 h 210"/>
                <a:gd name="T26" fmla="*/ 275 w 296"/>
                <a:gd name="T27" fmla="*/ 22 h 210"/>
                <a:gd name="T28" fmla="*/ 242 w 296"/>
                <a:gd name="T29" fmla="*/ 8 h 210"/>
                <a:gd name="T30" fmla="*/ 242 w 296"/>
                <a:gd name="T31" fmla="*/ 8 h 210"/>
                <a:gd name="T32" fmla="*/ 219 w 296"/>
                <a:gd name="T33" fmla="*/ 0 h 210"/>
                <a:gd name="T34" fmla="*/ 211 w 296"/>
                <a:gd name="T35" fmla="*/ 0 h 210"/>
                <a:gd name="T36" fmla="*/ 187 w 296"/>
                <a:gd name="T37" fmla="*/ 8 h 210"/>
                <a:gd name="T38" fmla="*/ 148 w 296"/>
                <a:gd name="T39" fmla="*/ 8 h 210"/>
                <a:gd name="T40" fmla="*/ 148 w 296"/>
                <a:gd name="T41" fmla="*/ 8 h 210"/>
                <a:gd name="T42" fmla="*/ 124 w 296"/>
                <a:gd name="T43" fmla="*/ 0 h 210"/>
                <a:gd name="T44" fmla="*/ 117 w 296"/>
                <a:gd name="T45" fmla="*/ 0 h 210"/>
                <a:gd name="T46" fmla="*/ 93 w 296"/>
                <a:gd name="T47" fmla="*/ 8 h 210"/>
                <a:gd name="T48" fmla="*/ 54 w 296"/>
                <a:gd name="T49" fmla="*/ 8 h 210"/>
                <a:gd name="T50" fmla="*/ 54 w 296"/>
                <a:gd name="T51" fmla="*/ 8 h 210"/>
                <a:gd name="T52" fmla="*/ 29 w 296"/>
                <a:gd name="T53" fmla="*/ 6 h 210"/>
                <a:gd name="T54" fmla="*/ 22 w 296"/>
                <a:gd name="T55" fmla="*/ 10 h 210"/>
                <a:gd name="T56" fmla="*/ 13 w 296"/>
                <a:gd name="T57" fmla="*/ 33 h 210"/>
                <a:gd name="T58" fmla="*/ 8 w 296"/>
                <a:gd name="T59" fmla="*/ 70 h 210"/>
                <a:gd name="T60" fmla="*/ 0 w 296"/>
                <a:gd name="T61" fmla="*/ 54 h 210"/>
                <a:gd name="T62" fmla="*/ 8 w 296"/>
                <a:gd name="T63" fmla="*/ 78 h 210"/>
                <a:gd name="T64" fmla="*/ 8 w 296"/>
                <a:gd name="T65" fmla="*/ 117 h 210"/>
                <a:gd name="T66" fmla="*/ 8 w 296"/>
                <a:gd name="T67" fmla="*/ 117 h 210"/>
                <a:gd name="T68" fmla="*/ 0 w 296"/>
                <a:gd name="T69" fmla="*/ 140 h 210"/>
                <a:gd name="T70" fmla="*/ 8 w 296"/>
                <a:gd name="T71" fmla="*/ 148 h 210"/>
                <a:gd name="T72" fmla="*/ 8 w 296"/>
                <a:gd name="T73" fmla="*/ 163 h 210"/>
                <a:gd name="T74" fmla="*/ 10 w 296"/>
                <a:gd name="T75" fmla="*/ 188 h 210"/>
                <a:gd name="T76" fmla="*/ 15 w 296"/>
                <a:gd name="T77" fmla="*/ 194 h 210"/>
                <a:gd name="T78" fmla="*/ 53 w 296"/>
                <a:gd name="T79" fmla="*/ 202 h 210"/>
                <a:gd name="T80" fmla="*/ 53 w 296"/>
                <a:gd name="T81" fmla="*/ 210 h 210"/>
                <a:gd name="T82" fmla="*/ 61 w 296"/>
                <a:gd name="T83" fmla="*/ 210 h 210"/>
                <a:gd name="T84" fmla="*/ 85 w 296"/>
                <a:gd name="T85" fmla="*/ 202 h 210"/>
                <a:gd name="T86" fmla="*/ 124 w 296"/>
                <a:gd name="T87" fmla="*/ 202 h 210"/>
                <a:gd name="T88" fmla="*/ 124 w 296"/>
                <a:gd name="T89" fmla="*/ 202 h 210"/>
                <a:gd name="T90" fmla="*/ 148 w 296"/>
                <a:gd name="T91" fmla="*/ 210 h 210"/>
                <a:gd name="T92" fmla="*/ 156 w 296"/>
                <a:gd name="T93" fmla="*/ 210 h 210"/>
                <a:gd name="T94" fmla="*/ 179 w 296"/>
                <a:gd name="T95" fmla="*/ 202 h 210"/>
                <a:gd name="T96" fmla="*/ 218 w 296"/>
                <a:gd name="T97" fmla="*/ 202 h 210"/>
                <a:gd name="T98" fmla="*/ 218 w 296"/>
                <a:gd name="T99"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6" h="210">
                  <a:moveTo>
                    <a:pt x="242" y="202"/>
                  </a:moveTo>
                  <a:cubicBezTo>
                    <a:pt x="226" y="202"/>
                    <a:pt x="226" y="202"/>
                    <a:pt x="226" y="202"/>
                  </a:cubicBezTo>
                  <a:cubicBezTo>
                    <a:pt x="226" y="210"/>
                    <a:pt x="226" y="210"/>
                    <a:pt x="226" y="210"/>
                  </a:cubicBezTo>
                  <a:cubicBezTo>
                    <a:pt x="242" y="210"/>
                    <a:pt x="242" y="210"/>
                    <a:pt x="242" y="210"/>
                  </a:cubicBezTo>
                  <a:lnTo>
                    <a:pt x="242" y="202"/>
                  </a:lnTo>
                  <a:close/>
                  <a:moveTo>
                    <a:pt x="262" y="197"/>
                  </a:moveTo>
                  <a:cubicBezTo>
                    <a:pt x="258" y="199"/>
                    <a:pt x="253" y="201"/>
                    <a:pt x="248" y="202"/>
                  </a:cubicBezTo>
                  <a:cubicBezTo>
                    <a:pt x="249" y="209"/>
                    <a:pt x="249" y="209"/>
                    <a:pt x="249" y="209"/>
                  </a:cubicBezTo>
                  <a:cubicBezTo>
                    <a:pt x="255" y="209"/>
                    <a:pt x="260" y="207"/>
                    <a:pt x="265" y="205"/>
                  </a:cubicBezTo>
                  <a:cubicBezTo>
                    <a:pt x="262" y="197"/>
                    <a:pt x="262" y="197"/>
                    <a:pt x="262" y="197"/>
                  </a:cubicBezTo>
                  <a:close/>
                  <a:moveTo>
                    <a:pt x="278" y="184"/>
                  </a:moveTo>
                  <a:cubicBezTo>
                    <a:pt x="276" y="188"/>
                    <a:pt x="272" y="191"/>
                    <a:pt x="268" y="194"/>
                  </a:cubicBezTo>
                  <a:cubicBezTo>
                    <a:pt x="273" y="200"/>
                    <a:pt x="273" y="200"/>
                    <a:pt x="273" y="200"/>
                  </a:cubicBezTo>
                  <a:cubicBezTo>
                    <a:pt x="277" y="197"/>
                    <a:pt x="281" y="193"/>
                    <a:pt x="285" y="189"/>
                  </a:cubicBezTo>
                  <a:cubicBezTo>
                    <a:pt x="278" y="184"/>
                    <a:pt x="278" y="184"/>
                    <a:pt x="278" y="184"/>
                  </a:cubicBezTo>
                  <a:close/>
                  <a:moveTo>
                    <a:pt x="287" y="164"/>
                  </a:moveTo>
                  <a:cubicBezTo>
                    <a:pt x="286" y="169"/>
                    <a:pt x="285" y="173"/>
                    <a:pt x="282" y="178"/>
                  </a:cubicBezTo>
                  <a:cubicBezTo>
                    <a:pt x="289" y="181"/>
                    <a:pt x="289" y="181"/>
                    <a:pt x="289" y="181"/>
                  </a:cubicBezTo>
                  <a:cubicBezTo>
                    <a:pt x="292" y="176"/>
                    <a:pt x="294" y="171"/>
                    <a:pt x="295" y="165"/>
                  </a:cubicBezTo>
                  <a:cubicBezTo>
                    <a:pt x="287" y="164"/>
                    <a:pt x="287" y="164"/>
                    <a:pt x="287" y="164"/>
                  </a:cubicBezTo>
                  <a:close/>
                  <a:moveTo>
                    <a:pt x="288" y="141"/>
                  </a:moveTo>
                  <a:cubicBezTo>
                    <a:pt x="288" y="156"/>
                    <a:pt x="288" y="156"/>
                    <a:pt x="288" y="156"/>
                  </a:cubicBezTo>
                  <a:cubicBezTo>
                    <a:pt x="288" y="157"/>
                    <a:pt x="288" y="157"/>
                    <a:pt x="288" y="157"/>
                  </a:cubicBezTo>
                  <a:cubicBezTo>
                    <a:pt x="296" y="157"/>
                    <a:pt x="296" y="157"/>
                    <a:pt x="296" y="157"/>
                  </a:cubicBezTo>
                  <a:cubicBezTo>
                    <a:pt x="296" y="156"/>
                    <a:pt x="296" y="156"/>
                    <a:pt x="296" y="156"/>
                  </a:cubicBezTo>
                  <a:cubicBezTo>
                    <a:pt x="296" y="141"/>
                    <a:pt x="296" y="141"/>
                    <a:pt x="296" y="141"/>
                  </a:cubicBezTo>
                  <a:cubicBezTo>
                    <a:pt x="288" y="141"/>
                    <a:pt x="288" y="141"/>
                    <a:pt x="288" y="141"/>
                  </a:cubicBezTo>
                  <a:close/>
                  <a:moveTo>
                    <a:pt x="288" y="118"/>
                  </a:moveTo>
                  <a:cubicBezTo>
                    <a:pt x="288" y="133"/>
                    <a:pt x="288" y="133"/>
                    <a:pt x="288" y="133"/>
                  </a:cubicBezTo>
                  <a:cubicBezTo>
                    <a:pt x="296" y="133"/>
                    <a:pt x="296" y="133"/>
                    <a:pt x="296" y="133"/>
                  </a:cubicBezTo>
                  <a:cubicBezTo>
                    <a:pt x="296" y="118"/>
                    <a:pt x="296" y="118"/>
                    <a:pt x="296" y="118"/>
                  </a:cubicBezTo>
                  <a:lnTo>
                    <a:pt x="288" y="118"/>
                  </a:lnTo>
                  <a:close/>
                  <a:moveTo>
                    <a:pt x="288" y="94"/>
                  </a:moveTo>
                  <a:cubicBezTo>
                    <a:pt x="288" y="110"/>
                    <a:pt x="288" y="110"/>
                    <a:pt x="288" y="110"/>
                  </a:cubicBezTo>
                  <a:cubicBezTo>
                    <a:pt x="296" y="110"/>
                    <a:pt x="296" y="110"/>
                    <a:pt x="296" y="110"/>
                  </a:cubicBezTo>
                  <a:cubicBezTo>
                    <a:pt x="296" y="94"/>
                    <a:pt x="296" y="94"/>
                    <a:pt x="296" y="94"/>
                  </a:cubicBezTo>
                  <a:lnTo>
                    <a:pt x="288" y="94"/>
                  </a:lnTo>
                  <a:close/>
                  <a:moveTo>
                    <a:pt x="288" y="71"/>
                  </a:moveTo>
                  <a:cubicBezTo>
                    <a:pt x="288" y="86"/>
                    <a:pt x="288" y="86"/>
                    <a:pt x="288" y="86"/>
                  </a:cubicBezTo>
                  <a:cubicBezTo>
                    <a:pt x="296" y="86"/>
                    <a:pt x="296" y="86"/>
                    <a:pt x="296" y="86"/>
                  </a:cubicBezTo>
                  <a:cubicBezTo>
                    <a:pt x="296" y="71"/>
                    <a:pt x="296" y="71"/>
                    <a:pt x="296" y="71"/>
                  </a:cubicBezTo>
                  <a:lnTo>
                    <a:pt x="288" y="71"/>
                  </a:lnTo>
                  <a:close/>
                  <a:moveTo>
                    <a:pt x="287" y="48"/>
                  </a:moveTo>
                  <a:cubicBezTo>
                    <a:pt x="287" y="50"/>
                    <a:pt x="288" y="52"/>
                    <a:pt x="288" y="54"/>
                  </a:cubicBezTo>
                  <a:cubicBezTo>
                    <a:pt x="288" y="63"/>
                    <a:pt x="288" y="63"/>
                    <a:pt x="288" y="63"/>
                  </a:cubicBezTo>
                  <a:cubicBezTo>
                    <a:pt x="296" y="63"/>
                    <a:pt x="296" y="63"/>
                    <a:pt x="296" y="63"/>
                  </a:cubicBezTo>
                  <a:cubicBezTo>
                    <a:pt x="296" y="54"/>
                    <a:pt x="296" y="54"/>
                    <a:pt x="296" y="54"/>
                  </a:cubicBezTo>
                  <a:cubicBezTo>
                    <a:pt x="296" y="52"/>
                    <a:pt x="295" y="49"/>
                    <a:pt x="295" y="46"/>
                  </a:cubicBezTo>
                  <a:cubicBezTo>
                    <a:pt x="287" y="48"/>
                    <a:pt x="287" y="48"/>
                    <a:pt x="287" y="48"/>
                  </a:cubicBezTo>
                  <a:close/>
                  <a:moveTo>
                    <a:pt x="279" y="28"/>
                  </a:moveTo>
                  <a:cubicBezTo>
                    <a:pt x="282" y="32"/>
                    <a:pt x="284" y="36"/>
                    <a:pt x="286" y="41"/>
                  </a:cubicBezTo>
                  <a:cubicBezTo>
                    <a:pt x="293" y="38"/>
                    <a:pt x="293" y="38"/>
                    <a:pt x="293" y="38"/>
                  </a:cubicBezTo>
                  <a:cubicBezTo>
                    <a:pt x="291" y="33"/>
                    <a:pt x="289" y="28"/>
                    <a:pt x="286" y="23"/>
                  </a:cubicBezTo>
                  <a:cubicBezTo>
                    <a:pt x="279" y="28"/>
                    <a:pt x="279" y="28"/>
                    <a:pt x="279" y="28"/>
                  </a:cubicBezTo>
                  <a:close/>
                  <a:moveTo>
                    <a:pt x="263" y="14"/>
                  </a:moveTo>
                  <a:cubicBezTo>
                    <a:pt x="267" y="16"/>
                    <a:pt x="271" y="19"/>
                    <a:pt x="275" y="22"/>
                  </a:cubicBezTo>
                  <a:cubicBezTo>
                    <a:pt x="280" y="17"/>
                    <a:pt x="280" y="17"/>
                    <a:pt x="280" y="17"/>
                  </a:cubicBezTo>
                  <a:cubicBezTo>
                    <a:pt x="276" y="13"/>
                    <a:pt x="272" y="9"/>
                    <a:pt x="267" y="6"/>
                  </a:cubicBezTo>
                  <a:cubicBezTo>
                    <a:pt x="263" y="14"/>
                    <a:pt x="263" y="14"/>
                    <a:pt x="263" y="14"/>
                  </a:cubicBezTo>
                  <a:close/>
                  <a:moveTo>
                    <a:pt x="242" y="8"/>
                  </a:moveTo>
                  <a:cubicBezTo>
                    <a:pt x="247" y="8"/>
                    <a:pt x="252" y="9"/>
                    <a:pt x="256" y="11"/>
                  </a:cubicBezTo>
                  <a:cubicBezTo>
                    <a:pt x="259" y="3"/>
                    <a:pt x="259" y="3"/>
                    <a:pt x="259" y="3"/>
                  </a:cubicBezTo>
                  <a:cubicBezTo>
                    <a:pt x="254" y="1"/>
                    <a:pt x="248" y="0"/>
                    <a:pt x="242" y="0"/>
                  </a:cubicBezTo>
                  <a:cubicBezTo>
                    <a:pt x="242" y="8"/>
                    <a:pt x="242" y="8"/>
                    <a:pt x="242" y="8"/>
                  </a:cubicBezTo>
                  <a:close/>
                  <a:moveTo>
                    <a:pt x="219" y="8"/>
                  </a:moveTo>
                  <a:cubicBezTo>
                    <a:pt x="234" y="8"/>
                    <a:pt x="234" y="8"/>
                    <a:pt x="234" y="8"/>
                  </a:cubicBezTo>
                  <a:cubicBezTo>
                    <a:pt x="234" y="0"/>
                    <a:pt x="234" y="0"/>
                    <a:pt x="234" y="0"/>
                  </a:cubicBezTo>
                  <a:cubicBezTo>
                    <a:pt x="219" y="0"/>
                    <a:pt x="219" y="0"/>
                    <a:pt x="219" y="0"/>
                  </a:cubicBezTo>
                  <a:lnTo>
                    <a:pt x="219" y="8"/>
                  </a:lnTo>
                  <a:close/>
                  <a:moveTo>
                    <a:pt x="195" y="8"/>
                  </a:moveTo>
                  <a:cubicBezTo>
                    <a:pt x="211" y="8"/>
                    <a:pt x="211" y="8"/>
                    <a:pt x="211" y="8"/>
                  </a:cubicBezTo>
                  <a:cubicBezTo>
                    <a:pt x="211" y="0"/>
                    <a:pt x="211" y="0"/>
                    <a:pt x="211" y="0"/>
                  </a:cubicBezTo>
                  <a:cubicBezTo>
                    <a:pt x="195" y="0"/>
                    <a:pt x="195" y="0"/>
                    <a:pt x="195" y="0"/>
                  </a:cubicBezTo>
                  <a:lnTo>
                    <a:pt x="195" y="8"/>
                  </a:lnTo>
                  <a:close/>
                  <a:moveTo>
                    <a:pt x="172" y="8"/>
                  </a:moveTo>
                  <a:cubicBezTo>
                    <a:pt x="187" y="8"/>
                    <a:pt x="187" y="8"/>
                    <a:pt x="187" y="8"/>
                  </a:cubicBezTo>
                  <a:cubicBezTo>
                    <a:pt x="187" y="0"/>
                    <a:pt x="187" y="0"/>
                    <a:pt x="187" y="0"/>
                  </a:cubicBezTo>
                  <a:cubicBezTo>
                    <a:pt x="172" y="0"/>
                    <a:pt x="172" y="0"/>
                    <a:pt x="172" y="0"/>
                  </a:cubicBezTo>
                  <a:lnTo>
                    <a:pt x="172" y="8"/>
                  </a:lnTo>
                  <a:close/>
                  <a:moveTo>
                    <a:pt x="148" y="8"/>
                  </a:moveTo>
                  <a:cubicBezTo>
                    <a:pt x="164" y="8"/>
                    <a:pt x="164" y="8"/>
                    <a:pt x="164" y="8"/>
                  </a:cubicBezTo>
                  <a:cubicBezTo>
                    <a:pt x="164" y="0"/>
                    <a:pt x="164" y="0"/>
                    <a:pt x="164" y="0"/>
                  </a:cubicBezTo>
                  <a:cubicBezTo>
                    <a:pt x="148" y="0"/>
                    <a:pt x="148" y="0"/>
                    <a:pt x="148" y="0"/>
                  </a:cubicBezTo>
                  <a:lnTo>
                    <a:pt x="148" y="8"/>
                  </a:lnTo>
                  <a:close/>
                  <a:moveTo>
                    <a:pt x="124" y="8"/>
                  </a:moveTo>
                  <a:cubicBezTo>
                    <a:pt x="140" y="8"/>
                    <a:pt x="140" y="8"/>
                    <a:pt x="140" y="8"/>
                  </a:cubicBezTo>
                  <a:cubicBezTo>
                    <a:pt x="140" y="0"/>
                    <a:pt x="140" y="0"/>
                    <a:pt x="140" y="0"/>
                  </a:cubicBezTo>
                  <a:cubicBezTo>
                    <a:pt x="124" y="0"/>
                    <a:pt x="124" y="0"/>
                    <a:pt x="124" y="0"/>
                  </a:cubicBezTo>
                  <a:lnTo>
                    <a:pt x="124" y="8"/>
                  </a:lnTo>
                  <a:close/>
                  <a:moveTo>
                    <a:pt x="101" y="8"/>
                  </a:moveTo>
                  <a:cubicBezTo>
                    <a:pt x="117" y="8"/>
                    <a:pt x="117" y="8"/>
                    <a:pt x="117" y="8"/>
                  </a:cubicBezTo>
                  <a:cubicBezTo>
                    <a:pt x="117" y="0"/>
                    <a:pt x="117" y="0"/>
                    <a:pt x="117" y="0"/>
                  </a:cubicBezTo>
                  <a:cubicBezTo>
                    <a:pt x="101" y="0"/>
                    <a:pt x="101" y="0"/>
                    <a:pt x="101" y="0"/>
                  </a:cubicBezTo>
                  <a:lnTo>
                    <a:pt x="101" y="8"/>
                  </a:lnTo>
                  <a:close/>
                  <a:moveTo>
                    <a:pt x="77" y="8"/>
                  </a:moveTo>
                  <a:cubicBezTo>
                    <a:pt x="93" y="8"/>
                    <a:pt x="93" y="8"/>
                    <a:pt x="93" y="8"/>
                  </a:cubicBezTo>
                  <a:cubicBezTo>
                    <a:pt x="93" y="0"/>
                    <a:pt x="93" y="0"/>
                    <a:pt x="93" y="0"/>
                  </a:cubicBezTo>
                  <a:cubicBezTo>
                    <a:pt x="77" y="0"/>
                    <a:pt x="77" y="0"/>
                    <a:pt x="77" y="0"/>
                  </a:cubicBezTo>
                  <a:lnTo>
                    <a:pt x="77" y="8"/>
                  </a:lnTo>
                  <a:close/>
                  <a:moveTo>
                    <a:pt x="54" y="8"/>
                  </a:moveTo>
                  <a:cubicBezTo>
                    <a:pt x="69" y="8"/>
                    <a:pt x="69" y="8"/>
                    <a:pt x="69" y="8"/>
                  </a:cubicBezTo>
                  <a:cubicBezTo>
                    <a:pt x="69" y="0"/>
                    <a:pt x="69" y="0"/>
                    <a:pt x="69" y="0"/>
                  </a:cubicBezTo>
                  <a:cubicBezTo>
                    <a:pt x="54" y="0"/>
                    <a:pt x="54" y="0"/>
                    <a:pt x="54" y="0"/>
                  </a:cubicBezTo>
                  <a:lnTo>
                    <a:pt x="54" y="8"/>
                  </a:lnTo>
                  <a:close/>
                  <a:moveTo>
                    <a:pt x="33" y="13"/>
                  </a:moveTo>
                  <a:cubicBezTo>
                    <a:pt x="37" y="11"/>
                    <a:pt x="42" y="10"/>
                    <a:pt x="47" y="9"/>
                  </a:cubicBezTo>
                  <a:cubicBezTo>
                    <a:pt x="45" y="1"/>
                    <a:pt x="45" y="1"/>
                    <a:pt x="45" y="1"/>
                  </a:cubicBezTo>
                  <a:cubicBezTo>
                    <a:pt x="40" y="2"/>
                    <a:pt x="34" y="4"/>
                    <a:pt x="29" y="6"/>
                  </a:cubicBezTo>
                  <a:lnTo>
                    <a:pt x="33" y="13"/>
                  </a:lnTo>
                  <a:close/>
                  <a:moveTo>
                    <a:pt x="16" y="27"/>
                  </a:moveTo>
                  <a:cubicBezTo>
                    <a:pt x="19" y="23"/>
                    <a:pt x="23" y="20"/>
                    <a:pt x="27" y="17"/>
                  </a:cubicBezTo>
                  <a:cubicBezTo>
                    <a:pt x="22" y="10"/>
                    <a:pt x="22" y="10"/>
                    <a:pt x="22" y="10"/>
                  </a:cubicBezTo>
                  <a:cubicBezTo>
                    <a:pt x="17" y="14"/>
                    <a:pt x="13" y="18"/>
                    <a:pt x="10" y="22"/>
                  </a:cubicBezTo>
                  <a:lnTo>
                    <a:pt x="16" y="27"/>
                  </a:lnTo>
                  <a:close/>
                  <a:moveTo>
                    <a:pt x="8" y="47"/>
                  </a:moveTo>
                  <a:cubicBezTo>
                    <a:pt x="9" y="42"/>
                    <a:pt x="10" y="37"/>
                    <a:pt x="13" y="33"/>
                  </a:cubicBezTo>
                  <a:cubicBezTo>
                    <a:pt x="6" y="30"/>
                    <a:pt x="6" y="30"/>
                    <a:pt x="6" y="30"/>
                  </a:cubicBezTo>
                  <a:cubicBezTo>
                    <a:pt x="3" y="34"/>
                    <a:pt x="1" y="40"/>
                    <a:pt x="0" y="46"/>
                  </a:cubicBezTo>
                  <a:cubicBezTo>
                    <a:pt x="8" y="47"/>
                    <a:pt x="8" y="47"/>
                    <a:pt x="8" y="47"/>
                  </a:cubicBezTo>
                  <a:close/>
                  <a:moveTo>
                    <a:pt x="8" y="70"/>
                  </a:moveTo>
                  <a:cubicBezTo>
                    <a:pt x="8" y="54"/>
                    <a:pt x="8" y="54"/>
                    <a:pt x="8" y="54"/>
                  </a:cubicBezTo>
                  <a:cubicBezTo>
                    <a:pt x="8" y="54"/>
                    <a:pt x="8" y="54"/>
                    <a:pt x="8" y="54"/>
                  </a:cubicBezTo>
                  <a:cubicBezTo>
                    <a:pt x="0" y="54"/>
                    <a:pt x="0" y="54"/>
                    <a:pt x="0" y="54"/>
                  </a:cubicBezTo>
                  <a:cubicBezTo>
                    <a:pt x="0" y="54"/>
                    <a:pt x="0" y="54"/>
                    <a:pt x="0" y="54"/>
                  </a:cubicBezTo>
                  <a:cubicBezTo>
                    <a:pt x="0" y="70"/>
                    <a:pt x="0" y="70"/>
                    <a:pt x="0" y="70"/>
                  </a:cubicBezTo>
                  <a:cubicBezTo>
                    <a:pt x="8" y="70"/>
                    <a:pt x="8" y="70"/>
                    <a:pt x="8" y="70"/>
                  </a:cubicBezTo>
                  <a:close/>
                  <a:moveTo>
                    <a:pt x="8" y="93"/>
                  </a:moveTo>
                  <a:cubicBezTo>
                    <a:pt x="8" y="78"/>
                    <a:pt x="8" y="78"/>
                    <a:pt x="8" y="78"/>
                  </a:cubicBezTo>
                  <a:cubicBezTo>
                    <a:pt x="0" y="78"/>
                    <a:pt x="0" y="78"/>
                    <a:pt x="0" y="78"/>
                  </a:cubicBezTo>
                  <a:cubicBezTo>
                    <a:pt x="0" y="93"/>
                    <a:pt x="0" y="93"/>
                    <a:pt x="0" y="93"/>
                  </a:cubicBezTo>
                  <a:lnTo>
                    <a:pt x="8" y="93"/>
                  </a:lnTo>
                  <a:close/>
                  <a:moveTo>
                    <a:pt x="8" y="117"/>
                  </a:moveTo>
                  <a:cubicBezTo>
                    <a:pt x="8" y="101"/>
                    <a:pt x="8" y="101"/>
                    <a:pt x="8" y="101"/>
                  </a:cubicBezTo>
                  <a:cubicBezTo>
                    <a:pt x="0" y="101"/>
                    <a:pt x="0" y="101"/>
                    <a:pt x="0" y="101"/>
                  </a:cubicBezTo>
                  <a:cubicBezTo>
                    <a:pt x="0" y="117"/>
                    <a:pt x="0" y="117"/>
                    <a:pt x="0" y="117"/>
                  </a:cubicBezTo>
                  <a:lnTo>
                    <a:pt x="8" y="117"/>
                  </a:lnTo>
                  <a:close/>
                  <a:moveTo>
                    <a:pt x="8" y="140"/>
                  </a:moveTo>
                  <a:cubicBezTo>
                    <a:pt x="8" y="125"/>
                    <a:pt x="8" y="125"/>
                    <a:pt x="8" y="125"/>
                  </a:cubicBezTo>
                  <a:cubicBezTo>
                    <a:pt x="0" y="125"/>
                    <a:pt x="0" y="125"/>
                    <a:pt x="0" y="125"/>
                  </a:cubicBezTo>
                  <a:cubicBezTo>
                    <a:pt x="0" y="140"/>
                    <a:pt x="0" y="140"/>
                    <a:pt x="0" y="140"/>
                  </a:cubicBezTo>
                  <a:lnTo>
                    <a:pt x="8" y="140"/>
                  </a:lnTo>
                  <a:close/>
                  <a:moveTo>
                    <a:pt x="8" y="163"/>
                  </a:moveTo>
                  <a:cubicBezTo>
                    <a:pt x="8" y="161"/>
                    <a:pt x="8" y="159"/>
                    <a:pt x="8" y="156"/>
                  </a:cubicBezTo>
                  <a:cubicBezTo>
                    <a:pt x="8" y="148"/>
                    <a:pt x="8" y="148"/>
                    <a:pt x="8" y="148"/>
                  </a:cubicBezTo>
                  <a:cubicBezTo>
                    <a:pt x="0" y="148"/>
                    <a:pt x="0" y="148"/>
                    <a:pt x="0" y="148"/>
                  </a:cubicBezTo>
                  <a:cubicBezTo>
                    <a:pt x="0" y="156"/>
                    <a:pt x="0" y="156"/>
                    <a:pt x="0" y="156"/>
                  </a:cubicBezTo>
                  <a:cubicBezTo>
                    <a:pt x="0" y="159"/>
                    <a:pt x="0" y="162"/>
                    <a:pt x="0" y="164"/>
                  </a:cubicBezTo>
                  <a:cubicBezTo>
                    <a:pt x="8" y="163"/>
                    <a:pt x="8" y="163"/>
                    <a:pt x="8" y="163"/>
                  </a:cubicBezTo>
                  <a:close/>
                  <a:moveTo>
                    <a:pt x="16" y="183"/>
                  </a:moveTo>
                  <a:cubicBezTo>
                    <a:pt x="13" y="179"/>
                    <a:pt x="11" y="175"/>
                    <a:pt x="10" y="170"/>
                  </a:cubicBezTo>
                  <a:cubicBezTo>
                    <a:pt x="2" y="173"/>
                    <a:pt x="2" y="173"/>
                    <a:pt x="2" y="173"/>
                  </a:cubicBezTo>
                  <a:cubicBezTo>
                    <a:pt x="4" y="178"/>
                    <a:pt x="6" y="183"/>
                    <a:pt x="10" y="188"/>
                  </a:cubicBezTo>
                  <a:cubicBezTo>
                    <a:pt x="16" y="183"/>
                    <a:pt x="16" y="183"/>
                    <a:pt x="16" y="183"/>
                  </a:cubicBezTo>
                  <a:close/>
                  <a:moveTo>
                    <a:pt x="33" y="197"/>
                  </a:moveTo>
                  <a:cubicBezTo>
                    <a:pt x="28" y="195"/>
                    <a:pt x="24" y="192"/>
                    <a:pt x="21" y="189"/>
                  </a:cubicBezTo>
                  <a:cubicBezTo>
                    <a:pt x="15" y="194"/>
                    <a:pt x="15" y="194"/>
                    <a:pt x="15" y="194"/>
                  </a:cubicBezTo>
                  <a:cubicBezTo>
                    <a:pt x="19" y="198"/>
                    <a:pt x="24" y="202"/>
                    <a:pt x="29" y="204"/>
                  </a:cubicBezTo>
                  <a:cubicBezTo>
                    <a:pt x="33" y="197"/>
                    <a:pt x="33" y="197"/>
                    <a:pt x="33" y="197"/>
                  </a:cubicBezTo>
                  <a:close/>
                  <a:moveTo>
                    <a:pt x="53" y="202"/>
                  </a:moveTo>
                  <a:cubicBezTo>
                    <a:pt x="53" y="202"/>
                    <a:pt x="53" y="202"/>
                    <a:pt x="53" y="202"/>
                  </a:cubicBezTo>
                  <a:cubicBezTo>
                    <a:pt x="48" y="202"/>
                    <a:pt x="44" y="201"/>
                    <a:pt x="39" y="200"/>
                  </a:cubicBezTo>
                  <a:cubicBezTo>
                    <a:pt x="37" y="207"/>
                    <a:pt x="37" y="207"/>
                    <a:pt x="37" y="207"/>
                  </a:cubicBezTo>
                  <a:cubicBezTo>
                    <a:pt x="42" y="209"/>
                    <a:pt x="48" y="210"/>
                    <a:pt x="53" y="210"/>
                  </a:cubicBezTo>
                  <a:cubicBezTo>
                    <a:pt x="53" y="210"/>
                    <a:pt x="53" y="210"/>
                    <a:pt x="53" y="210"/>
                  </a:cubicBezTo>
                  <a:cubicBezTo>
                    <a:pt x="53" y="202"/>
                    <a:pt x="53" y="202"/>
                    <a:pt x="53" y="202"/>
                  </a:cubicBezTo>
                  <a:close/>
                  <a:moveTo>
                    <a:pt x="77" y="202"/>
                  </a:moveTo>
                  <a:cubicBezTo>
                    <a:pt x="61" y="202"/>
                    <a:pt x="61" y="202"/>
                    <a:pt x="61" y="202"/>
                  </a:cubicBezTo>
                  <a:cubicBezTo>
                    <a:pt x="61" y="210"/>
                    <a:pt x="61" y="210"/>
                    <a:pt x="61" y="210"/>
                  </a:cubicBezTo>
                  <a:cubicBezTo>
                    <a:pt x="77" y="210"/>
                    <a:pt x="77" y="210"/>
                    <a:pt x="77" y="210"/>
                  </a:cubicBezTo>
                  <a:lnTo>
                    <a:pt x="77" y="202"/>
                  </a:lnTo>
                  <a:close/>
                  <a:moveTo>
                    <a:pt x="101" y="202"/>
                  </a:moveTo>
                  <a:cubicBezTo>
                    <a:pt x="85" y="202"/>
                    <a:pt x="85" y="202"/>
                    <a:pt x="85" y="202"/>
                  </a:cubicBezTo>
                  <a:cubicBezTo>
                    <a:pt x="85" y="210"/>
                    <a:pt x="85" y="210"/>
                    <a:pt x="85" y="210"/>
                  </a:cubicBezTo>
                  <a:cubicBezTo>
                    <a:pt x="101" y="210"/>
                    <a:pt x="101" y="210"/>
                    <a:pt x="101" y="210"/>
                  </a:cubicBezTo>
                  <a:lnTo>
                    <a:pt x="101" y="202"/>
                  </a:lnTo>
                  <a:close/>
                  <a:moveTo>
                    <a:pt x="124" y="202"/>
                  </a:moveTo>
                  <a:cubicBezTo>
                    <a:pt x="108" y="202"/>
                    <a:pt x="108" y="202"/>
                    <a:pt x="108" y="202"/>
                  </a:cubicBezTo>
                  <a:cubicBezTo>
                    <a:pt x="108" y="210"/>
                    <a:pt x="108" y="210"/>
                    <a:pt x="108" y="210"/>
                  </a:cubicBezTo>
                  <a:cubicBezTo>
                    <a:pt x="124" y="210"/>
                    <a:pt x="124" y="210"/>
                    <a:pt x="124" y="210"/>
                  </a:cubicBezTo>
                  <a:lnTo>
                    <a:pt x="124" y="202"/>
                  </a:lnTo>
                  <a:close/>
                  <a:moveTo>
                    <a:pt x="148" y="202"/>
                  </a:moveTo>
                  <a:cubicBezTo>
                    <a:pt x="132" y="202"/>
                    <a:pt x="132" y="202"/>
                    <a:pt x="132" y="202"/>
                  </a:cubicBezTo>
                  <a:cubicBezTo>
                    <a:pt x="132" y="210"/>
                    <a:pt x="132" y="210"/>
                    <a:pt x="132" y="210"/>
                  </a:cubicBezTo>
                  <a:cubicBezTo>
                    <a:pt x="148" y="210"/>
                    <a:pt x="148" y="210"/>
                    <a:pt x="148" y="210"/>
                  </a:cubicBezTo>
                  <a:lnTo>
                    <a:pt x="148" y="202"/>
                  </a:lnTo>
                  <a:close/>
                  <a:moveTo>
                    <a:pt x="171" y="202"/>
                  </a:moveTo>
                  <a:cubicBezTo>
                    <a:pt x="156" y="202"/>
                    <a:pt x="156" y="202"/>
                    <a:pt x="156" y="202"/>
                  </a:cubicBezTo>
                  <a:cubicBezTo>
                    <a:pt x="156" y="210"/>
                    <a:pt x="156" y="210"/>
                    <a:pt x="156" y="210"/>
                  </a:cubicBezTo>
                  <a:cubicBezTo>
                    <a:pt x="171" y="210"/>
                    <a:pt x="171" y="210"/>
                    <a:pt x="171" y="210"/>
                  </a:cubicBezTo>
                  <a:lnTo>
                    <a:pt x="171" y="202"/>
                  </a:lnTo>
                  <a:close/>
                  <a:moveTo>
                    <a:pt x="195" y="202"/>
                  </a:moveTo>
                  <a:cubicBezTo>
                    <a:pt x="179" y="202"/>
                    <a:pt x="179" y="202"/>
                    <a:pt x="179" y="202"/>
                  </a:cubicBezTo>
                  <a:cubicBezTo>
                    <a:pt x="179" y="210"/>
                    <a:pt x="179" y="210"/>
                    <a:pt x="179" y="210"/>
                  </a:cubicBezTo>
                  <a:cubicBezTo>
                    <a:pt x="195" y="210"/>
                    <a:pt x="195" y="210"/>
                    <a:pt x="195" y="210"/>
                  </a:cubicBezTo>
                  <a:lnTo>
                    <a:pt x="195" y="202"/>
                  </a:lnTo>
                  <a:close/>
                  <a:moveTo>
                    <a:pt x="218" y="202"/>
                  </a:moveTo>
                  <a:cubicBezTo>
                    <a:pt x="203" y="202"/>
                    <a:pt x="203" y="202"/>
                    <a:pt x="203" y="202"/>
                  </a:cubicBezTo>
                  <a:cubicBezTo>
                    <a:pt x="203" y="210"/>
                    <a:pt x="203" y="210"/>
                    <a:pt x="203" y="210"/>
                  </a:cubicBezTo>
                  <a:cubicBezTo>
                    <a:pt x="218" y="210"/>
                    <a:pt x="218" y="210"/>
                    <a:pt x="218" y="210"/>
                  </a:cubicBezTo>
                  <a:lnTo>
                    <a:pt x="218" y="202"/>
                  </a:lnTo>
                  <a:close/>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 name="Freeform 94"/>
            <p:cNvSpPr>
              <a:spLocks/>
            </p:cNvSpPr>
            <p:nvPr/>
          </p:nvSpPr>
          <p:spPr bwMode="auto">
            <a:xfrm>
              <a:off x="6386513" y="3024188"/>
              <a:ext cx="511175" cy="485775"/>
            </a:xfrm>
            <a:custGeom>
              <a:avLst/>
              <a:gdLst>
                <a:gd name="T0" fmla="*/ 161 w 322"/>
                <a:gd name="T1" fmla="*/ 254 h 306"/>
                <a:gd name="T2" fmla="*/ 62 w 322"/>
                <a:gd name="T3" fmla="*/ 306 h 306"/>
                <a:gd name="T4" fmla="*/ 81 w 322"/>
                <a:gd name="T5" fmla="*/ 194 h 306"/>
                <a:gd name="T6" fmla="*/ 0 w 322"/>
                <a:gd name="T7" fmla="*/ 116 h 306"/>
                <a:gd name="T8" fmla="*/ 112 w 322"/>
                <a:gd name="T9" fmla="*/ 99 h 306"/>
                <a:gd name="T10" fmla="*/ 161 w 322"/>
                <a:gd name="T11" fmla="*/ 0 h 306"/>
                <a:gd name="T12" fmla="*/ 211 w 322"/>
                <a:gd name="T13" fmla="*/ 99 h 306"/>
                <a:gd name="T14" fmla="*/ 322 w 322"/>
                <a:gd name="T15" fmla="*/ 116 h 306"/>
                <a:gd name="T16" fmla="*/ 242 w 322"/>
                <a:gd name="T17" fmla="*/ 194 h 306"/>
                <a:gd name="T18" fmla="*/ 261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2" y="306"/>
                  </a:lnTo>
                  <a:lnTo>
                    <a:pt x="81" y="194"/>
                  </a:lnTo>
                  <a:lnTo>
                    <a:pt x="0" y="116"/>
                  </a:lnTo>
                  <a:lnTo>
                    <a:pt x="112" y="99"/>
                  </a:lnTo>
                  <a:lnTo>
                    <a:pt x="161" y="0"/>
                  </a:lnTo>
                  <a:lnTo>
                    <a:pt x="211" y="99"/>
                  </a:lnTo>
                  <a:lnTo>
                    <a:pt x="322" y="116"/>
                  </a:lnTo>
                  <a:lnTo>
                    <a:pt x="242" y="194"/>
                  </a:lnTo>
                  <a:lnTo>
                    <a:pt x="261"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95"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endParaRPr kumimoji="0" lang="en-US" sz="4705" b="0" i="0" u="none" strike="noStrike" kern="1200" cap="none" spc="-100"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endParaRPr>
          </a:p>
        </p:txBody>
      </p:sp>
      <p:sp>
        <p:nvSpPr>
          <p:cNvPr id="96"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dirty="0">
                <a:gradFill>
                  <a:gsLst>
                    <a:gs pos="1250">
                      <a:srgbClr val="0078D7"/>
                    </a:gs>
                    <a:gs pos="99000">
                      <a:srgbClr val="0078D7"/>
                    </a:gs>
                  </a:gsLst>
                  <a:lin ang="5400000" scaled="0"/>
                </a:gradFill>
                <a:latin typeface="Segoe UI Light"/>
              </a:rPr>
              <a:t>Example: </a:t>
            </a:r>
            <a:r>
              <a:rPr lang="en-US" dirty="0" err="1">
                <a:gradFill>
                  <a:gsLst>
                    <a:gs pos="1250">
                      <a:srgbClr val="0078D7"/>
                    </a:gs>
                    <a:gs pos="99000">
                      <a:srgbClr val="0078D7"/>
                    </a:gs>
                  </a:gsLst>
                  <a:lin ang="5400000" scaled="0"/>
                </a:gradFill>
                <a:latin typeface="Segoe UI Light"/>
              </a:rPr>
              <a:t>Serverless</a:t>
            </a:r>
            <a:r>
              <a:rPr lang="en-US" dirty="0">
                <a:gradFill>
                  <a:gsLst>
                    <a:gs pos="1250">
                      <a:srgbClr val="0078D7"/>
                    </a:gs>
                    <a:gs pos="99000">
                      <a:srgbClr val="0078D7"/>
                    </a:gs>
                  </a:gsLst>
                  <a:lin ang="5400000" scaled="0"/>
                </a:gradFill>
                <a:latin typeface="Segoe UI Light"/>
              </a:rPr>
              <a:t> Web Applications architectures</a:t>
            </a:r>
            <a:endParaRPr kumimoji="0" lang="en-US" sz="3921" b="0" i="0" u="none" strike="noStrike" kern="1200" cap="none" spc="0" normalizeH="0" baseline="0" noProof="0" dirty="0">
              <a:ln>
                <a:noFill/>
              </a:ln>
              <a:gradFill>
                <a:gsLst>
                  <a:gs pos="1250">
                    <a:srgbClr val="0078D7"/>
                  </a:gs>
                  <a:gs pos="99000">
                    <a:srgbClr val="0078D7"/>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2197866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962150" y="2163763"/>
            <a:ext cx="8267700" cy="253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2" name="Group 1"/>
          <p:cNvGrpSpPr/>
          <p:nvPr/>
        </p:nvGrpSpPr>
        <p:grpSpPr>
          <a:xfrm>
            <a:off x="1965325" y="2155826"/>
            <a:ext cx="1957388" cy="2576512"/>
            <a:chOff x="1965325" y="2155826"/>
            <a:chExt cx="1957388" cy="2576512"/>
          </a:xfrm>
        </p:grpSpPr>
        <p:sp>
          <p:nvSpPr>
            <p:cNvPr id="5" name="Rectangle 5"/>
            <p:cNvSpPr>
              <a:spLocks noChangeArrowheads="1"/>
            </p:cNvSpPr>
            <p:nvPr/>
          </p:nvSpPr>
          <p:spPr bwMode="auto">
            <a:xfrm>
              <a:off x="1965325" y="4208463"/>
              <a:ext cx="14303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rPr>
                <a:t>Photo taken and</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6" name="Rectangle 6"/>
            <p:cNvSpPr>
              <a:spLocks noChangeArrowheads="1"/>
            </p:cNvSpPr>
            <p:nvPr/>
          </p:nvSpPr>
          <p:spPr bwMode="auto">
            <a:xfrm>
              <a:off x="1970088" y="44275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rPr>
                <a:t>W</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7" name="Rectangle 7"/>
            <p:cNvSpPr>
              <a:spLocks noChangeArrowheads="1"/>
            </p:cNvSpPr>
            <p:nvPr/>
          </p:nvSpPr>
          <p:spPr bwMode="auto">
            <a:xfrm>
              <a:off x="2127250" y="4427538"/>
              <a:ext cx="1254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rPr>
                <a:t>ebHook called</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8" name="Freeform 8"/>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 name="Freeform 9"/>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 name="Freeform 10"/>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Freeform 11"/>
            <p:cNvSpPr>
              <a:spLocks noEditPoints="1"/>
            </p:cNvSpPr>
            <p:nvPr/>
          </p:nvSpPr>
          <p:spPr bwMode="auto">
            <a:xfrm>
              <a:off x="3516313"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Freeform 12"/>
            <p:cNvSpPr>
              <a:spLocks/>
            </p:cNvSpPr>
            <p:nvPr/>
          </p:nvSpPr>
          <p:spPr bwMode="auto">
            <a:xfrm>
              <a:off x="3790950"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Freeform 31"/>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Rectangle 32"/>
            <p:cNvSpPr>
              <a:spLocks noChangeArrowheads="1"/>
            </p:cNvSpPr>
            <p:nvPr/>
          </p:nvSpPr>
          <p:spPr bwMode="auto">
            <a:xfrm>
              <a:off x="2247900" y="2894013"/>
              <a:ext cx="674688" cy="7953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 name="Rectangle 33"/>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 name="Oval 34"/>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 name="Oval 35"/>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 name="Freeform 36"/>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 name="Freeform 37"/>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 name="Freeform 38"/>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 name="Freeform 39"/>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 name="Freeform 40"/>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Freeform 41"/>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Freeform 42"/>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 name="Rectangle 43"/>
            <p:cNvSpPr>
              <a:spLocks noChangeArrowheads="1"/>
            </p:cNvSpPr>
            <p:nvPr/>
          </p:nvSpPr>
          <p:spPr bwMode="auto">
            <a:xfrm>
              <a:off x="2705100" y="3432176"/>
              <a:ext cx="706438" cy="569913"/>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 name="Rectangle 44"/>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Rectangle 45"/>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Rectangle 46"/>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Rectangle 47"/>
            <p:cNvSpPr>
              <a:spLocks noChangeArrowheads="1"/>
            </p:cNvSpPr>
            <p:nvPr/>
          </p:nvSpPr>
          <p:spPr bwMode="auto">
            <a:xfrm>
              <a:off x="2762250" y="3492501"/>
              <a:ext cx="592138" cy="4524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Rectangle 48"/>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Freeform 49"/>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Freeform 50"/>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Freeform 51"/>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15" name="Group 114"/>
          <p:cNvGrpSpPr/>
          <p:nvPr/>
        </p:nvGrpSpPr>
        <p:grpSpPr>
          <a:xfrm>
            <a:off x="4038600" y="2630488"/>
            <a:ext cx="3006725" cy="2019300"/>
            <a:chOff x="4038600" y="2630488"/>
            <a:chExt cx="3006725" cy="2019300"/>
          </a:xfrm>
        </p:grpSpPr>
        <p:sp>
          <p:nvSpPr>
            <p:cNvPr id="21" name="Freeform 21"/>
            <p:cNvSpPr>
              <a:spLocks/>
            </p:cNvSpPr>
            <p:nvPr/>
          </p:nvSpPr>
          <p:spPr bwMode="auto">
            <a:xfrm>
              <a:off x="4511675"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Freeform 22"/>
            <p:cNvSpPr>
              <a:spLocks/>
            </p:cNvSpPr>
            <p:nvPr/>
          </p:nvSpPr>
          <p:spPr bwMode="auto">
            <a:xfrm>
              <a:off x="4038600"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23"/>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Freeform 24"/>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Freeform 25"/>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Freeform 26"/>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Rectangle 27"/>
            <p:cNvSpPr>
              <a:spLocks noChangeArrowheads="1"/>
            </p:cNvSpPr>
            <p:nvPr/>
          </p:nvSpPr>
          <p:spPr bwMode="auto">
            <a:xfrm>
              <a:off x="4732338" y="4344988"/>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Sto</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28" name="Rectangle 28"/>
            <p:cNvSpPr>
              <a:spLocks noChangeArrowheads="1"/>
            </p:cNvSpPr>
            <p:nvPr/>
          </p:nvSpPr>
          <p:spPr bwMode="auto">
            <a:xfrm>
              <a:off x="4976813"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r</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29" name="Rectangle 29"/>
            <p:cNvSpPr>
              <a:spLocks noChangeArrowheads="1"/>
            </p:cNvSpPr>
            <p:nvPr/>
          </p:nvSpPr>
          <p:spPr bwMode="auto">
            <a:xfrm>
              <a:off x="5033963" y="4344988"/>
              <a:ext cx="15382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es in blob storage</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30" name="Freeform 30"/>
            <p:cNvSpPr>
              <a:spLocks noEditPoints="1"/>
            </p:cNvSpPr>
            <p:nvPr/>
          </p:nvSpPr>
          <p:spPr bwMode="auto">
            <a:xfrm>
              <a:off x="4064000" y="2630488"/>
              <a:ext cx="2981325" cy="1657350"/>
            </a:xfrm>
            <a:custGeom>
              <a:avLst/>
              <a:gdLst>
                <a:gd name="T0" fmla="*/ 162 w 794"/>
                <a:gd name="T1" fmla="*/ 6 h 440"/>
                <a:gd name="T2" fmla="*/ 200 w 794"/>
                <a:gd name="T3" fmla="*/ 8 h 440"/>
                <a:gd name="T4" fmla="*/ 223 w 794"/>
                <a:gd name="T5" fmla="*/ 8 h 440"/>
                <a:gd name="T6" fmla="*/ 269 w 794"/>
                <a:gd name="T7" fmla="*/ 0 h 440"/>
                <a:gd name="T8" fmla="*/ 276 w 794"/>
                <a:gd name="T9" fmla="*/ 8 h 440"/>
                <a:gd name="T10" fmla="*/ 314 w 794"/>
                <a:gd name="T11" fmla="*/ 0 h 440"/>
                <a:gd name="T12" fmla="*/ 345 w 794"/>
                <a:gd name="T13" fmla="*/ 0 h 440"/>
                <a:gd name="T14" fmla="*/ 383 w 794"/>
                <a:gd name="T15" fmla="*/ 8 h 440"/>
                <a:gd name="T16" fmla="*/ 428 w 794"/>
                <a:gd name="T17" fmla="*/ 0 h 440"/>
                <a:gd name="T18" fmla="*/ 436 w 794"/>
                <a:gd name="T19" fmla="*/ 8 h 440"/>
                <a:gd name="T20" fmla="*/ 474 w 794"/>
                <a:gd name="T21" fmla="*/ 0 h 440"/>
                <a:gd name="T22" fmla="*/ 504 w 794"/>
                <a:gd name="T23" fmla="*/ 0 h 440"/>
                <a:gd name="T24" fmla="*/ 543 w 794"/>
                <a:gd name="T25" fmla="*/ 8 h 440"/>
                <a:gd name="T26" fmla="*/ 588 w 794"/>
                <a:gd name="T27" fmla="*/ 0 h 440"/>
                <a:gd name="T28" fmla="*/ 588 w 794"/>
                <a:gd name="T29" fmla="*/ 0 h 440"/>
                <a:gd name="T30" fmla="*/ 619 w 794"/>
                <a:gd name="T31" fmla="*/ 4 h 440"/>
                <a:gd name="T32" fmla="*/ 653 w 794"/>
                <a:gd name="T33" fmla="*/ 22 h 440"/>
                <a:gd name="T34" fmla="*/ 697 w 794"/>
                <a:gd name="T35" fmla="*/ 36 h 440"/>
                <a:gd name="T36" fmla="*/ 699 w 794"/>
                <a:gd name="T37" fmla="*/ 46 h 440"/>
                <a:gd name="T38" fmla="*/ 733 w 794"/>
                <a:gd name="T39" fmla="*/ 65 h 440"/>
                <a:gd name="T40" fmla="*/ 753 w 794"/>
                <a:gd name="T41" fmla="*/ 89 h 440"/>
                <a:gd name="T42" fmla="*/ 766 w 794"/>
                <a:gd name="T43" fmla="*/ 126 h 440"/>
                <a:gd name="T44" fmla="*/ 788 w 794"/>
                <a:gd name="T45" fmla="*/ 166 h 440"/>
                <a:gd name="T46" fmla="*/ 782 w 794"/>
                <a:gd name="T47" fmla="*/ 175 h 440"/>
                <a:gd name="T48" fmla="*/ 794 w 794"/>
                <a:gd name="T49" fmla="*/ 212 h 440"/>
                <a:gd name="T50" fmla="*/ 786 w 794"/>
                <a:gd name="T51" fmla="*/ 235 h 440"/>
                <a:gd name="T52" fmla="*/ 791 w 794"/>
                <a:gd name="T53" fmla="*/ 258 h 440"/>
                <a:gd name="T54" fmla="*/ 784 w 794"/>
                <a:gd name="T55" fmla="*/ 288 h 440"/>
                <a:gd name="T56" fmla="*/ 769 w 794"/>
                <a:gd name="T57" fmla="*/ 307 h 440"/>
                <a:gd name="T58" fmla="*/ 758 w 794"/>
                <a:gd name="T59" fmla="*/ 344 h 440"/>
                <a:gd name="T60" fmla="*/ 739 w 794"/>
                <a:gd name="T61" fmla="*/ 369 h 440"/>
                <a:gd name="T62" fmla="*/ 706 w 794"/>
                <a:gd name="T63" fmla="*/ 389 h 440"/>
                <a:gd name="T64" fmla="*/ 671 w 794"/>
                <a:gd name="T65" fmla="*/ 419 h 440"/>
                <a:gd name="T66" fmla="*/ 664 w 794"/>
                <a:gd name="T67" fmla="*/ 422 h 440"/>
                <a:gd name="T68" fmla="*/ 625 w 794"/>
                <a:gd name="T69" fmla="*/ 427 h 440"/>
                <a:gd name="T70" fmla="*/ 604 w 794"/>
                <a:gd name="T71" fmla="*/ 438 h 440"/>
                <a:gd name="T72" fmla="*/ 558 w 794"/>
                <a:gd name="T73" fmla="*/ 440 h 440"/>
                <a:gd name="T74" fmla="*/ 550 w 794"/>
                <a:gd name="T75" fmla="*/ 432 h 440"/>
                <a:gd name="T76" fmla="*/ 512 w 794"/>
                <a:gd name="T77" fmla="*/ 440 h 440"/>
                <a:gd name="T78" fmla="*/ 482 w 794"/>
                <a:gd name="T79" fmla="*/ 440 h 440"/>
                <a:gd name="T80" fmla="*/ 444 w 794"/>
                <a:gd name="T81" fmla="*/ 432 h 440"/>
                <a:gd name="T82" fmla="*/ 398 w 794"/>
                <a:gd name="T83" fmla="*/ 440 h 440"/>
                <a:gd name="T84" fmla="*/ 391 w 794"/>
                <a:gd name="T85" fmla="*/ 432 h 440"/>
                <a:gd name="T86" fmla="*/ 353 w 794"/>
                <a:gd name="T87" fmla="*/ 440 h 440"/>
                <a:gd name="T88" fmla="*/ 322 w 794"/>
                <a:gd name="T89" fmla="*/ 440 h 440"/>
                <a:gd name="T90" fmla="*/ 284 w 794"/>
                <a:gd name="T91" fmla="*/ 432 h 440"/>
                <a:gd name="T92" fmla="*/ 238 w 794"/>
                <a:gd name="T93" fmla="*/ 440 h 440"/>
                <a:gd name="T94" fmla="*/ 231 w 794"/>
                <a:gd name="T95" fmla="*/ 432 h 440"/>
                <a:gd name="T96" fmla="*/ 192 w 794"/>
                <a:gd name="T97" fmla="*/ 439 h 440"/>
                <a:gd name="T98" fmla="*/ 147 w 794"/>
                <a:gd name="T99" fmla="*/ 429 h 440"/>
                <a:gd name="T100" fmla="*/ 142 w 794"/>
                <a:gd name="T101" fmla="*/ 419 h 440"/>
                <a:gd name="T102" fmla="*/ 105 w 794"/>
                <a:gd name="T103" fmla="*/ 410 h 440"/>
                <a:gd name="T104" fmla="*/ 79 w 794"/>
                <a:gd name="T105" fmla="*/ 392 h 440"/>
                <a:gd name="T106" fmla="*/ 68 w 794"/>
                <a:gd name="T107" fmla="*/ 371 h 440"/>
                <a:gd name="T108" fmla="*/ 44 w 794"/>
                <a:gd name="T109" fmla="*/ 342 h 440"/>
                <a:gd name="T110" fmla="*/ 15 w 794"/>
                <a:gd name="T111" fmla="*/ 306 h 440"/>
                <a:gd name="T112" fmla="*/ 20 w 794"/>
                <a:gd name="T113" fmla="*/ 296 h 440"/>
                <a:gd name="T114" fmla="*/ 10 w 794"/>
                <a:gd name="T115" fmla="*/ 260 h 440"/>
                <a:gd name="T116" fmla="*/ 0 w 794"/>
                <a:gd name="T117" fmla="*/ 215 h 440"/>
                <a:gd name="T118" fmla="*/ 1 w 794"/>
                <a:gd name="T119" fmla="*/ 192 h 440"/>
                <a:gd name="T120" fmla="*/ 10 w 794"/>
                <a:gd name="T121" fmla="*/ 185 h 440"/>
                <a:gd name="T122" fmla="*/ 18 w 794"/>
                <a:gd name="T123" fmla="*/ 149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4" h="440">
                  <a:moveTo>
                    <a:pt x="154" y="9"/>
                  </a:moveTo>
                  <a:cubicBezTo>
                    <a:pt x="152" y="9"/>
                    <a:pt x="150" y="10"/>
                    <a:pt x="148" y="10"/>
                  </a:cubicBezTo>
                  <a:cubicBezTo>
                    <a:pt x="151" y="18"/>
                    <a:pt x="151" y="18"/>
                    <a:pt x="151" y="18"/>
                  </a:cubicBezTo>
                  <a:cubicBezTo>
                    <a:pt x="153" y="17"/>
                    <a:pt x="155" y="17"/>
                    <a:pt x="156" y="16"/>
                  </a:cubicBezTo>
                  <a:cubicBezTo>
                    <a:pt x="154" y="9"/>
                    <a:pt x="154" y="9"/>
                    <a:pt x="154" y="9"/>
                  </a:cubicBezTo>
                  <a:moveTo>
                    <a:pt x="177" y="3"/>
                  </a:moveTo>
                  <a:cubicBezTo>
                    <a:pt x="172" y="4"/>
                    <a:pt x="167" y="5"/>
                    <a:pt x="162" y="6"/>
                  </a:cubicBezTo>
                  <a:cubicBezTo>
                    <a:pt x="164" y="14"/>
                    <a:pt x="164" y="14"/>
                    <a:pt x="164" y="14"/>
                  </a:cubicBezTo>
                  <a:cubicBezTo>
                    <a:pt x="168" y="13"/>
                    <a:pt x="173" y="12"/>
                    <a:pt x="178" y="11"/>
                  </a:cubicBezTo>
                  <a:cubicBezTo>
                    <a:pt x="177" y="3"/>
                    <a:pt x="177" y="3"/>
                    <a:pt x="177" y="3"/>
                  </a:cubicBezTo>
                  <a:moveTo>
                    <a:pt x="200" y="0"/>
                  </a:moveTo>
                  <a:cubicBezTo>
                    <a:pt x="195" y="1"/>
                    <a:pt x="190" y="1"/>
                    <a:pt x="184" y="2"/>
                  </a:cubicBezTo>
                  <a:cubicBezTo>
                    <a:pt x="186" y="10"/>
                    <a:pt x="186" y="10"/>
                    <a:pt x="186" y="10"/>
                  </a:cubicBezTo>
                  <a:cubicBezTo>
                    <a:pt x="190" y="9"/>
                    <a:pt x="195" y="9"/>
                    <a:pt x="200" y="8"/>
                  </a:cubicBezTo>
                  <a:cubicBezTo>
                    <a:pt x="200" y="0"/>
                    <a:pt x="200" y="0"/>
                    <a:pt x="200" y="0"/>
                  </a:cubicBezTo>
                  <a:moveTo>
                    <a:pt x="223" y="0"/>
                  </a:moveTo>
                  <a:cubicBezTo>
                    <a:pt x="214" y="0"/>
                    <a:pt x="214" y="0"/>
                    <a:pt x="214" y="0"/>
                  </a:cubicBezTo>
                  <a:cubicBezTo>
                    <a:pt x="212" y="0"/>
                    <a:pt x="210" y="0"/>
                    <a:pt x="208" y="0"/>
                  </a:cubicBezTo>
                  <a:cubicBezTo>
                    <a:pt x="208" y="8"/>
                    <a:pt x="208" y="8"/>
                    <a:pt x="208" y="8"/>
                  </a:cubicBezTo>
                  <a:cubicBezTo>
                    <a:pt x="210" y="8"/>
                    <a:pt x="212" y="8"/>
                    <a:pt x="214" y="8"/>
                  </a:cubicBezTo>
                  <a:cubicBezTo>
                    <a:pt x="223" y="8"/>
                    <a:pt x="223" y="8"/>
                    <a:pt x="223" y="8"/>
                  </a:cubicBezTo>
                  <a:cubicBezTo>
                    <a:pt x="223" y="0"/>
                    <a:pt x="223" y="0"/>
                    <a:pt x="223" y="0"/>
                  </a:cubicBezTo>
                  <a:moveTo>
                    <a:pt x="246" y="0"/>
                  </a:moveTo>
                  <a:cubicBezTo>
                    <a:pt x="231" y="0"/>
                    <a:pt x="231" y="0"/>
                    <a:pt x="231" y="0"/>
                  </a:cubicBezTo>
                  <a:cubicBezTo>
                    <a:pt x="231" y="8"/>
                    <a:pt x="231" y="8"/>
                    <a:pt x="231" y="8"/>
                  </a:cubicBezTo>
                  <a:cubicBezTo>
                    <a:pt x="246" y="8"/>
                    <a:pt x="246" y="8"/>
                    <a:pt x="246" y="8"/>
                  </a:cubicBezTo>
                  <a:cubicBezTo>
                    <a:pt x="246" y="0"/>
                    <a:pt x="246" y="0"/>
                    <a:pt x="246" y="0"/>
                  </a:cubicBezTo>
                  <a:moveTo>
                    <a:pt x="269" y="0"/>
                  </a:moveTo>
                  <a:cubicBezTo>
                    <a:pt x="253" y="0"/>
                    <a:pt x="253" y="0"/>
                    <a:pt x="253" y="0"/>
                  </a:cubicBezTo>
                  <a:cubicBezTo>
                    <a:pt x="253" y="8"/>
                    <a:pt x="253" y="8"/>
                    <a:pt x="253" y="8"/>
                  </a:cubicBezTo>
                  <a:cubicBezTo>
                    <a:pt x="269" y="8"/>
                    <a:pt x="269" y="8"/>
                    <a:pt x="269" y="8"/>
                  </a:cubicBezTo>
                  <a:cubicBezTo>
                    <a:pt x="269" y="0"/>
                    <a:pt x="269" y="0"/>
                    <a:pt x="269" y="0"/>
                  </a:cubicBezTo>
                  <a:moveTo>
                    <a:pt x="291" y="0"/>
                  </a:moveTo>
                  <a:cubicBezTo>
                    <a:pt x="276" y="0"/>
                    <a:pt x="276" y="0"/>
                    <a:pt x="276" y="0"/>
                  </a:cubicBezTo>
                  <a:cubicBezTo>
                    <a:pt x="276" y="8"/>
                    <a:pt x="276" y="8"/>
                    <a:pt x="276" y="8"/>
                  </a:cubicBezTo>
                  <a:cubicBezTo>
                    <a:pt x="291" y="8"/>
                    <a:pt x="291" y="8"/>
                    <a:pt x="291" y="8"/>
                  </a:cubicBezTo>
                  <a:cubicBezTo>
                    <a:pt x="291" y="0"/>
                    <a:pt x="291" y="0"/>
                    <a:pt x="291" y="0"/>
                  </a:cubicBezTo>
                  <a:moveTo>
                    <a:pt x="314" y="0"/>
                  </a:moveTo>
                  <a:cubicBezTo>
                    <a:pt x="299" y="0"/>
                    <a:pt x="299" y="0"/>
                    <a:pt x="299" y="0"/>
                  </a:cubicBezTo>
                  <a:cubicBezTo>
                    <a:pt x="299" y="8"/>
                    <a:pt x="299" y="8"/>
                    <a:pt x="299" y="8"/>
                  </a:cubicBezTo>
                  <a:cubicBezTo>
                    <a:pt x="314" y="8"/>
                    <a:pt x="314" y="8"/>
                    <a:pt x="314" y="8"/>
                  </a:cubicBezTo>
                  <a:cubicBezTo>
                    <a:pt x="314" y="0"/>
                    <a:pt x="314" y="0"/>
                    <a:pt x="314" y="0"/>
                  </a:cubicBezTo>
                  <a:moveTo>
                    <a:pt x="337" y="0"/>
                  </a:moveTo>
                  <a:cubicBezTo>
                    <a:pt x="322" y="0"/>
                    <a:pt x="322" y="0"/>
                    <a:pt x="322" y="0"/>
                  </a:cubicBezTo>
                  <a:cubicBezTo>
                    <a:pt x="322" y="8"/>
                    <a:pt x="322" y="8"/>
                    <a:pt x="322" y="8"/>
                  </a:cubicBezTo>
                  <a:cubicBezTo>
                    <a:pt x="337" y="8"/>
                    <a:pt x="337" y="8"/>
                    <a:pt x="337" y="8"/>
                  </a:cubicBezTo>
                  <a:cubicBezTo>
                    <a:pt x="337" y="0"/>
                    <a:pt x="337" y="0"/>
                    <a:pt x="337" y="0"/>
                  </a:cubicBezTo>
                  <a:moveTo>
                    <a:pt x="360" y="0"/>
                  </a:moveTo>
                  <a:cubicBezTo>
                    <a:pt x="345" y="0"/>
                    <a:pt x="345" y="0"/>
                    <a:pt x="345" y="0"/>
                  </a:cubicBezTo>
                  <a:cubicBezTo>
                    <a:pt x="345" y="8"/>
                    <a:pt x="345" y="8"/>
                    <a:pt x="345" y="8"/>
                  </a:cubicBezTo>
                  <a:cubicBezTo>
                    <a:pt x="360" y="8"/>
                    <a:pt x="360" y="8"/>
                    <a:pt x="360" y="8"/>
                  </a:cubicBezTo>
                  <a:cubicBezTo>
                    <a:pt x="360" y="0"/>
                    <a:pt x="360" y="0"/>
                    <a:pt x="360" y="0"/>
                  </a:cubicBezTo>
                  <a:moveTo>
                    <a:pt x="383" y="0"/>
                  </a:moveTo>
                  <a:cubicBezTo>
                    <a:pt x="368" y="0"/>
                    <a:pt x="368" y="0"/>
                    <a:pt x="368" y="0"/>
                  </a:cubicBezTo>
                  <a:cubicBezTo>
                    <a:pt x="368" y="8"/>
                    <a:pt x="368" y="8"/>
                    <a:pt x="368" y="8"/>
                  </a:cubicBezTo>
                  <a:cubicBezTo>
                    <a:pt x="383" y="8"/>
                    <a:pt x="383" y="8"/>
                    <a:pt x="383" y="8"/>
                  </a:cubicBezTo>
                  <a:cubicBezTo>
                    <a:pt x="383" y="0"/>
                    <a:pt x="383" y="0"/>
                    <a:pt x="383" y="0"/>
                  </a:cubicBezTo>
                  <a:moveTo>
                    <a:pt x="406" y="0"/>
                  </a:moveTo>
                  <a:cubicBezTo>
                    <a:pt x="390" y="0"/>
                    <a:pt x="390" y="0"/>
                    <a:pt x="390" y="0"/>
                  </a:cubicBezTo>
                  <a:cubicBezTo>
                    <a:pt x="390" y="8"/>
                    <a:pt x="390" y="8"/>
                    <a:pt x="390" y="8"/>
                  </a:cubicBezTo>
                  <a:cubicBezTo>
                    <a:pt x="406" y="8"/>
                    <a:pt x="406" y="8"/>
                    <a:pt x="406" y="8"/>
                  </a:cubicBezTo>
                  <a:cubicBezTo>
                    <a:pt x="406" y="0"/>
                    <a:pt x="406" y="0"/>
                    <a:pt x="406" y="0"/>
                  </a:cubicBezTo>
                  <a:moveTo>
                    <a:pt x="428" y="0"/>
                  </a:moveTo>
                  <a:cubicBezTo>
                    <a:pt x="413" y="0"/>
                    <a:pt x="413" y="0"/>
                    <a:pt x="413" y="0"/>
                  </a:cubicBezTo>
                  <a:cubicBezTo>
                    <a:pt x="413" y="8"/>
                    <a:pt x="413" y="8"/>
                    <a:pt x="413" y="8"/>
                  </a:cubicBezTo>
                  <a:cubicBezTo>
                    <a:pt x="428" y="8"/>
                    <a:pt x="428" y="8"/>
                    <a:pt x="428" y="8"/>
                  </a:cubicBezTo>
                  <a:cubicBezTo>
                    <a:pt x="428" y="0"/>
                    <a:pt x="428" y="0"/>
                    <a:pt x="428" y="0"/>
                  </a:cubicBezTo>
                  <a:moveTo>
                    <a:pt x="451" y="0"/>
                  </a:moveTo>
                  <a:cubicBezTo>
                    <a:pt x="436" y="0"/>
                    <a:pt x="436" y="0"/>
                    <a:pt x="436" y="0"/>
                  </a:cubicBezTo>
                  <a:cubicBezTo>
                    <a:pt x="436" y="8"/>
                    <a:pt x="436" y="8"/>
                    <a:pt x="436" y="8"/>
                  </a:cubicBezTo>
                  <a:cubicBezTo>
                    <a:pt x="451" y="8"/>
                    <a:pt x="451" y="8"/>
                    <a:pt x="451" y="8"/>
                  </a:cubicBezTo>
                  <a:cubicBezTo>
                    <a:pt x="451" y="0"/>
                    <a:pt x="451" y="0"/>
                    <a:pt x="451" y="0"/>
                  </a:cubicBezTo>
                  <a:moveTo>
                    <a:pt x="474" y="0"/>
                  </a:moveTo>
                  <a:cubicBezTo>
                    <a:pt x="459" y="0"/>
                    <a:pt x="459" y="0"/>
                    <a:pt x="459" y="0"/>
                  </a:cubicBezTo>
                  <a:cubicBezTo>
                    <a:pt x="459" y="8"/>
                    <a:pt x="459" y="8"/>
                    <a:pt x="459" y="8"/>
                  </a:cubicBezTo>
                  <a:cubicBezTo>
                    <a:pt x="474" y="8"/>
                    <a:pt x="474" y="8"/>
                    <a:pt x="474" y="8"/>
                  </a:cubicBezTo>
                  <a:cubicBezTo>
                    <a:pt x="474" y="0"/>
                    <a:pt x="474" y="0"/>
                    <a:pt x="474" y="0"/>
                  </a:cubicBezTo>
                  <a:moveTo>
                    <a:pt x="497" y="0"/>
                  </a:moveTo>
                  <a:cubicBezTo>
                    <a:pt x="482" y="0"/>
                    <a:pt x="482" y="0"/>
                    <a:pt x="482" y="0"/>
                  </a:cubicBezTo>
                  <a:cubicBezTo>
                    <a:pt x="482" y="8"/>
                    <a:pt x="482" y="8"/>
                    <a:pt x="482" y="8"/>
                  </a:cubicBezTo>
                  <a:cubicBezTo>
                    <a:pt x="497" y="8"/>
                    <a:pt x="497" y="8"/>
                    <a:pt x="497" y="8"/>
                  </a:cubicBezTo>
                  <a:cubicBezTo>
                    <a:pt x="497" y="0"/>
                    <a:pt x="497" y="0"/>
                    <a:pt x="497" y="0"/>
                  </a:cubicBezTo>
                  <a:moveTo>
                    <a:pt x="520" y="0"/>
                  </a:moveTo>
                  <a:cubicBezTo>
                    <a:pt x="504" y="0"/>
                    <a:pt x="504" y="0"/>
                    <a:pt x="504" y="0"/>
                  </a:cubicBezTo>
                  <a:cubicBezTo>
                    <a:pt x="504" y="8"/>
                    <a:pt x="504" y="8"/>
                    <a:pt x="504" y="8"/>
                  </a:cubicBezTo>
                  <a:cubicBezTo>
                    <a:pt x="520" y="8"/>
                    <a:pt x="520" y="8"/>
                    <a:pt x="520" y="8"/>
                  </a:cubicBezTo>
                  <a:cubicBezTo>
                    <a:pt x="520" y="0"/>
                    <a:pt x="520" y="0"/>
                    <a:pt x="520" y="0"/>
                  </a:cubicBezTo>
                  <a:moveTo>
                    <a:pt x="543" y="0"/>
                  </a:moveTo>
                  <a:cubicBezTo>
                    <a:pt x="527" y="0"/>
                    <a:pt x="527" y="0"/>
                    <a:pt x="527" y="0"/>
                  </a:cubicBezTo>
                  <a:cubicBezTo>
                    <a:pt x="527" y="8"/>
                    <a:pt x="527" y="8"/>
                    <a:pt x="527" y="8"/>
                  </a:cubicBezTo>
                  <a:cubicBezTo>
                    <a:pt x="543" y="8"/>
                    <a:pt x="543" y="8"/>
                    <a:pt x="543" y="8"/>
                  </a:cubicBezTo>
                  <a:cubicBezTo>
                    <a:pt x="543" y="0"/>
                    <a:pt x="543" y="0"/>
                    <a:pt x="543" y="0"/>
                  </a:cubicBezTo>
                  <a:moveTo>
                    <a:pt x="565" y="0"/>
                  </a:moveTo>
                  <a:cubicBezTo>
                    <a:pt x="550" y="0"/>
                    <a:pt x="550" y="0"/>
                    <a:pt x="550" y="0"/>
                  </a:cubicBezTo>
                  <a:cubicBezTo>
                    <a:pt x="550" y="8"/>
                    <a:pt x="550" y="8"/>
                    <a:pt x="550" y="8"/>
                  </a:cubicBezTo>
                  <a:cubicBezTo>
                    <a:pt x="565" y="8"/>
                    <a:pt x="565" y="8"/>
                    <a:pt x="565" y="8"/>
                  </a:cubicBezTo>
                  <a:cubicBezTo>
                    <a:pt x="565" y="0"/>
                    <a:pt x="565" y="0"/>
                    <a:pt x="565" y="0"/>
                  </a:cubicBezTo>
                  <a:moveTo>
                    <a:pt x="588" y="0"/>
                  </a:moveTo>
                  <a:cubicBezTo>
                    <a:pt x="585" y="0"/>
                    <a:pt x="583" y="0"/>
                    <a:pt x="580" y="0"/>
                  </a:cubicBezTo>
                  <a:cubicBezTo>
                    <a:pt x="573" y="0"/>
                    <a:pt x="573" y="0"/>
                    <a:pt x="573" y="0"/>
                  </a:cubicBezTo>
                  <a:cubicBezTo>
                    <a:pt x="573" y="8"/>
                    <a:pt x="573" y="8"/>
                    <a:pt x="573" y="8"/>
                  </a:cubicBezTo>
                  <a:cubicBezTo>
                    <a:pt x="580" y="8"/>
                    <a:pt x="580" y="8"/>
                    <a:pt x="580" y="8"/>
                  </a:cubicBezTo>
                  <a:cubicBezTo>
                    <a:pt x="582" y="8"/>
                    <a:pt x="585" y="8"/>
                    <a:pt x="588" y="8"/>
                  </a:cubicBezTo>
                  <a:cubicBezTo>
                    <a:pt x="588" y="0"/>
                    <a:pt x="588" y="0"/>
                    <a:pt x="588" y="0"/>
                  </a:cubicBezTo>
                  <a:cubicBezTo>
                    <a:pt x="588" y="0"/>
                    <a:pt x="588" y="0"/>
                    <a:pt x="588" y="0"/>
                  </a:cubicBezTo>
                  <a:moveTo>
                    <a:pt x="611" y="2"/>
                  </a:moveTo>
                  <a:cubicBezTo>
                    <a:pt x="606" y="2"/>
                    <a:pt x="601" y="1"/>
                    <a:pt x="596" y="1"/>
                  </a:cubicBezTo>
                  <a:cubicBezTo>
                    <a:pt x="595" y="8"/>
                    <a:pt x="595" y="8"/>
                    <a:pt x="595" y="8"/>
                  </a:cubicBezTo>
                  <a:cubicBezTo>
                    <a:pt x="600" y="9"/>
                    <a:pt x="605" y="9"/>
                    <a:pt x="610" y="10"/>
                  </a:cubicBezTo>
                  <a:cubicBezTo>
                    <a:pt x="611" y="2"/>
                    <a:pt x="611" y="2"/>
                    <a:pt x="611" y="2"/>
                  </a:cubicBezTo>
                  <a:moveTo>
                    <a:pt x="634" y="7"/>
                  </a:moveTo>
                  <a:cubicBezTo>
                    <a:pt x="629" y="6"/>
                    <a:pt x="624" y="5"/>
                    <a:pt x="619" y="4"/>
                  </a:cubicBezTo>
                  <a:cubicBezTo>
                    <a:pt x="618" y="11"/>
                    <a:pt x="618" y="11"/>
                    <a:pt x="618" y="11"/>
                  </a:cubicBezTo>
                  <a:cubicBezTo>
                    <a:pt x="623" y="12"/>
                    <a:pt x="627" y="13"/>
                    <a:pt x="632" y="15"/>
                  </a:cubicBezTo>
                  <a:cubicBezTo>
                    <a:pt x="634" y="7"/>
                    <a:pt x="634" y="7"/>
                    <a:pt x="634" y="7"/>
                  </a:cubicBezTo>
                  <a:moveTo>
                    <a:pt x="656" y="14"/>
                  </a:moveTo>
                  <a:cubicBezTo>
                    <a:pt x="651" y="12"/>
                    <a:pt x="647" y="11"/>
                    <a:pt x="642" y="9"/>
                  </a:cubicBezTo>
                  <a:cubicBezTo>
                    <a:pt x="639" y="17"/>
                    <a:pt x="639" y="17"/>
                    <a:pt x="639" y="17"/>
                  </a:cubicBezTo>
                  <a:cubicBezTo>
                    <a:pt x="644" y="18"/>
                    <a:pt x="649" y="20"/>
                    <a:pt x="653" y="22"/>
                  </a:cubicBezTo>
                  <a:cubicBezTo>
                    <a:pt x="656" y="14"/>
                    <a:pt x="656" y="14"/>
                    <a:pt x="656" y="14"/>
                  </a:cubicBezTo>
                  <a:moveTo>
                    <a:pt x="677" y="24"/>
                  </a:moveTo>
                  <a:cubicBezTo>
                    <a:pt x="673" y="21"/>
                    <a:pt x="668" y="19"/>
                    <a:pt x="663" y="17"/>
                  </a:cubicBezTo>
                  <a:cubicBezTo>
                    <a:pt x="660" y="24"/>
                    <a:pt x="660" y="24"/>
                    <a:pt x="660" y="24"/>
                  </a:cubicBezTo>
                  <a:cubicBezTo>
                    <a:pt x="665" y="26"/>
                    <a:pt x="669" y="28"/>
                    <a:pt x="674" y="31"/>
                  </a:cubicBezTo>
                  <a:cubicBezTo>
                    <a:pt x="677" y="24"/>
                    <a:pt x="677" y="24"/>
                    <a:pt x="677" y="24"/>
                  </a:cubicBezTo>
                  <a:moveTo>
                    <a:pt x="697" y="36"/>
                  </a:moveTo>
                  <a:cubicBezTo>
                    <a:pt x="693" y="33"/>
                    <a:pt x="689" y="30"/>
                    <a:pt x="684" y="27"/>
                  </a:cubicBezTo>
                  <a:cubicBezTo>
                    <a:pt x="680" y="34"/>
                    <a:pt x="680" y="34"/>
                    <a:pt x="680" y="34"/>
                  </a:cubicBezTo>
                  <a:cubicBezTo>
                    <a:pt x="685" y="37"/>
                    <a:pt x="689" y="39"/>
                    <a:pt x="693" y="42"/>
                  </a:cubicBezTo>
                  <a:cubicBezTo>
                    <a:pt x="697" y="36"/>
                    <a:pt x="697" y="36"/>
                    <a:pt x="697" y="36"/>
                  </a:cubicBezTo>
                  <a:moveTo>
                    <a:pt x="716" y="49"/>
                  </a:moveTo>
                  <a:cubicBezTo>
                    <a:pt x="712" y="46"/>
                    <a:pt x="708" y="43"/>
                    <a:pt x="704" y="40"/>
                  </a:cubicBezTo>
                  <a:cubicBezTo>
                    <a:pt x="699" y="46"/>
                    <a:pt x="699" y="46"/>
                    <a:pt x="699" y="46"/>
                  </a:cubicBezTo>
                  <a:cubicBezTo>
                    <a:pt x="703" y="49"/>
                    <a:pt x="707" y="52"/>
                    <a:pt x="711" y="55"/>
                  </a:cubicBezTo>
                  <a:cubicBezTo>
                    <a:pt x="716" y="49"/>
                    <a:pt x="716" y="49"/>
                    <a:pt x="716" y="49"/>
                  </a:cubicBezTo>
                  <a:moveTo>
                    <a:pt x="733" y="65"/>
                  </a:moveTo>
                  <a:cubicBezTo>
                    <a:pt x="729" y="62"/>
                    <a:pt x="726" y="58"/>
                    <a:pt x="722" y="54"/>
                  </a:cubicBezTo>
                  <a:cubicBezTo>
                    <a:pt x="717" y="60"/>
                    <a:pt x="717" y="60"/>
                    <a:pt x="717" y="60"/>
                  </a:cubicBezTo>
                  <a:cubicBezTo>
                    <a:pt x="720" y="64"/>
                    <a:pt x="724" y="67"/>
                    <a:pt x="728" y="71"/>
                  </a:cubicBezTo>
                  <a:cubicBezTo>
                    <a:pt x="733" y="65"/>
                    <a:pt x="733" y="65"/>
                    <a:pt x="733" y="65"/>
                  </a:cubicBezTo>
                  <a:moveTo>
                    <a:pt x="748" y="83"/>
                  </a:moveTo>
                  <a:cubicBezTo>
                    <a:pt x="745" y="79"/>
                    <a:pt x="742" y="75"/>
                    <a:pt x="738" y="71"/>
                  </a:cubicBezTo>
                  <a:cubicBezTo>
                    <a:pt x="733" y="76"/>
                    <a:pt x="733" y="76"/>
                    <a:pt x="733" y="76"/>
                  </a:cubicBezTo>
                  <a:cubicBezTo>
                    <a:pt x="736" y="80"/>
                    <a:pt x="739" y="84"/>
                    <a:pt x="742" y="88"/>
                  </a:cubicBezTo>
                  <a:cubicBezTo>
                    <a:pt x="748" y="83"/>
                    <a:pt x="748" y="83"/>
                    <a:pt x="748" y="83"/>
                  </a:cubicBezTo>
                  <a:moveTo>
                    <a:pt x="762" y="102"/>
                  </a:moveTo>
                  <a:cubicBezTo>
                    <a:pt x="759" y="97"/>
                    <a:pt x="756" y="93"/>
                    <a:pt x="753" y="89"/>
                  </a:cubicBezTo>
                  <a:cubicBezTo>
                    <a:pt x="747" y="93"/>
                    <a:pt x="747" y="93"/>
                    <a:pt x="747" y="93"/>
                  </a:cubicBezTo>
                  <a:cubicBezTo>
                    <a:pt x="750" y="98"/>
                    <a:pt x="752" y="102"/>
                    <a:pt x="755" y="106"/>
                  </a:cubicBezTo>
                  <a:cubicBezTo>
                    <a:pt x="762" y="102"/>
                    <a:pt x="762" y="102"/>
                    <a:pt x="762" y="102"/>
                  </a:cubicBezTo>
                  <a:moveTo>
                    <a:pt x="773" y="122"/>
                  </a:moveTo>
                  <a:cubicBezTo>
                    <a:pt x="771" y="118"/>
                    <a:pt x="768" y="113"/>
                    <a:pt x="766" y="108"/>
                  </a:cubicBezTo>
                  <a:cubicBezTo>
                    <a:pt x="759" y="112"/>
                    <a:pt x="759" y="112"/>
                    <a:pt x="759" y="112"/>
                  </a:cubicBezTo>
                  <a:cubicBezTo>
                    <a:pt x="761" y="117"/>
                    <a:pt x="764" y="121"/>
                    <a:pt x="766" y="126"/>
                  </a:cubicBezTo>
                  <a:cubicBezTo>
                    <a:pt x="773" y="122"/>
                    <a:pt x="773" y="122"/>
                    <a:pt x="773" y="122"/>
                  </a:cubicBezTo>
                  <a:moveTo>
                    <a:pt x="782" y="144"/>
                  </a:moveTo>
                  <a:cubicBezTo>
                    <a:pt x="780" y="139"/>
                    <a:pt x="778" y="134"/>
                    <a:pt x="776" y="129"/>
                  </a:cubicBezTo>
                  <a:cubicBezTo>
                    <a:pt x="769" y="132"/>
                    <a:pt x="769" y="132"/>
                    <a:pt x="769" y="132"/>
                  </a:cubicBezTo>
                  <a:cubicBezTo>
                    <a:pt x="771" y="137"/>
                    <a:pt x="773" y="142"/>
                    <a:pt x="774" y="146"/>
                  </a:cubicBezTo>
                  <a:cubicBezTo>
                    <a:pt x="782" y="144"/>
                    <a:pt x="782" y="144"/>
                    <a:pt x="782" y="144"/>
                  </a:cubicBezTo>
                  <a:moveTo>
                    <a:pt x="788" y="166"/>
                  </a:moveTo>
                  <a:cubicBezTo>
                    <a:pt x="787" y="161"/>
                    <a:pt x="786" y="156"/>
                    <a:pt x="784" y="151"/>
                  </a:cubicBezTo>
                  <a:cubicBezTo>
                    <a:pt x="777" y="153"/>
                    <a:pt x="777" y="153"/>
                    <a:pt x="777" y="153"/>
                  </a:cubicBezTo>
                  <a:cubicBezTo>
                    <a:pt x="778" y="158"/>
                    <a:pt x="779" y="163"/>
                    <a:pt x="781" y="168"/>
                  </a:cubicBezTo>
                  <a:cubicBezTo>
                    <a:pt x="788" y="166"/>
                    <a:pt x="788" y="166"/>
                    <a:pt x="788" y="166"/>
                  </a:cubicBezTo>
                  <a:moveTo>
                    <a:pt x="792" y="189"/>
                  </a:moveTo>
                  <a:cubicBezTo>
                    <a:pt x="791" y="184"/>
                    <a:pt x="791" y="179"/>
                    <a:pt x="790" y="174"/>
                  </a:cubicBezTo>
                  <a:cubicBezTo>
                    <a:pt x="782" y="175"/>
                    <a:pt x="782" y="175"/>
                    <a:pt x="782" y="175"/>
                  </a:cubicBezTo>
                  <a:cubicBezTo>
                    <a:pt x="783" y="180"/>
                    <a:pt x="784" y="185"/>
                    <a:pt x="784" y="190"/>
                  </a:cubicBezTo>
                  <a:cubicBezTo>
                    <a:pt x="792" y="189"/>
                    <a:pt x="792" y="189"/>
                    <a:pt x="792" y="189"/>
                  </a:cubicBezTo>
                  <a:moveTo>
                    <a:pt x="794" y="212"/>
                  </a:moveTo>
                  <a:cubicBezTo>
                    <a:pt x="793" y="207"/>
                    <a:pt x="793" y="202"/>
                    <a:pt x="793" y="197"/>
                  </a:cubicBezTo>
                  <a:cubicBezTo>
                    <a:pt x="785" y="197"/>
                    <a:pt x="785" y="197"/>
                    <a:pt x="785" y="197"/>
                  </a:cubicBezTo>
                  <a:cubicBezTo>
                    <a:pt x="786" y="202"/>
                    <a:pt x="786" y="207"/>
                    <a:pt x="786" y="212"/>
                  </a:cubicBezTo>
                  <a:cubicBezTo>
                    <a:pt x="794" y="212"/>
                    <a:pt x="794" y="212"/>
                    <a:pt x="794" y="212"/>
                  </a:cubicBezTo>
                  <a:cubicBezTo>
                    <a:pt x="794" y="212"/>
                    <a:pt x="794" y="212"/>
                    <a:pt x="794" y="212"/>
                  </a:cubicBezTo>
                  <a:moveTo>
                    <a:pt x="793" y="235"/>
                  </a:moveTo>
                  <a:cubicBezTo>
                    <a:pt x="793" y="232"/>
                    <a:pt x="794" y="229"/>
                    <a:pt x="794" y="226"/>
                  </a:cubicBezTo>
                  <a:cubicBezTo>
                    <a:pt x="794" y="220"/>
                    <a:pt x="794" y="220"/>
                    <a:pt x="794" y="220"/>
                  </a:cubicBezTo>
                  <a:cubicBezTo>
                    <a:pt x="786" y="220"/>
                    <a:pt x="786" y="220"/>
                    <a:pt x="786" y="220"/>
                  </a:cubicBezTo>
                  <a:cubicBezTo>
                    <a:pt x="786" y="226"/>
                    <a:pt x="786" y="226"/>
                    <a:pt x="786" y="226"/>
                  </a:cubicBezTo>
                  <a:cubicBezTo>
                    <a:pt x="786" y="229"/>
                    <a:pt x="786" y="232"/>
                    <a:pt x="786" y="235"/>
                  </a:cubicBezTo>
                  <a:cubicBezTo>
                    <a:pt x="793" y="235"/>
                    <a:pt x="793" y="235"/>
                    <a:pt x="793" y="235"/>
                  </a:cubicBezTo>
                  <a:cubicBezTo>
                    <a:pt x="793" y="235"/>
                    <a:pt x="793" y="235"/>
                    <a:pt x="793" y="235"/>
                  </a:cubicBezTo>
                  <a:moveTo>
                    <a:pt x="791" y="258"/>
                  </a:moveTo>
                  <a:cubicBezTo>
                    <a:pt x="792" y="253"/>
                    <a:pt x="792" y="248"/>
                    <a:pt x="793" y="243"/>
                  </a:cubicBezTo>
                  <a:cubicBezTo>
                    <a:pt x="785" y="242"/>
                    <a:pt x="785" y="242"/>
                    <a:pt x="785" y="242"/>
                  </a:cubicBezTo>
                  <a:cubicBezTo>
                    <a:pt x="785" y="247"/>
                    <a:pt x="784" y="252"/>
                    <a:pt x="783" y="257"/>
                  </a:cubicBezTo>
                  <a:cubicBezTo>
                    <a:pt x="791" y="258"/>
                    <a:pt x="791" y="258"/>
                    <a:pt x="791" y="258"/>
                  </a:cubicBezTo>
                  <a:moveTo>
                    <a:pt x="786" y="281"/>
                  </a:moveTo>
                  <a:cubicBezTo>
                    <a:pt x="788" y="276"/>
                    <a:pt x="789" y="271"/>
                    <a:pt x="790" y="266"/>
                  </a:cubicBezTo>
                  <a:cubicBezTo>
                    <a:pt x="782" y="264"/>
                    <a:pt x="782" y="264"/>
                    <a:pt x="782" y="264"/>
                  </a:cubicBezTo>
                  <a:cubicBezTo>
                    <a:pt x="781" y="269"/>
                    <a:pt x="780" y="274"/>
                    <a:pt x="779" y="279"/>
                  </a:cubicBezTo>
                  <a:cubicBezTo>
                    <a:pt x="786" y="281"/>
                    <a:pt x="786" y="281"/>
                    <a:pt x="786" y="281"/>
                  </a:cubicBezTo>
                  <a:moveTo>
                    <a:pt x="779" y="303"/>
                  </a:moveTo>
                  <a:cubicBezTo>
                    <a:pt x="781" y="298"/>
                    <a:pt x="783" y="293"/>
                    <a:pt x="784" y="288"/>
                  </a:cubicBezTo>
                  <a:cubicBezTo>
                    <a:pt x="777" y="286"/>
                    <a:pt x="777" y="286"/>
                    <a:pt x="777" y="286"/>
                  </a:cubicBezTo>
                  <a:cubicBezTo>
                    <a:pt x="775" y="291"/>
                    <a:pt x="774" y="296"/>
                    <a:pt x="772" y="300"/>
                  </a:cubicBezTo>
                  <a:cubicBezTo>
                    <a:pt x="779" y="303"/>
                    <a:pt x="779" y="303"/>
                    <a:pt x="779" y="303"/>
                  </a:cubicBezTo>
                  <a:cubicBezTo>
                    <a:pt x="779" y="303"/>
                    <a:pt x="779" y="303"/>
                    <a:pt x="779" y="303"/>
                  </a:cubicBezTo>
                  <a:moveTo>
                    <a:pt x="769" y="324"/>
                  </a:moveTo>
                  <a:cubicBezTo>
                    <a:pt x="772" y="320"/>
                    <a:pt x="774" y="315"/>
                    <a:pt x="776" y="310"/>
                  </a:cubicBezTo>
                  <a:cubicBezTo>
                    <a:pt x="769" y="307"/>
                    <a:pt x="769" y="307"/>
                    <a:pt x="769" y="307"/>
                  </a:cubicBezTo>
                  <a:cubicBezTo>
                    <a:pt x="767" y="312"/>
                    <a:pt x="765" y="316"/>
                    <a:pt x="763" y="321"/>
                  </a:cubicBezTo>
                  <a:cubicBezTo>
                    <a:pt x="769" y="324"/>
                    <a:pt x="769" y="324"/>
                    <a:pt x="769" y="324"/>
                  </a:cubicBezTo>
                  <a:moveTo>
                    <a:pt x="758" y="344"/>
                  </a:moveTo>
                  <a:cubicBezTo>
                    <a:pt x="761" y="340"/>
                    <a:pt x="763" y="335"/>
                    <a:pt x="766" y="331"/>
                  </a:cubicBezTo>
                  <a:cubicBezTo>
                    <a:pt x="759" y="327"/>
                    <a:pt x="759" y="327"/>
                    <a:pt x="759" y="327"/>
                  </a:cubicBezTo>
                  <a:cubicBezTo>
                    <a:pt x="757" y="331"/>
                    <a:pt x="754" y="336"/>
                    <a:pt x="751" y="340"/>
                  </a:cubicBezTo>
                  <a:cubicBezTo>
                    <a:pt x="758" y="344"/>
                    <a:pt x="758" y="344"/>
                    <a:pt x="758" y="344"/>
                  </a:cubicBezTo>
                  <a:moveTo>
                    <a:pt x="744" y="363"/>
                  </a:moveTo>
                  <a:cubicBezTo>
                    <a:pt x="747" y="359"/>
                    <a:pt x="750" y="355"/>
                    <a:pt x="753" y="350"/>
                  </a:cubicBezTo>
                  <a:cubicBezTo>
                    <a:pt x="747" y="346"/>
                    <a:pt x="747" y="346"/>
                    <a:pt x="747" y="346"/>
                  </a:cubicBezTo>
                  <a:cubicBezTo>
                    <a:pt x="744" y="350"/>
                    <a:pt x="741" y="354"/>
                    <a:pt x="738" y="358"/>
                  </a:cubicBezTo>
                  <a:cubicBezTo>
                    <a:pt x="744" y="363"/>
                    <a:pt x="744" y="363"/>
                    <a:pt x="744" y="363"/>
                  </a:cubicBezTo>
                  <a:moveTo>
                    <a:pt x="728" y="380"/>
                  </a:moveTo>
                  <a:cubicBezTo>
                    <a:pt x="732" y="376"/>
                    <a:pt x="735" y="372"/>
                    <a:pt x="739" y="369"/>
                  </a:cubicBezTo>
                  <a:cubicBezTo>
                    <a:pt x="733" y="363"/>
                    <a:pt x="733" y="363"/>
                    <a:pt x="733" y="363"/>
                  </a:cubicBezTo>
                  <a:cubicBezTo>
                    <a:pt x="730" y="367"/>
                    <a:pt x="726" y="371"/>
                    <a:pt x="723" y="374"/>
                  </a:cubicBezTo>
                  <a:cubicBezTo>
                    <a:pt x="728" y="380"/>
                    <a:pt x="728" y="380"/>
                    <a:pt x="728" y="380"/>
                  </a:cubicBezTo>
                  <a:moveTo>
                    <a:pt x="710" y="395"/>
                  </a:moveTo>
                  <a:cubicBezTo>
                    <a:pt x="714" y="392"/>
                    <a:pt x="718" y="388"/>
                    <a:pt x="722" y="385"/>
                  </a:cubicBezTo>
                  <a:cubicBezTo>
                    <a:pt x="717" y="379"/>
                    <a:pt x="717" y="379"/>
                    <a:pt x="717" y="379"/>
                  </a:cubicBezTo>
                  <a:cubicBezTo>
                    <a:pt x="713" y="383"/>
                    <a:pt x="710" y="386"/>
                    <a:pt x="706" y="389"/>
                  </a:cubicBezTo>
                  <a:cubicBezTo>
                    <a:pt x="710" y="395"/>
                    <a:pt x="710" y="395"/>
                    <a:pt x="710" y="395"/>
                  </a:cubicBezTo>
                  <a:moveTo>
                    <a:pt x="691" y="408"/>
                  </a:moveTo>
                  <a:cubicBezTo>
                    <a:pt x="696" y="405"/>
                    <a:pt x="700" y="403"/>
                    <a:pt x="704" y="400"/>
                  </a:cubicBezTo>
                  <a:cubicBezTo>
                    <a:pt x="700" y="393"/>
                    <a:pt x="700" y="393"/>
                    <a:pt x="700" y="393"/>
                  </a:cubicBezTo>
                  <a:cubicBezTo>
                    <a:pt x="696" y="396"/>
                    <a:pt x="691" y="399"/>
                    <a:pt x="687" y="402"/>
                  </a:cubicBezTo>
                  <a:cubicBezTo>
                    <a:pt x="691" y="408"/>
                    <a:pt x="691" y="408"/>
                    <a:pt x="691" y="408"/>
                  </a:cubicBezTo>
                  <a:moveTo>
                    <a:pt x="671" y="419"/>
                  </a:moveTo>
                  <a:cubicBezTo>
                    <a:pt x="675" y="417"/>
                    <a:pt x="680" y="415"/>
                    <a:pt x="685" y="412"/>
                  </a:cubicBezTo>
                  <a:cubicBezTo>
                    <a:pt x="681" y="405"/>
                    <a:pt x="681" y="405"/>
                    <a:pt x="681" y="405"/>
                  </a:cubicBezTo>
                  <a:cubicBezTo>
                    <a:pt x="676" y="408"/>
                    <a:pt x="672" y="410"/>
                    <a:pt x="667" y="412"/>
                  </a:cubicBezTo>
                  <a:cubicBezTo>
                    <a:pt x="671" y="419"/>
                    <a:pt x="671" y="419"/>
                    <a:pt x="671" y="419"/>
                  </a:cubicBezTo>
                  <a:cubicBezTo>
                    <a:pt x="671" y="419"/>
                    <a:pt x="671" y="419"/>
                    <a:pt x="671" y="419"/>
                  </a:cubicBezTo>
                  <a:moveTo>
                    <a:pt x="649" y="428"/>
                  </a:moveTo>
                  <a:cubicBezTo>
                    <a:pt x="654" y="426"/>
                    <a:pt x="659" y="424"/>
                    <a:pt x="664" y="422"/>
                  </a:cubicBezTo>
                  <a:cubicBezTo>
                    <a:pt x="661" y="415"/>
                    <a:pt x="661" y="415"/>
                    <a:pt x="661" y="415"/>
                  </a:cubicBezTo>
                  <a:cubicBezTo>
                    <a:pt x="656" y="417"/>
                    <a:pt x="651" y="419"/>
                    <a:pt x="647" y="421"/>
                  </a:cubicBezTo>
                  <a:cubicBezTo>
                    <a:pt x="649" y="428"/>
                    <a:pt x="649" y="428"/>
                    <a:pt x="649" y="428"/>
                  </a:cubicBezTo>
                  <a:moveTo>
                    <a:pt x="627" y="434"/>
                  </a:moveTo>
                  <a:cubicBezTo>
                    <a:pt x="632" y="433"/>
                    <a:pt x="637" y="432"/>
                    <a:pt x="642" y="430"/>
                  </a:cubicBezTo>
                  <a:cubicBezTo>
                    <a:pt x="640" y="423"/>
                    <a:pt x="640" y="423"/>
                    <a:pt x="640" y="423"/>
                  </a:cubicBezTo>
                  <a:cubicBezTo>
                    <a:pt x="635" y="425"/>
                    <a:pt x="630" y="426"/>
                    <a:pt x="625" y="427"/>
                  </a:cubicBezTo>
                  <a:cubicBezTo>
                    <a:pt x="627" y="434"/>
                    <a:pt x="627" y="434"/>
                    <a:pt x="627" y="434"/>
                  </a:cubicBezTo>
                  <a:moveTo>
                    <a:pt x="604" y="438"/>
                  </a:moveTo>
                  <a:cubicBezTo>
                    <a:pt x="609" y="438"/>
                    <a:pt x="614" y="437"/>
                    <a:pt x="619" y="436"/>
                  </a:cubicBezTo>
                  <a:cubicBezTo>
                    <a:pt x="618" y="428"/>
                    <a:pt x="618" y="428"/>
                    <a:pt x="618" y="428"/>
                  </a:cubicBezTo>
                  <a:cubicBezTo>
                    <a:pt x="613" y="429"/>
                    <a:pt x="608" y="430"/>
                    <a:pt x="603" y="431"/>
                  </a:cubicBezTo>
                  <a:cubicBezTo>
                    <a:pt x="604" y="438"/>
                    <a:pt x="604" y="438"/>
                    <a:pt x="604" y="438"/>
                  </a:cubicBezTo>
                  <a:cubicBezTo>
                    <a:pt x="604" y="438"/>
                    <a:pt x="604" y="438"/>
                    <a:pt x="604" y="438"/>
                  </a:cubicBezTo>
                  <a:moveTo>
                    <a:pt x="581" y="440"/>
                  </a:moveTo>
                  <a:cubicBezTo>
                    <a:pt x="586" y="440"/>
                    <a:pt x="591" y="440"/>
                    <a:pt x="596" y="439"/>
                  </a:cubicBezTo>
                  <a:cubicBezTo>
                    <a:pt x="596" y="431"/>
                    <a:pt x="596" y="431"/>
                    <a:pt x="596" y="431"/>
                  </a:cubicBezTo>
                  <a:cubicBezTo>
                    <a:pt x="591" y="432"/>
                    <a:pt x="586" y="432"/>
                    <a:pt x="581" y="432"/>
                  </a:cubicBezTo>
                  <a:cubicBezTo>
                    <a:pt x="581" y="440"/>
                    <a:pt x="581" y="440"/>
                    <a:pt x="581" y="440"/>
                  </a:cubicBezTo>
                  <a:cubicBezTo>
                    <a:pt x="581" y="440"/>
                    <a:pt x="581" y="440"/>
                    <a:pt x="581" y="440"/>
                  </a:cubicBezTo>
                  <a:moveTo>
                    <a:pt x="558" y="440"/>
                  </a:moveTo>
                  <a:cubicBezTo>
                    <a:pt x="573" y="440"/>
                    <a:pt x="573" y="440"/>
                    <a:pt x="573" y="440"/>
                  </a:cubicBezTo>
                  <a:cubicBezTo>
                    <a:pt x="573" y="432"/>
                    <a:pt x="573" y="432"/>
                    <a:pt x="573" y="432"/>
                  </a:cubicBezTo>
                  <a:cubicBezTo>
                    <a:pt x="558" y="432"/>
                    <a:pt x="558" y="432"/>
                    <a:pt x="558" y="432"/>
                  </a:cubicBezTo>
                  <a:cubicBezTo>
                    <a:pt x="558" y="440"/>
                    <a:pt x="558" y="440"/>
                    <a:pt x="558" y="440"/>
                  </a:cubicBezTo>
                  <a:moveTo>
                    <a:pt x="535" y="440"/>
                  </a:moveTo>
                  <a:cubicBezTo>
                    <a:pt x="550" y="440"/>
                    <a:pt x="550" y="440"/>
                    <a:pt x="550" y="440"/>
                  </a:cubicBezTo>
                  <a:cubicBezTo>
                    <a:pt x="550" y="432"/>
                    <a:pt x="550" y="432"/>
                    <a:pt x="550" y="432"/>
                  </a:cubicBezTo>
                  <a:cubicBezTo>
                    <a:pt x="535" y="432"/>
                    <a:pt x="535" y="432"/>
                    <a:pt x="535" y="432"/>
                  </a:cubicBezTo>
                  <a:cubicBezTo>
                    <a:pt x="535" y="440"/>
                    <a:pt x="535" y="440"/>
                    <a:pt x="535" y="440"/>
                  </a:cubicBezTo>
                  <a:moveTo>
                    <a:pt x="512" y="440"/>
                  </a:moveTo>
                  <a:cubicBezTo>
                    <a:pt x="528" y="440"/>
                    <a:pt x="528" y="440"/>
                    <a:pt x="528" y="440"/>
                  </a:cubicBezTo>
                  <a:cubicBezTo>
                    <a:pt x="528" y="432"/>
                    <a:pt x="528" y="432"/>
                    <a:pt x="528" y="432"/>
                  </a:cubicBezTo>
                  <a:cubicBezTo>
                    <a:pt x="512" y="432"/>
                    <a:pt x="512" y="432"/>
                    <a:pt x="512" y="432"/>
                  </a:cubicBezTo>
                  <a:cubicBezTo>
                    <a:pt x="512" y="440"/>
                    <a:pt x="512" y="440"/>
                    <a:pt x="512"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6" y="440"/>
                    <a:pt x="436" y="440"/>
                    <a:pt x="436" y="440"/>
                  </a:cubicBezTo>
                  <a:cubicBezTo>
                    <a:pt x="436" y="432"/>
                    <a:pt x="436" y="432"/>
                    <a:pt x="436" y="432"/>
                  </a:cubicBezTo>
                  <a:cubicBezTo>
                    <a:pt x="421" y="432"/>
                    <a:pt x="421" y="432"/>
                    <a:pt x="421" y="432"/>
                  </a:cubicBezTo>
                  <a:cubicBezTo>
                    <a:pt x="421" y="440"/>
                    <a:pt x="421" y="440"/>
                    <a:pt x="421" y="440"/>
                  </a:cubicBezTo>
                  <a:moveTo>
                    <a:pt x="398" y="440"/>
                  </a:moveTo>
                  <a:cubicBezTo>
                    <a:pt x="413" y="440"/>
                    <a:pt x="413" y="440"/>
                    <a:pt x="413" y="440"/>
                  </a:cubicBezTo>
                  <a:cubicBezTo>
                    <a:pt x="413" y="432"/>
                    <a:pt x="413" y="432"/>
                    <a:pt x="413" y="432"/>
                  </a:cubicBezTo>
                  <a:cubicBezTo>
                    <a:pt x="398" y="432"/>
                    <a:pt x="398" y="432"/>
                    <a:pt x="398" y="432"/>
                  </a:cubicBezTo>
                  <a:cubicBezTo>
                    <a:pt x="398" y="440"/>
                    <a:pt x="398" y="440"/>
                    <a:pt x="398" y="440"/>
                  </a:cubicBezTo>
                  <a:moveTo>
                    <a:pt x="375" y="440"/>
                  </a:moveTo>
                  <a:cubicBezTo>
                    <a:pt x="391" y="440"/>
                    <a:pt x="391" y="440"/>
                    <a:pt x="391" y="440"/>
                  </a:cubicBezTo>
                  <a:cubicBezTo>
                    <a:pt x="391" y="432"/>
                    <a:pt x="391" y="432"/>
                    <a:pt x="391" y="432"/>
                  </a:cubicBezTo>
                  <a:cubicBezTo>
                    <a:pt x="375" y="432"/>
                    <a:pt x="375" y="432"/>
                    <a:pt x="375" y="432"/>
                  </a:cubicBezTo>
                  <a:cubicBezTo>
                    <a:pt x="375" y="440"/>
                    <a:pt x="375" y="440"/>
                    <a:pt x="375"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299" y="440"/>
                    <a:pt x="299" y="440"/>
                    <a:pt x="299" y="440"/>
                  </a:cubicBezTo>
                  <a:cubicBezTo>
                    <a:pt x="299" y="432"/>
                    <a:pt x="299" y="432"/>
                    <a:pt x="299" y="432"/>
                  </a:cubicBezTo>
                  <a:cubicBezTo>
                    <a:pt x="284" y="432"/>
                    <a:pt x="284" y="432"/>
                    <a:pt x="284" y="432"/>
                  </a:cubicBezTo>
                  <a:cubicBezTo>
                    <a:pt x="284" y="440"/>
                    <a:pt x="284" y="440"/>
                    <a:pt x="284" y="440"/>
                  </a:cubicBezTo>
                  <a:moveTo>
                    <a:pt x="261" y="440"/>
                  </a:moveTo>
                  <a:cubicBezTo>
                    <a:pt x="276" y="440"/>
                    <a:pt x="276" y="440"/>
                    <a:pt x="276" y="440"/>
                  </a:cubicBezTo>
                  <a:cubicBezTo>
                    <a:pt x="276" y="432"/>
                    <a:pt x="276" y="432"/>
                    <a:pt x="276" y="432"/>
                  </a:cubicBezTo>
                  <a:cubicBezTo>
                    <a:pt x="261" y="432"/>
                    <a:pt x="261" y="432"/>
                    <a:pt x="261" y="432"/>
                  </a:cubicBezTo>
                  <a:cubicBezTo>
                    <a:pt x="261" y="440"/>
                    <a:pt x="261" y="440"/>
                    <a:pt x="261" y="440"/>
                  </a:cubicBezTo>
                  <a:moveTo>
                    <a:pt x="238" y="440"/>
                  </a:moveTo>
                  <a:cubicBezTo>
                    <a:pt x="254" y="440"/>
                    <a:pt x="254" y="440"/>
                    <a:pt x="254" y="440"/>
                  </a:cubicBezTo>
                  <a:cubicBezTo>
                    <a:pt x="254" y="432"/>
                    <a:pt x="254" y="432"/>
                    <a:pt x="254" y="432"/>
                  </a:cubicBezTo>
                  <a:cubicBezTo>
                    <a:pt x="238" y="432"/>
                    <a:pt x="238" y="432"/>
                    <a:pt x="238" y="432"/>
                  </a:cubicBezTo>
                  <a:cubicBezTo>
                    <a:pt x="238" y="440"/>
                    <a:pt x="238" y="440"/>
                    <a:pt x="238"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ubicBezTo>
                    <a:pt x="169" y="435"/>
                    <a:pt x="169" y="435"/>
                    <a:pt x="169" y="435"/>
                  </a:cubicBezTo>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ubicBezTo>
                    <a:pt x="68" y="382"/>
                    <a:pt x="68" y="382"/>
                    <a:pt x="68" y="382"/>
                  </a:cubicBezTo>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ubicBezTo>
                    <a:pt x="52" y="365"/>
                    <a:pt x="52" y="365"/>
                    <a:pt x="52" y="365"/>
                  </a:cubicBezTo>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moveTo>
                    <a:pt x="25" y="327"/>
                  </a:moveTo>
                  <a:cubicBezTo>
                    <a:pt x="28" y="332"/>
                    <a:pt x="30" y="336"/>
                    <a:pt x="33" y="340"/>
                  </a:cubicBezTo>
                  <a:cubicBezTo>
                    <a:pt x="40" y="336"/>
                    <a:pt x="40" y="336"/>
                    <a:pt x="40" y="336"/>
                  </a:cubicBezTo>
                  <a:cubicBezTo>
                    <a:pt x="37" y="332"/>
                    <a:pt x="35" y="328"/>
                    <a:pt x="32" y="323"/>
                  </a:cubicBezTo>
                  <a:cubicBezTo>
                    <a:pt x="25" y="327"/>
                    <a:pt x="25" y="327"/>
                    <a:pt x="25" y="327"/>
                  </a:cubicBezTo>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moveTo>
                    <a:pt x="8" y="284"/>
                  </a:moveTo>
                  <a:cubicBezTo>
                    <a:pt x="9" y="289"/>
                    <a:pt x="11" y="294"/>
                    <a:pt x="13" y="299"/>
                  </a:cubicBezTo>
                  <a:cubicBezTo>
                    <a:pt x="20" y="296"/>
                    <a:pt x="20" y="296"/>
                    <a:pt x="20" y="296"/>
                  </a:cubicBezTo>
                  <a:cubicBezTo>
                    <a:pt x="18" y="291"/>
                    <a:pt x="17" y="287"/>
                    <a:pt x="15" y="282"/>
                  </a:cubicBezTo>
                  <a:cubicBezTo>
                    <a:pt x="8" y="284"/>
                    <a:pt x="8" y="284"/>
                    <a:pt x="8" y="284"/>
                  </a:cubicBezTo>
                  <a:cubicBezTo>
                    <a:pt x="8" y="284"/>
                    <a:pt x="8" y="284"/>
                    <a:pt x="8" y="284"/>
                  </a:cubicBezTo>
                  <a:moveTo>
                    <a:pt x="3" y="261"/>
                  </a:moveTo>
                  <a:cubicBezTo>
                    <a:pt x="4" y="266"/>
                    <a:pt x="5" y="272"/>
                    <a:pt x="6" y="276"/>
                  </a:cubicBezTo>
                  <a:cubicBezTo>
                    <a:pt x="13" y="275"/>
                    <a:pt x="13" y="275"/>
                    <a:pt x="13" y="275"/>
                  </a:cubicBezTo>
                  <a:cubicBezTo>
                    <a:pt x="12" y="270"/>
                    <a:pt x="11" y="265"/>
                    <a:pt x="10" y="260"/>
                  </a:cubicBezTo>
                  <a:cubicBezTo>
                    <a:pt x="3" y="261"/>
                    <a:pt x="3" y="261"/>
                    <a:pt x="3" y="261"/>
                  </a:cubicBezTo>
                  <a:moveTo>
                    <a:pt x="0" y="238"/>
                  </a:moveTo>
                  <a:cubicBezTo>
                    <a:pt x="0" y="243"/>
                    <a:pt x="1" y="249"/>
                    <a:pt x="2" y="254"/>
                  </a:cubicBezTo>
                  <a:cubicBezTo>
                    <a:pt x="9" y="253"/>
                    <a:pt x="9" y="253"/>
                    <a:pt x="9" y="253"/>
                  </a:cubicBezTo>
                  <a:cubicBezTo>
                    <a:pt x="9" y="248"/>
                    <a:pt x="8" y="243"/>
                    <a:pt x="8" y="238"/>
                  </a:cubicBezTo>
                  <a:cubicBezTo>
                    <a:pt x="0" y="238"/>
                    <a:pt x="0" y="238"/>
                    <a:pt x="0" y="238"/>
                  </a:cubicBezTo>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0" y="197"/>
                    <a:pt x="0" y="202"/>
                    <a:pt x="0" y="207"/>
                  </a:cubicBezTo>
                  <a:cubicBezTo>
                    <a:pt x="8" y="208"/>
                    <a:pt x="8" y="208"/>
                    <a:pt x="8" y="208"/>
                  </a:cubicBezTo>
                  <a:cubicBezTo>
                    <a:pt x="8" y="203"/>
                    <a:pt x="8" y="198"/>
                    <a:pt x="9" y="193"/>
                  </a:cubicBezTo>
                  <a:cubicBezTo>
                    <a:pt x="1" y="192"/>
                    <a:pt x="1" y="192"/>
                    <a:pt x="1" y="192"/>
                  </a:cubicBezTo>
                  <a:moveTo>
                    <a:pt x="5" y="169"/>
                  </a:moveTo>
                  <a:cubicBezTo>
                    <a:pt x="4" y="174"/>
                    <a:pt x="3" y="179"/>
                    <a:pt x="2" y="184"/>
                  </a:cubicBezTo>
                  <a:cubicBezTo>
                    <a:pt x="10" y="185"/>
                    <a:pt x="10" y="185"/>
                    <a:pt x="10" y="185"/>
                  </a:cubicBezTo>
                  <a:cubicBezTo>
                    <a:pt x="10" y="180"/>
                    <a:pt x="11" y="176"/>
                    <a:pt x="12" y="171"/>
                  </a:cubicBezTo>
                  <a:cubicBezTo>
                    <a:pt x="5" y="169"/>
                    <a:pt x="5" y="169"/>
                    <a:pt x="5" y="169"/>
                  </a:cubicBezTo>
                  <a:cubicBezTo>
                    <a:pt x="5" y="169"/>
                    <a:pt x="5" y="169"/>
                    <a:pt x="5" y="169"/>
                  </a:cubicBezTo>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Freeform 52"/>
            <p:cNvSpPr>
              <a:spLocks noEditPoints="1"/>
            </p:cNvSpPr>
            <p:nvPr/>
          </p:nvSpPr>
          <p:spPr bwMode="auto">
            <a:xfrm>
              <a:off x="5289550" y="2951163"/>
              <a:ext cx="1200150"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Freeform 53"/>
            <p:cNvSpPr>
              <a:spLocks/>
            </p:cNvSpPr>
            <p:nvPr/>
          </p:nvSpPr>
          <p:spPr bwMode="auto">
            <a:xfrm>
              <a:off x="5788025" y="3530601"/>
              <a:ext cx="57150" cy="128588"/>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Freeform 54"/>
            <p:cNvSpPr>
              <a:spLocks/>
            </p:cNvSpPr>
            <p:nvPr/>
          </p:nvSpPr>
          <p:spPr bwMode="auto">
            <a:xfrm>
              <a:off x="5930900" y="3289301"/>
              <a:ext cx="52388" cy="125413"/>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Freeform 55"/>
            <p:cNvSpPr>
              <a:spLocks noEditPoints="1"/>
            </p:cNvSpPr>
            <p:nvPr/>
          </p:nvSpPr>
          <p:spPr bwMode="auto">
            <a:xfrm>
              <a:off x="5630863" y="3203576"/>
              <a:ext cx="514350" cy="541338"/>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Rectangle 56"/>
            <p:cNvSpPr>
              <a:spLocks noChangeArrowheads="1"/>
            </p:cNvSpPr>
            <p:nvPr/>
          </p:nvSpPr>
          <p:spPr bwMode="auto">
            <a:xfrm>
              <a:off x="4868863" y="325913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 name="Rectangle 57"/>
            <p:cNvSpPr>
              <a:spLocks noChangeArrowheads="1"/>
            </p:cNvSpPr>
            <p:nvPr/>
          </p:nvSpPr>
          <p:spPr bwMode="auto">
            <a:xfrm>
              <a:off x="4868863" y="325913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8" name="Rectangle 58"/>
            <p:cNvSpPr>
              <a:spLocks noChangeArrowheads="1"/>
            </p:cNvSpPr>
            <p:nvPr/>
          </p:nvSpPr>
          <p:spPr bwMode="auto">
            <a:xfrm>
              <a:off x="4910138" y="3300413"/>
              <a:ext cx="4381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9" name="Rectangle 59"/>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0" name="Rectangle 60"/>
            <p:cNvSpPr>
              <a:spLocks noChangeArrowheads="1"/>
            </p:cNvSpPr>
            <p:nvPr/>
          </p:nvSpPr>
          <p:spPr bwMode="auto">
            <a:xfrm>
              <a:off x="4910138" y="3300413"/>
              <a:ext cx="438150" cy="339725"/>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1" name="Rectangle 61"/>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2" name="Freeform 62"/>
            <p:cNvSpPr>
              <a:spLocks/>
            </p:cNvSpPr>
            <p:nvPr/>
          </p:nvSpPr>
          <p:spPr bwMode="auto">
            <a:xfrm>
              <a:off x="5100638" y="3451226"/>
              <a:ext cx="247650" cy="188913"/>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3" name="Freeform 63"/>
            <p:cNvSpPr>
              <a:spLocks/>
            </p:cNvSpPr>
            <p:nvPr/>
          </p:nvSpPr>
          <p:spPr bwMode="auto">
            <a:xfrm>
              <a:off x="4995863" y="3492501"/>
              <a:ext cx="307975" cy="147638"/>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4" name="Freeform 64"/>
            <p:cNvSpPr>
              <a:spLocks/>
            </p:cNvSpPr>
            <p:nvPr/>
          </p:nvSpPr>
          <p:spPr bwMode="auto">
            <a:xfrm>
              <a:off x="4951413" y="3341688"/>
              <a:ext cx="201613" cy="131763"/>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16" name="Group 115"/>
          <p:cNvGrpSpPr/>
          <p:nvPr/>
        </p:nvGrpSpPr>
        <p:grpSpPr>
          <a:xfrm>
            <a:off x="7165975" y="2630488"/>
            <a:ext cx="3063876" cy="2019300"/>
            <a:chOff x="7165975" y="2630488"/>
            <a:chExt cx="3063876" cy="2019300"/>
          </a:xfrm>
        </p:grpSpPr>
        <p:sp>
          <p:nvSpPr>
            <p:cNvPr id="13" name="Freeform 13"/>
            <p:cNvSpPr>
              <a:spLocks noEditPoints="1"/>
            </p:cNvSpPr>
            <p:nvPr/>
          </p:nvSpPr>
          <p:spPr bwMode="auto">
            <a:xfrm>
              <a:off x="7165975"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Freeform 14"/>
            <p:cNvSpPr>
              <a:spLocks/>
            </p:cNvSpPr>
            <p:nvPr/>
          </p:nvSpPr>
          <p:spPr bwMode="auto">
            <a:xfrm>
              <a:off x="7440613"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Rectangle 15"/>
            <p:cNvSpPr>
              <a:spLocks noChangeArrowheads="1"/>
            </p:cNvSpPr>
            <p:nvPr/>
          </p:nvSpPr>
          <p:spPr bwMode="auto">
            <a:xfrm>
              <a:off x="8848725" y="3444876"/>
              <a:ext cx="404813" cy="28575"/>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Rectangle 16"/>
            <p:cNvSpPr>
              <a:spLocks noChangeArrowheads="1"/>
            </p:cNvSpPr>
            <p:nvPr/>
          </p:nvSpPr>
          <p:spPr bwMode="auto">
            <a:xfrm>
              <a:off x="8848725" y="3444876"/>
              <a:ext cx="404813" cy="2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Freeform 17"/>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 name="T8" fmla="*/ 14 w 194"/>
                <a:gd name="T9" fmla="*/ 194 h 194"/>
              </a:gdLst>
              <a:ahLst/>
              <a:cxnLst>
                <a:cxn ang="0">
                  <a:pos x="T0" y="T1"/>
                </a:cxn>
                <a:cxn ang="0">
                  <a:pos x="T2" y="T3"/>
                </a:cxn>
                <a:cxn ang="0">
                  <a:pos x="T4" y="T5"/>
                </a:cxn>
                <a:cxn ang="0">
                  <a:pos x="T6" y="T7"/>
                </a:cxn>
                <a:cxn ang="0">
                  <a:pos x="T8" y="T9"/>
                </a:cxn>
              </a:cxnLst>
              <a:rect l="0" t="0" r="r" b="b"/>
              <a:pathLst>
                <a:path w="194" h="194">
                  <a:moveTo>
                    <a:pt x="14" y="194"/>
                  </a:moveTo>
                  <a:lnTo>
                    <a:pt x="194" y="11"/>
                  </a:lnTo>
                  <a:lnTo>
                    <a:pt x="179" y="0"/>
                  </a:lnTo>
                  <a:lnTo>
                    <a:pt x="0" y="180"/>
                  </a:lnTo>
                  <a:lnTo>
                    <a:pt x="14" y="1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 name="Freeform 18"/>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Lst>
              <a:ahLst/>
              <a:cxnLst>
                <a:cxn ang="0">
                  <a:pos x="T0" y="T1"/>
                </a:cxn>
                <a:cxn ang="0">
                  <a:pos x="T2" y="T3"/>
                </a:cxn>
                <a:cxn ang="0">
                  <a:pos x="T4" y="T5"/>
                </a:cxn>
                <a:cxn ang="0">
                  <a:pos x="T6" y="T7"/>
                </a:cxn>
              </a:cxnLst>
              <a:rect l="0" t="0" r="r" b="b"/>
              <a:pathLst>
                <a:path w="194" h="194">
                  <a:moveTo>
                    <a:pt x="14" y="194"/>
                  </a:moveTo>
                  <a:lnTo>
                    <a:pt x="194" y="11"/>
                  </a:lnTo>
                  <a:lnTo>
                    <a:pt x="179" y="0"/>
                  </a:lnTo>
                  <a:lnTo>
                    <a:pt x="0" y="1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Freeform 19"/>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 name="T8" fmla="*/ 0 w 194"/>
                <a:gd name="T9" fmla="*/ 14 h 194"/>
              </a:gdLst>
              <a:ahLst/>
              <a:cxnLst>
                <a:cxn ang="0">
                  <a:pos x="T0" y="T1"/>
                </a:cxn>
                <a:cxn ang="0">
                  <a:pos x="T2" y="T3"/>
                </a:cxn>
                <a:cxn ang="0">
                  <a:pos x="T4" y="T5"/>
                </a:cxn>
                <a:cxn ang="0">
                  <a:pos x="T6" y="T7"/>
                </a:cxn>
                <a:cxn ang="0">
                  <a:pos x="T8" y="T9"/>
                </a:cxn>
              </a:cxnLst>
              <a:rect l="0" t="0" r="r" b="b"/>
              <a:pathLst>
                <a:path w="194" h="194">
                  <a:moveTo>
                    <a:pt x="0" y="14"/>
                  </a:moveTo>
                  <a:lnTo>
                    <a:pt x="179" y="194"/>
                  </a:lnTo>
                  <a:lnTo>
                    <a:pt x="194" y="180"/>
                  </a:lnTo>
                  <a:lnTo>
                    <a:pt x="14"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Freeform 20"/>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Lst>
              <a:ahLst/>
              <a:cxnLst>
                <a:cxn ang="0">
                  <a:pos x="T0" y="T1"/>
                </a:cxn>
                <a:cxn ang="0">
                  <a:pos x="T2" y="T3"/>
                </a:cxn>
                <a:cxn ang="0">
                  <a:pos x="T4" y="T5"/>
                </a:cxn>
                <a:cxn ang="0">
                  <a:pos x="T6" y="T7"/>
                </a:cxn>
              </a:cxnLst>
              <a:rect l="0" t="0" r="r" b="b"/>
              <a:pathLst>
                <a:path w="194" h="194">
                  <a:moveTo>
                    <a:pt x="0" y="14"/>
                  </a:moveTo>
                  <a:lnTo>
                    <a:pt x="179" y="194"/>
                  </a:lnTo>
                  <a:lnTo>
                    <a:pt x="194" y="18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5" name="Freeform 65"/>
            <p:cNvSpPr>
              <a:spLocks/>
            </p:cNvSpPr>
            <p:nvPr/>
          </p:nvSpPr>
          <p:spPr bwMode="auto">
            <a:xfrm>
              <a:off x="8161338"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6" name="Freeform 66"/>
            <p:cNvSpPr>
              <a:spLocks/>
            </p:cNvSpPr>
            <p:nvPr/>
          </p:nvSpPr>
          <p:spPr bwMode="auto">
            <a:xfrm>
              <a:off x="7688263"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7" name="Freeform 67"/>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8" name="Freeform 68"/>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 name="Freeform 69"/>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 name="Freeform 70"/>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 name="Rectangle 71"/>
            <p:cNvSpPr>
              <a:spLocks noChangeArrowheads="1"/>
            </p:cNvSpPr>
            <p:nvPr/>
          </p:nvSpPr>
          <p:spPr bwMode="auto">
            <a:xfrm>
              <a:off x="8074025" y="4344988"/>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P</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72" name="Rectangle 72"/>
            <p:cNvSpPr>
              <a:spLocks noChangeArrowheads="1"/>
            </p:cNvSpPr>
            <p:nvPr/>
          </p:nvSpPr>
          <p:spPr bwMode="auto">
            <a:xfrm>
              <a:off x="8172450"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r</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73" name="Rectangle 73"/>
            <p:cNvSpPr>
              <a:spLocks noChangeArrowheads="1"/>
            </p:cNvSpPr>
            <p:nvPr/>
          </p:nvSpPr>
          <p:spPr bwMode="auto">
            <a:xfrm>
              <a:off x="8228013" y="4344988"/>
              <a:ext cx="1854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oduces scaled images</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74" name="Freeform 74"/>
            <p:cNvSpPr>
              <a:spLocks noEditPoints="1"/>
            </p:cNvSpPr>
            <p:nvPr/>
          </p:nvSpPr>
          <p:spPr bwMode="auto">
            <a:xfrm>
              <a:off x="7713663" y="2630488"/>
              <a:ext cx="2516188" cy="1657350"/>
            </a:xfrm>
            <a:custGeom>
              <a:avLst/>
              <a:gdLst>
                <a:gd name="T0" fmla="*/ 180 w 670"/>
                <a:gd name="T1" fmla="*/ 3 h 440"/>
                <a:gd name="T2" fmla="*/ 188 w 670"/>
                <a:gd name="T3" fmla="*/ 2 h 440"/>
                <a:gd name="T4" fmla="*/ 211 w 670"/>
                <a:gd name="T5" fmla="*/ 0 h 440"/>
                <a:gd name="T6" fmla="*/ 234 w 670"/>
                <a:gd name="T7" fmla="*/ 0 h 440"/>
                <a:gd name="T8" fmla="*/ 257 w 670"/>
                <a:gd name="T9" fmla="*/ 8 h 440"/>
                <a:gd name="T10" fmla="*/ 295 w 670"/>
                <a:gd name="T11" fmla="*/ 8 h 440"/>
                <a:gd name="T12" fmla="*/ 318 w 670"/>
                <a:gd name="T13" fmla="*/ 0 h 440"/>
                <a:gd name="T14" fmla="*/ 363 w 670"/>
                <a:gd name="T15" fmla="*/ 0 h 440"/>
                <a:gd name="T16" fmla="*/ 371 w 670"/>
                <a:gd name="T17" fmla="*/ 0 h 440"/>
                <a:gd name="T18" fmla="*/ 394 w 670"/>
                <a:gd name="T19" fmla="*/ 8 h 440"/>
                <a:gd name="T20" fmla="*/ 432 w 670"/>
                <a:gd name="T21" fmla="*/ 8 h 440"/>
                <a:gd name="T22" fmla="*/ 455 w 670"/>
                <a:gd name="T23" fmla="*/ 0 h 440"/>
                <a:gd name="T24" fmla="*/ 501 w 670"/>
                <a:gd name="T25" fmla="*/ 5 h 440"/>
                <a:gd name="T26" fmla="*/ 508 w 670"/>
                <a:gd name="T27" fmla="*/ 7 h 440"/>
                <a:gd name="T28" fmla="*/ 528 w 670"/>
                <a:gd name="T29" fmla="*/ 21 h 440"/>
                <a:gd name="T30" fmla="*/ 561 w 670"/>
                <a:gd name="T31" fmla="*/ 37 h 440"/>
                <a:gd name="T32" fmla="*/ 585 w 670"/>
                <a:gd name="T33" fmla="*/ 43 h 440"/>
                <a:gd name="T34" fmla="*/ 618 w 670"/>
                <a:gd name="T35" fmla="*/ 75 h 440"/>
                <a:gd name="T36" fmla="*/ 623 w 670"/>
                <a:gd name="T37" fmla="*/ 81 h 440"/>
                <a:gd name="T38" fmla="*/ 630 w 670"/>
                <a:gd name="T39" fmla="*/ 104 h 440"/>
                <a:gd name="T40" fmla="*/ 647 w 670"/>
                <a:gd name="T41" fmla="*/ 137 h 440"/>
                <a:gd name="T42" fmla="*/ 662 w 670"/>
                <a:gd name="T43" fmla="*/ 156 h 440"/>
                <a:gd name="T44" fmla="*/ 669 w 670"/>
                <a:gd name="T45" fmla="*/ 202 h 440"/>
                <a:gd name="T46" fmla="*/ 670 w 670"/>
                <a:gd name="T47" fmla="*/ 214 h 440"/>
                <a:gd name="T48" fmla="*/ 669 w 670"/>
                <a:gd name="T49" fmla="*/ 248 h 440"/>
                <a:gd name="T50" fmla="*/ 668 w 670"/>
                <a:gd name="T51" fmla="*/ 256 h 440"/>
                <a:gd name="T52" fmla="*/ 656 w 670"/>
                <a:gd name="T53" fmla="*/ 277 h 440"/>
                <a:gd name="T54" fmla="*/ 643 w 670"/>
                <a:gd name="T55" fmla="*/ 312 h 440"/>
                <a:gd name="T56" fmla="*/ 639 w 670"/>
                <a:gd name="T57" fmla="*/ 336 h 440"/>
                <a:gd name="T58" fmla="*/ 611 w 670"/>
                <a:gd name="T59" fmla="*/ 373 h 440"/>
                <a:gd name="T60" fmla="*/ 606 w 670"/>
                <a:gd name="T61" fmla="*/ 378 h 440"/>
                <a:gd name="T62" fmla="*/ 583 w 670"/>
                <a:gd name="T63" fmla="*/ 388 h 440"/>
                <a:gd name="T64" fmla="*/ 552 w 670"/>
                <a:gd name="T65" fmla="*/ 408 h 440"/>
                <a:gd name="T66" fmla="*/ 535 w 670"/>
                <a:gd name="T67" fmla="*/ 425 h 440"/>
                <a:gd name="T68" fmla="*/ 490 w 670"/>
                <a:gd name="T69" fmla="*/ 437 h 440"/>
                <a:gd name="T70" fmla="*/ 482 w 670"/>
                <a:gd name="T71" fmla="*/ 438 h 440"/>
                <a:gd name="T72" fmla="*/ 459 w 670"/>
                <a:gd name="T73" fmla="*/ 440 h 440"/>
                <a:gd name="T74" fmla="*/ 436 w 670"/>
                <a:gd name="T75" fmla="*/ 440 h 440"/>
                <a:gd name="T76" fmla="*/ 413 w 670"/>
                <a:gd name="T77" fmla="*/ 432 h 440"/>
                <a:gd name="T78" fmla="*/ 375 w 670"/>
                <a:gd name="T79" fmla="*/ 432 h 440"/>
                <a:gd name="T80" fmla="*/ 353 w 670"/>
                <a:gd name="T81" fmla="*/ 440 h 440"/>
                <a:gd name="T82" fmla="*/ 307 w 670"/>
                <a:gd name="T83" fmla="*/ 440 h 440"/>
                <a:gd name="T84" fmla="*/ 299 w 670"/>
                <a:gd name="T85" fmla="*/ 440 h 440"/>
                <a:gd name="T86" fmla="*/ 276 w 670"/>
                <a:gd name="T87" fmla="*/ 432 h 440"/>
                <a:gd name="T88" fmla="*/ 238 w 670"/>
                <a:gd name="T89" fmla="*/ 432 h 440"/>
                <a:gd name="T90" fmla="*/ 216 w 670"/>
                <a:gd name="T91" fmla="*/ 440 h 440"/>
                <a:gd name="T92" fmla="*/ 169 w 670"/>
                <a:gd name="T93" fmla="*/ 435 h 440"/>
                <a:gd name="T94" fmla="*/ 162 w 670"/>
                <a:gd name="T95" fmla="*/ 433 h 440"/>
                <a:gd name="T96" fmla="*/ 142 w 670"/>
                <a:gd name="T97" fmla="*/ 419 h 440"/>
                <a:gd name="T98" fmla="*/ 109 w 670"/>
                <a:gd name="T99" fmla="*/ 403 h 440"/>
                <a:gd name="T100" fmla="*/ 86 w 670"/>
                <a:gd name="T101" fmla="*/ 397 h 440"/>
                <a:gd name="T102" fmla="*/ 52 w 670"/>
                <a:gd name="T103" fmla="*/ 365 h 440"/>
                <a:gd name="T104" fmla="*/ 47 w 670"/>
                <a:gd name="T105" fmla="*/ 359 h 440"/>
                <a:gd name="T106" fmla="*/ 40 w 670"/>
                <a:gd name="T107" fmla="*/ 336 h 440"/>
                <a:gd name="T108" fmla="*/ 23 w 670"/>
                <a:gd name="T109" fmla="*/ 303 h 440"/>
                <a:gd name="T110" fmla="*/ 8 w 670"/>
                <a:gd name="T111" fmla="*/ 284 h 440"/>
                <a:gd name="T112" fmla="*/ 0 w 670"/>
                <a:gd name="T113" fmla="*/ 238 h 440"/>
                <a:gd name="T114" fmla="*/ 0 w 670"/>
                <a:gd name="T115" fmla="*/ 226 h 440"/>
                <a:gd name="T116" fmla="*/ 1 w 670"/>
                <a:gd name="T117" fmla="*/ 192 h 440"/>
                <a:gd name="T118" fmla="*/ 2 w 670"/>
                <a:gd name="T119" fmla="*/ 184 h 440"/>
                <a:gd name="T120" fmla="*/ 14 w 670"/>
                <a:gd name="T121" fmla="*/ 163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0" h="440">
                  <a:moveTo>
                    <a:pt x="158" y="8"/>
                  </a:moveTo>
                  <a:cubicBezTo>
                    <a:pt x="155" y="8"/>
                    <a:pt x="151" y="9"/>
                    <a:pt x="148" y="10"/>
                  </a:cubicBezTo>
                  <a:cubicBezTo>
                    <a:pt x="151" y="18"/>
                    <a:pt x="151" y="18"/>
                    <a:pt x="151" y="18"/>
                  </a:cubicBezTo>
                  <a:cubicBezTo>
                    <a:pt x="154" y="17"/>
                    <a:pt x="157" y="16"/>
                    <a:pt x="160" y="15"/>
                  </a:cubicBezTo>
                  <a:cubicBezTo>
                    <a:pt x="158" y="8"/>
                    <a:pt x="158" y="8"/>
                    <a:pt x="158" y="8"/>
                  </a:cubicBezTo>
                  <a:close/>
                  <a:moveTo>
                    <a:pt x="180" y="3"/>
                  </a:moveTo>
                  <a:cubicBezTo>
                    <a:pt x="175" y="3"/>
                    <a:pt x="170" y="4"/>
                    <a:pt x="165" y="6"/>
                  </a:cubicBezTo>
                  <a:cubicBezTo>
                    <a:pt x="167" y="13"/>
                    <a:pt x="167" y="13"/>
                    <a:pt x="167" y="13"/>
                  </a:cubicBezTo>
                  <a:cubicBezTo>
                    <a:pt x="172" y="12"/>
                    <a:pt x="177" y="11"/>
                    <a:pt x="181" y="10"/>
                  </a:cubicBezTo>
                  <a:cubicBezTo>
                    <a:pt x="180" y="3"/>
                    <a:pt x="180" y="3"/>
                    <a:pt x="180" y="3"/>
                  </a:cubicBezTo>
                  <a:close/>
                  <a:moveTo>
                    <a:pt x="203" y="0"/>
                  </a:moveTo>
                  <a:cubicBezTo>
                    <a:pt x="198" y="1"/>
                    <a:pt x="193" y="1"/>
                    <a:pt x="188" y="2"/>
                  </a:cubicBezTo>
                  <a:cubicBezTo>
                    <a:pt x="189" y="9"/>
                    <a:pt x="189" y="9"/>
                    <a:pt x="189" y="9"/>
                  </a:cubicBezTo>
                  <a:cubicBezTo>
                    <a:pt x="194" y="9"/>
                    <a:pt x="199" y="8"/>
                    <a:pt x="204" y="8"/>
                  </a:cubicBezTo>
                  <a:cubicBezTo>
                    <a:pt x="203" y="0"/>
                    <a:pt x="203" y="0"/>
                    <a:pt x="203" y="0"/>
                  </a:cubicBezTo>
                  <a:close/>
                  <a:moveTo>
                    <a:pt x="226" y="0"/>
                  </a:moveTo>
                  <a:cubicBezTo>
                    <a:pt x="214" y="0"/>
                    <a:pt x="214" y="0"/>
                    <a:pt x="214" y="0"/>
                  </a:cubicBezTo>
                  <a:cubicBezTo>
                    <a:pt x="213" y="0"/>
                    <a:pt x="212" y="0"/>
                    <a:pt x="211" y="0"/>
                  </a:cubicBezTo>
                  <a:cubicBezTo>
                    <a:pt x="211" y="8"/>
                    <a:pt x="211" y="8"/>
                    <a:pt x="211" y="8"/>
                  </a:cubicBezTo>
                  <a:cubicBezTo>
                    <a:pt x="212" y="8"/>
                    <a:pt x="213" y="8"/>
                    <a:pt x="214" y="8"/>
                  </a:cubicBezTo>
                  <a:cubicBezTo>
                    <a:pt x="226" y="8"/>
                    <a:pt x="226" y="8"/>
                    <a:pt x="226" y="8"/>
                  </a:cubicBezTo>
                  <a:cubicBezTo>
                    <a:pt x="226" y="0"/>
                    <a:pt x="226" y="0"/>
                    <a:pt x="226" y="0"/>
                  </a:cubicBezTo>
                  <a:close/>
                  <a:moveTo>
                    <a:pt x="249" y="0"/>
                  </a:moveTo>
                  <a:cubicBezTo>
                    <a:pt x="234" y="0"/>
                    <a:pt x="234" y="0"/>
                    <a:pt x="234" y="0"/>
                  </a:cubicBezTo>
                  <a:cubicBezTo>
                    <a:pt x="234" y="8"/>
                    <a:pt x="234" y="8"/>
                    <a:pt x="234" y="8"/>
                  </a:cubicBezTo>
                  <a:cubicBezTo>
                    <a:pt x="249" y="8"/>
                    <a:pt x="249" y="8"/>
                    <a:pt x="249" y="8"/>
                  </a:cubicBezTo>
                  <a:lnTo>
                    <a:pt x="249" y="0"/>
                  </a:lnTo>
                  <a:close/>
                  <a:moveTo>
                    <a:pt x="272" y="0"/>
                  </a:moveTo>
                  <a:cubicBezTo>
                    <a:pt x="257" y="0"/>
                    <a:pt x="257" y="0"/>
                    <a:pt x="257" y="0"/>
                  </a:cubicBezTo>
                  <a:cubicBezTo>
                    <a:pt x="257" y="8"/>
                    <a:pt x="257" y="8"/>
                    <a:pt x="257" y="8"/>
                  </a:cubicBezTo>
                  <a:cubicBezTo>
                    <a:pt x="272" y="8"/>
                    <a:pt x="272" y="8"/>
                    <a:pt x="272" y="8"/>
                  </a:cubicBezTo>
                  <a:lnTo>
                    <a:pt x="272" y="0"/>
                  </a:lnTo>
                  <a:close/>
                  <a:moveTo>
                    <a:pt x="295" y="0"/>
                  </a:moveTo>
                  <a:cubicBezTo>
                    <a:pt x="280" y="0"/>
                    <a:pt x="280" y="0"/>
                    <a:pt x="280" y="0"/>
                  </a:cubicBezTo>
                  <a:cubicBezTo>
                    <a:pt x="280" y="8"/>
                    <a:pt x="280" y="8"/>
                    <a:pt x="280" y="8"/>
                  </a:cubicBezTo>
                  <a:cubicBezTo>
                    <a:pt x="295" y="8"/>
                    <a:pt x="295" y="8"/>
                    <a:pt x="295" y="8"/>
                  </a:cubicBezTo>
                  <a:lnTo>
                    <a:pt x="295" y="0"/>
                  </a:lnTo>
                  <a:close/>
                  <a:moveTo>
                    <a:pt x="318" y="0"/>
                  </a:moveTo>
                  <a:cubicBezTo>
                    <a:pt x="302" y="0"/>
                    <a:pt x="302" y="0"/>
                    <a:pt x="302" y="0"/>
                  </a:cubicBezTo>
                  <a:cubicBezTo>
                    <a:pt x="302" y="8"/>
                    <a:pt x="302" y="8"/>
                    <a:pt x="302" y="8"/>
                  </a:cubicBezTo>
                  <a:cubicBezTo>
                    <a:pt x="318" y="8"/>
                    <a:pt x="318" y="8"/>
                    <a:pt x="318" y="8"/>
                  </a:cubicBezTo>
                  <a:lnTo>
                    <a:pt x="318" y="0"/>
                  </a:lnTo>
                  <a:close/>
                  <a:moveTo>
                    <a:pt x="341" y="0"/>
                  </a:moveTo>
                  <a:cubicBezTo>
                    <a:pt x="325" y="0"/>
                    <a:pt x="325" y="0"/>
                    <a:pt x="325" y="0"/>
                  </a:cubicBezTo>
                  <a:cubicBezTo>
                    <a:pt x="325" y="8"/>
                    <a:pt x="325" y="8"/>
                    <a:pt x="325" y="8"/>
                  </a:cubicBezTo>
                  <a:cubicBezTo>
                    <a:pt x="341" y="8"/>
                    <a:pt x="341" y="8"/>
                    <a:pt x="341" y="8"/>
                  </a:cubicBezTo>
                  <a:lnTo>
                    <a:pt x="341" y="0"/>
                  </a:lnTo>
                  <a:close/>
                  <a:moveTo>
                    <a:pt x="363" y="0"/>
                  </a:moveTo>
                  <a:cubicBezTo>
                    <a:pt x="348" y="0"/>
                    <a:pt x="348" y="0"/>
                    <a:pt x="348" y="0"/>
                  </a:cubicBezTo>
                  <a:cubicBezTo>
                    <a:pt x="348" y="8"/>
                    <a:pt x="348" y="8"/>
                    <a:pt x="348" y="8"/>
                  </a:cubicBezTo>
                  <a:cubicBezTo>
                    <a:pt x="363" y="8"/>
                    <a:pt x="363" y="8"/>
                    <a:pt x="363" y="8"/>
                  </a:cubicBezTo>
                  <a:lnTo>
                    <a:pt x="363" y="0"/>
                  </a:lnTo>
                  <a:close/>
                  <a:moveTo>
                    <a:pt x="386" y="0"/>
                  </a:moveTo>
                  <a:cubicBezTo>
                    <a:pt x="371" y="0"/>
                    <a:pt x="371" y="0"/>
                    <a:pt x="371" y="0"/>
                  </a:cubicBezTo>
                  <a:cubicBezTo>
                    <a:pt x="371" y="8"/>
                    <a:pt x="371" y="8"/>
                    <a:pt x="371" y="8"/>
                  </a:cubicBezTo>
                  <a:cubicBezTo>
                    <a:pt x="386" y="8"/>
                    <a:pt x="386" y="8"/>
                    <a:pt x="386" y="8"/>
                  </a:cubicBezTo>
                  <a:lnTo>
                    <a:pt x="386" y="0"/>
                  </a:lnTo>
                  <a:close/>
                  <a:moveTo>
                    <a:pt x="409" y="0"/>
                  </a:moveTo>
                  <a:cubicBezTo>
                    <a:pt x="394" y="0"/>
                    <a:pt x="394" y="0"/>
                    <a:pt x="394" y="0"/>
                  </a:cubicBezTo>
                  <a:cubicBezTo>
                    <a:pt x="394" y="8"/>
                    <a:pt x="394" y="8"/>
                    <a:pt x="394" y="8"/>
                  </a:cubicBezTo>
                  <a:cubicBezTo>
                    <a:pt x="409" y="8"/>
                    <a:pt x="409" y="8"/>
                    <a:pt x="409" y="8"/>
                  </a:cubicBezTo>
                  <a:lnTo>
                    <a:pt x="409" y="0"/>
                  </a:lnTo>
                  <a:close/>
                  <a:moveTo>
                    <a:pt x="432" y="0"/>
                  </a:moveTo>
                  <a:cubicBezTo>
                    <a:pt x="417" y="0"/>
                    <a:pt x="417" y="0"/>
                    <a:pt x="417" y="0"/>
                  </a:cubicBezTo>
                  <a:cubicBezTo>
                    <a:pt x="417" y="8"/>
                    <a:pt x="417" y="8"/>
                    <a:pt x="417" y="8"/>
                  </a:cubicBezTo>
                  <a:cubicBezTo>
                    <a:pt x="432" y="8"/>
                    <a:pt x="432" y="8"/>
                    <a:pt x="432" y="8"/>
                  </a:cubicBezTo>
                  <a:lnTo>
                    <a:pt x="432" y="0"/>
                  </a:lnTo>
                  <a:close/>
                  <a:moveTo>
                    <a:pt x="455" y="0"/>
                  </a:moveTo>
                  <a:cubicBezTo>
                    <a:pt x="439" y="0"/>
                    <a:pt x="439" y="0"/>
                    <a:pt x="439" y="0"/>
                  </a:cubicBezTo>
                  <a:cubicBezTo>
                    <a:pt x="439" y="8"/>
                    <a:pt x="439" y="8"/>
                    <a:pt x="439" y="8"/>
                  </a:cubicBezTo>
                  <a:cubicBezTo>
                    <a:pt x="455" y="8"/>
                    <a:pt x="455" y="8"/>
                    <a:pt x="455" y="8"/>
                  </a:cubicBezTo>
                  <a:lnTo>
                    <a:pt x="455" y="0"/>
                  </a:lnTo>
                  <a:close/>
                  <a:moveTo>
                    <a:pt x="478" y="1"/>
                  </a:moveTo>
                  <a:cubicBezTo>
                    <a:pt x="473" y="1"/>
                    <a:pt x="468" y="0"/>
                    <a:pt x="462" y="0"/>
                  </a:cubicBezTo>
                  <a:cubicBezTo>
                    <a:pt x="462" y="8"/>
                    <a:pt x="462" y="8"/>
                    <a:pt x="462" y="8"/>
                  </a:cubicBezTo>
                  <a:cubicBezTo>
                    <a:pt x="467" y="8"/>
                    <a:pt x="472" y="8"/>
                    <a:pt x="477" y="9"/>
                  </a:cubicBezTo>
                  <a:lnTo>
                    <a:pt x="478" y="1"/>
                  </a:lnTo>
                  <a:close/>
                  <a:moveTo>
                    <a:pt x="501" y="5"/>
                  </a:moveTo>
                  <a:cubicBezTo>
                    <a:pt x="496" y="4"/>
                    <a:pt x="491" y="3"/>
                    <a:pt x="486" y="2"/>
                  </a:cubicBezTo>
                  <a:cubicBezTo>
                    <a:pt x="484" y="10"/>
                    <a:pt x="484" y="10"/>
                    <a:pt x="484" y="10"/>
                  </a:cubicBezTo>
                  <a:cubicBezTo>
                    <a:pt x="489" y="10"/>
                    <a:pt x="494" y="11"/>
                    <a:pt x="499" y="12"/>
                  </a:cubicBezTo>
                  <a:cubicBezTo>
                    <a:pt x="501" y="5"/>
                    <a:pt x="501" y="5"/>
                    <a:pt x="501" y="5"/>
                  </a:cubicBezTo>
                  <a:close/>
                  <a:moveTo>
                    <a:pt x="523" y="11"/>
                  </a:moveTo>
                  <a:cubicBezTo>
                    <a:pt x="518" y="9"/>
                    <a:pt x="513" y="8"/>
                    <a:pt x="508" y="7"/>
                  </a:cubicBezTo>
                  <a:cubicBezTo>
                    <a:pt x="506" y="14"/>
                    <a:pt x="506" y="14"/>
                    <a:pt x="506" y="14"/>
                  </a:cubicBezTo>
                  <a:cubicBezTo>
                    <a:pt x="511" y="15"/>
                    <a:pt x="516" y="17"/>
                    <a:pt x="521" y="18"/>
                  </a:cubicBezTo>
                  <a:cubicBezTo>
                    <a:pt x="523" y="11"/>
                    <a:pt x="523" y="11"/>
                    <a:pt x="523" y="11"/>
                  </a:cubicBezTo>
                  <a:close/>
                  <a:moveTo>
                    <a:pt x="545" y="19"/>
                  </a:moveTo>
                  <a:cubicBezTo>
                    <a:pt x="540" y="17"/>
                    <a:pt x="535" y="15"/>
                    <a:pt x="530" y="14"/>
                  </a:cubicBezTo>
                  <a:cubicBezTo>
                    <a:pt x="528" y="21"/>
                    <a:pt x="528" y="21"/>
                    <a:pt x="528" y="21"/>
                  </a:cubicBezTo>
                  <a:cubicBezTo>
                    <a:pt x="532" y="23"/>
                    <a:pt x="537" y="24"/>
                    <a:pt x="542" y="27"/>
                  </a:cubicBezTo>
                  <a:cubicBezTo>
                    <a:pt x="545" y="19"/>
                    <a:pt x="545" y="19"/>
                    <a:pt x="545" y="19"/>
                  </a:cubicBezTo>
                  <a:close/>
                  <a:moveTo>
                    <a:pt x="565" y="30"/>
                  </a:moveTo>
                  <a:cubicBezTo>
                    <a:pt x="561" y="28"/>
                    <a:pt x="556" y="25"/>
                    <a:pt x="552" y="23"/>
                  </a:cubicBezTo>
                  <a:cubicBezTo>
                    <a:pt x="548" y="30"/>
                    <a:pt x="548" y="30"/>
                    <a:pt x="548" y="30"/>
                  </a:cubicBezTo>
                  <a:cubicBezTo>
                    <a:pt x="553" y="32"/>
                    <a:pt x="557" y="34"/>
                    <a:pt x="561" y="37"/>
                  </a:cubicBezTo>
                  <a:cubicBezTo>
                    <a:pt x="565" y="30"/>
                    <a:pt x="565" y="30"/>
                    <a:pt x="565" y="30"/>
                  </a:cubicBezTo>
                  <a:close/>
                  <a:moveTo>
                    <a:pt x="585" y="43"/>
                  </a:moveTo>
                  <a:cubicBezTo>
                    <a:pt x="580" y="40"/>
                    <a:pt x="576" y="37"/>
                    <a:pt x="572" y="34"/>
                  </a:cubicBezTo>
                  <a:cubicBezTo>
                    <a:pt x="568" y="41"/>
                    <a:pt x="568" y="41"/>
                    <a:pt x="568" y="41"/>
                  </a:cubicBezTo>
                  <a:cubicBezTo>
                    <a:pt x="572" y="44"/>
                    <a:pt x="576" y="46"/>
                    <a:pt x="580" y="49"/>
                  </a:cubicBezTo>
                  <a:lnTo>
                    <a:pt x="585" y="43"/>
                  </a:lnTo>
                  <a:close/>
                  <a:moveTo>
                    <a:pt x="602" y="58"/>
                  </a:moveTo>
                  <a:cubicBezTo>
                    <a:pt x="599" y="55"/>
                    <a:pt x="595" y="51"/>
                    <a:pt x="591" y="48"/>
                  </a:cubicBezTo>
                  <a:cubicBezTo>
                    <a:pt x="586" y="54"/>
                    <a:pt x="586" y="54"/>
                    <a:pt x="586" y="54"/>
                  </a:cubicBezTo>
                  <a:cubicBezTo>
                    <a:pt x="590" y="57"/>
                    <a:pt x="593" y="61"/>
                    <a:pt x="597" y="64"/>
                  </a:cubicBezTo>
                  <a:cubicBezTo>
                    <a:pt x="602" y="58"/>
                    <a:pt x="602" y="58"/>
                    <a:pt x="602" y="58"/>
                  </a:cubicBezTo>
                  <a:close/>
                  <a:moveTo>
                    <a:pt x="618" y="75"/>
                  </a:moveTo>
                  <a:cubicBezTo>
                    <a:pt x="615" y="71"/>
                    <a:pt x="611" y="67"/>
                    <a:pt x="608" y="64"/>
                  </a:cubicBezTo>
                  <a:cubicBezTo>
                    <a:pt x="602" y="69"/>
                    <a:pt x="602" y="69"/>
                    <a:pt x="602" y="69"/>
                  </a:cubicBezTo>
                  <a:cubicBezTo>
                    <a:pt x="606" y="73"/>
                    <a:pt x="609" y="76"/>
                    <a:pt x="612" y="80"/>
                  </a:cubicBezTo>
                  <a:cubicBezTo>
                    <a:pt x="618" y="75"/>
                    <a:pt x="618" y="75"/>
                    <a:pt x="618" y="75"/>
                  </a:cubicBezTo>
                  <a:close/>
                  <a:moveTo>
                    <a:pt x="632" y="94"/>
                  </a:moveTo>
                  <a:cubicBezTo>
                    <a:pt x="630" y="89"/>
                    <a:pt x="626" y="85"/>
                    <a:pt x="623" y="81"/>
                  </a:cubicBezTo>
                  <a:cubicBezTo>
                    <a:pt x="617" y="86"/>
                    <a:pt x="617" y="86"/>
                    <a:pt x="617" y="86"/>
                  </a:cubicBezTo>
                  <a:cubicBezTo>
                    <a:pt x="620" y="90"/>
                    <a:pt x="623" y="94"/>
                    <a:pt x="626" y="98"/>
                  </a:cubicBezTo>
                  <a:cubicBezTo>
                    <a:pt x="632" y="94"/>
                    <a:pt x="632" y="94"/>
                    <a:pt x="632" y="94"/>
                  </a:cubicBezTo>
                  <a:close/>
                  <a:moveTo>
                    <a:pt x="645" y="113"/>
                  </a:moveTo>
                  <a:cubicBezTo>
                    <a:pt x="642" y="109"/>
                    <a:pt x="639" y="104"/>
                    <a:pt x="637" y="100"/>
                  </a:cubicBezTo>
                  <a:cubicBezTo>
                    <a:pt x="630" y="104"/>
                    <a:pt x="630" y="104"/>
                    <a:pt x="630" y="104"/>
                  </a:cubicBezTo>
                  <a:cubicBezTo>
                    <a:pt x="633" y="108"/>
                    <a:pt x="635" y="113"/>
                    <a:pt x="638" y="117"/>
                  </a:cubicBezTo>
                  <a:cubicBezTo>
                    <a:pt x="645" y="113"/>
                    <a:pt x="645" y="113"/>
                    <a:pt x="645" y="113"/>
                  </a:cubicBezTo>
                  <a:close/>
                  <a:moveTo>
                    <a:pt x="654" y="134"/>
                  </a:moveTo>
                  <a:cubicBezTo>
                    <a:pt x="652" y="130"/>
                    <a:pt x="650" y="125"/>
                    <a:pt x="648" y="120"/>
                  </a:cubicBezTo>
                  <a:cubicBezTo>
                    <a:pt x="641" y="124"/>
                    <a:pt x="641" y="124"/>
                    <a:pt x="641" y="124"/>
                  </a:cubicBezTo>
                  <a:cubicBezTo>
                    <a:pt x="643" y="128"/>
                    <a:pt x="645" y="133"/>
                    <a:pt x="647" y="137"/>
                  </a:cubicBezTo>
                  <a:cubicBezTo>
                    <a:pt x="654" y="134"/>
                    <a:pt x="654" y="134"/>
                    <a:pt x="654" y="134"/>
                  </a:cubicBezTo>
                  <a:close/>
                  <a:moveTo>
                    <a:pt x="662" y="156"/>
                  </a:moveTo>
                  <a:cubicBezTo>
                    <a:pt x="660" y="151"/>
                    <a:pt x="659" y="147"/>
                    <a:pt x="657" y="142"/>
                  </a:cubicBezTo>
                  <a:cubicBezTo>
                    <a:pt x="650" y="144"/>
                    <a:pt x="650" y="144"/>
                    <a:pt x="650" y="144"/>
                  </a:cubicBezTo>
                  <a:cubicBezTo>
                    <a:pt x="652" y="149"/>
                    <a:pt x="653" y="154"/>
                    <a:pt x="654" y="159"/>
                  </a:cubicBezTo>
                  <a:cubicBezTo>
                    <a:pt x="662" y="156"/>
                    <a:pt x="662" y="156"/>
                    <a:pt x="662" y="156"/>
                  </a:cubicBezTo>
                  <a:close/>
                  <a:moveTo>
                    <a:pt x="667" y="179"/>
                  </a:moveTo>
                  <a:cubicBezTo>
                    <a:pt x="666" y="174"/>
                    <a:pt x="665" y="169"/>
                    <a:pt x="664" y="164"/>
                  </a:cubicBezTo>
                  <a:cubicBezTo>
                    <a:pt x="656" y="166"/>
                    <a:pt x="656" y="166"/>
                    <a:pt x="656" y="166"/>
                  </a:cubicBezTo>
                  <a:cubicBezTo>
                    <a:pt x="657" y="171"/>
                    <a:pt x="658" y="175"/>
                    <a:pt x="659" y="180"/>
                  </a:cubicBezTo>
                  <a:lnTo>
                    <a:pt x="667" y="179"/>
                  </a:lnTo>
                  <a:close/>
                  <a:moveTo>
                    <a:pt x="669" y="202"/>
                  </a:moveTo>
                  <a:cubicBezTo>
                    <a:pt x="669" y="197"/>
                    <a:pt x="669" y="192"/>
                    <a:pt x="668" y="187"/>
                  </a:cubicBezTo>
                  <a:cubicBezTo>
                    <a:pt x="660" y="188"/>
                    <a:pt x="660" y="188"/>
                    <a:pt x="660" y="188"/>
                  </a:cubicBezTo>
                  <a:cubicBezTo>
                    <a:pt x="661" y="193"/>
                    <a:pt x="661" y="198"/>
                    <a:pt x="662" y="203"/>
                  </a:cubicBezTo>
                  <a:cubicBezTo>
                    <a:pt x="669" y="202"/>
                    <a:pt x="669" y="202"/>
                    <a:pt x="669" y="202"/>
                  </a:cubicBezTo>
                  <a:close/>
                  <a:moveTo>
                    <a:pt x="670" y="225"/>
                  </a:moveTo>
                  <a:cubicBezTo>
                    <a:pt x="670" y="214"/>
                    <a:pt x="670" y="214"/>
                    <a:pt x="670" y="214"/>
                  </a:cubicBezTo>
                  <a:cubicBezTo>
                    <a:pt x="670" y="213"/>
                    <a:pt x="670" y="211"/>
                    <a:pt x="670" y="210"/>
                  </a:cubicBezTo>
                  <a:cubicBezTo>
                    <a:pt x="662" y="210"/>
                    <a:pt x="662" y="210"/>
                    <a:pt x="662" y="210"/>
                  </a:cubicBezTo>
                  <a:cubicBezTo>
                    <a:pt x="662" y="211"/>
                    <a:pt x="662" y="213"/>
                    <a:pt x="662" y="214"/>
                  </a:cubicBezTo>
                  <a:cubicBezTo>
                    <a:pt x="662" y="225"/>
                    <a:pt x="662" y="225"/>
                    <a:pt x="662" y="225"/>
                  </a:cubicBezTo>
                  <a:cubicBezTo>
                    <a:pt x="670" y="225"/>
                    <a:pt x="670" y="225"/>
                    <a:pt x="670" y="225"/>
                  </a:cubicBezTo>
                  <a:close/>
                  <a:moveTo>
                    <a:pt x="669" y="248"/>
                  </a:moveTo>
                  <a:cubicBezTo>
                    <a:pt x="669" y="243"/>
                    <a:pt x="669" y="238"/>
                    <a:pt x="670" y="233"/>
                  </a:cubicBezTo>
                  <a:cubicBezTo>
                    <a:pt x="662" y="233"/>
                    <a:pt x="662" y="233"/>
                    <a:pt x="662" y="233"/>
                  </a:cubicBezTo>
                  <a:cubicBezTo>
                    <a:pt x="662" y="238"/>
                    <a:pt x="661" y="243"/>
                    <a:pt x="661" y="248"/>
                  </a:cubicBezTo>
                  <a:cubicBezTo>
                    <a:pt x="669" y="248"/>
                    <a:pt x="669" y="248"/>
                    <a:pt x="669" y="248"/>
                  </a:cubicBezTo>
                  <a:close/>
                  <a:moveTo>
                    <a:pt x="665" y="271"/>
                  </a:moveTo>
                  <a:cubicBezTo>
                    <a:pt x="666" y="266"/>
                    <a:pt x="667" y="261"/>
                    <a:pt x="668" y="256"/>
                  </a:cubicBezTo>
                  <a:cubicBezTo>
                    <a:pt x="660" y="255"/>
                    <a:pt x="660" y="255"/>
                    <a:pt x="660" y="255"/>
                  </a:cubicBezTo>
                  <a:cubicBezTo>
                    <a:pt x="659" y="260"/>
                    <a:pt x="658" y="265"/>
                    <a:pt x="657" y="270"/>
                  </a:cubicBezTo>
                  <a:cubicBezTo>
                    <a:pt x="665" y="271"/>
                    <a:pt x="665" y="271"/>
                    <a:pt x="665" y="271"/>
                  </a:cubicBezTo>
                  <a:close/>
                  <a:moveTo>
                    <a:pt x="659" y="294"/>
                  </a:moveTo>
                  <a:cubicBezTo>
                    <a:pt x="660" y="289"/>
                    <a:pt x="662" y="284"/>
                    <a:pt x="663" y="279"/>
                  </a:cubicBezTo>
                  <a:cubicBezTo>
                    <a:pt x="656" y="277"/>
                    <a:pt x="656" y="277"/>
                    <a:pt x="656" y="277"/>
                  </a:cubicBezTo>
                  <a:cubicBezTo>
                    <a:pt x="654" y="282"/>
                    <a:pt x="653" y="287"/>
                    <a:pt x="651" y="291"/>
                  </a:cubicBezTo>
                  <a:lnTo>
                    <a:pt x="659" y="294"/>
                  </a:lnTo>
                  <a:close/>
                  <a:moveTo>
                    <a:pt x="650" y="315"/>
                  </a:moveTo>
                  <a:cubicBezTo>
                    <a:pt x="652" y="311"/>
                    <a:pt x="654" y="306"/>
                    <a:pt x="656" y="301"/>
                  </a:cubicBezTo>
                  <a:cubicBezTo>
                    <a:pt x="649" y="298"/>
                    <a:pt x="649" y="298"/>
                    <a:pt x="649" y="298"/>
                  </a:cubicBezTo>
                  <a:cubicBezTo>
                    <a:pt x="647" y="303"/>
                    <a:pt x="645" y="308"/>
                    <a:pt x="643" y="312"/>
                  </a:cubicBezTo>
                  <a:lnTo>
                    <a:pt x="650" y="315"/>
                  </a:lnTo>
                  <a:close/>
                  <a:moveTo>
                    <a:pt x="639" y="336"/>
                  </a:moveTo>
                  <a:cubicBezTo>
                    <a:pt x="642" y="331"/>
                    <a:pt x="644" y="327"/>
                    <a:pt x="647" y="322"/>
                  </a:cubicBezTo>
                  <a:cubicBezTo>
                    <a:pt x="640" y="319"/>
                    <a:pt x="640" y="319"/>
                    <a:pt x="640" y="319"/>
                  </a:cubicBezTo>
                  <a:cubicBezTo>
                    <a:pt x="637" y="323"/>
                    <a:pt x="635" y="328"/>
                    <a:pt x="632" y="332"/>
                  </a:cubicBezTo>
                  <a:lnTo>
                    <a:pt x="639" y="336"/>
                  </a:lnTo>
                  <a:close/>
                  <a:moveTo>
                    <a:pt x="626" y="355"/>
                  </a:moveTo>
                  <a:cubicBezTo>
                    <a:pt x="629" y="351"/>
                    <a:pt x="632" y="347"/>
                    <a:pt x="635" y="342"/>
                  </a:cubicBezTo>
                  <a:cubicBezTo>
                    <a:pt x="629" y="338"/>
                    <a:pt x="629" y="338"/>
                    <a:pt x="629" y="338"/>
                  </a:cubicBezTo>
                  <a:cubicBezTo>
                    <a:pt x="626" y="342"/>
                    <a:pt x="623" y="346"/>
                    <a:pt x="620" y="350"/>
                  </a:cubicBezTo>
                  <a:cubicBezTo>
                    <a:pt x="626" y="355"/>
                    <a:pt x="626" y="355"/>
                    <a:pt x="626" y="355"/>
                  </a:cubicBezTo>
                  <a:close/>
                  <a:moveTo>
                    <a:pt x="611" y="373"/>
                  </a:moveTo>
                  <a:cubicBezTo>
                    <a:pt x="615" y="369"/>
                    <a:pt x="618" y="365"/>
                    <a:pt x="621" y="361"/>
                  </a:cubicBezTo>
                  <a:cubicBezTo>
                    <a:pt x="615" y="356"/>
                    <a:pt x="615" y="356"/>
                    <a:pt x="615" y="356"/>
                  </a:cubicBezTo>
                  <a:cubicBezTo>
                    <a:pt x="612" y="360"/>
                    <a:pt x="609" y="364"/>
                    <a:pt x="605" y="367"/>
                  </a:cubicBezTo>
                  <a:cubicBezTo>
                    <a:pt x="611" y="373"/>
                    <a:pt x="611" y="373"/>
                    <a:pt x="611" y="373"/>
                  </a:cubicBezTo>
                  <a:close/>
                  <a:moveTo>
                    <a:pt x="594" y="389"/>
                  </a:moveTo>
                  <a:cubicBezTo>
                    <a:pt x="598" y="385"/>
                    <a:pt x="602" y="382"/>
                    <a:pt x="606" y="378"/>
                  </a:cubicBezTo>
                  <a:cubicBezTo>
                    <a:pt x="600" y="373"/>
                    <a:pt x="600" y="373"/>
                    <a:pt x="600" y="373"/>
                  </a:cubicBezTo>
                  <a:cubicBezTo>
                    <a:pt x="597" y="376"/>
                    <a:pt x="593" y="380"/>
                    <a:pt x="589" y="383"/>
                  </a:cubicBezTo>
                  <a:cubicBezTo>
                    <a:pt x="594" y="389"/>
                    <a:pt x="594" y="389"/>
                    <a:pt x="594" y="389"/>
                  </a:cubicBezTo>
                  <a:close/>
                  <a:moveTo>
                    <a:pt x="576" y="403"/>
                  </a:moveTo>
                  <a:cubicBezTo>
                    <a:pt x="580" y="400"/>
                    <a:pt x="584" y="397"/>
                    <a:pt x="588" y="394"/>
                  </a:cubicBezTo>
                  <a:cubicBezTo>
                    <a:pt x="583" y="388"/>
                    <a:pt x="583" y="388"/>
                    <a:pt x="583" y="388"/>
                  </a:cubicBezTo>
                  <a:cubicBezTo>
                    <a:pt x="579" y="391"/>
                    <a:pt x="575" y="394"/>
                    <a:pt x="571" y="396"/>
                  </a:cubicBezTo>
                  <a:cubicBezTo>
                    <a:pt x="576" y="403"/>
                    <a:pt x="576" y="403"/>
                    <a:pt x="576" y="403"/>
                  </a:cubicBezTo>
                  <a:close/>
                  <a:moveTo>
                    <a:pt x="556" y="415"/>
                  </a:moveTo>
                  <a:cubicBezTo>
                    <a:pt x="560" y="412"/>
                    <a:pt x="565" y="410"/>
                    <a:pt x="569" y="407"/>
                  </a:cubicBezTo>
                  <a:cubicBezTo>
                    <a:pt x="565" y="400"/>
                    <a:pt x="565" y="400"/>
                    <a:pt x="565" y="400"/>
                  </a:cubicBezTo>
                  <a:cubicBezTo>
                    <a:pt x="561" y="403"/>
                    <a:pt x="557" y="406"/>
                    <a:pt x="552" y="408"/>
                  </a:cubicBezTo>
                  <a:cubicBezTo>
                    <a:pt x="556" y="415"/>
                    <a:pt x="556" y="415"/>
                    <a:pt x="556" y="415"/>
                  </a:cubicBezTo>
                  <a:close/>
                  <a:moveTo>
                    <a:pt x="535" y="425"/>
                  </a:moveTo>
                  <a:cubicBezTo>
                    <a:pt x="540" y="423"/>
                    <a:pt x="544" y="421"/>
                    <a:pt x="549" y="418"/>
                  </a:cubicBezTo>
                  <a:cubicBezTo>
                    <a:pt x="546" y="411"/>
                    <a:pt x="546" y="411"/>
                    <a:pt x="546" y="411"/>
                  </a:cubicBezTo>
                  <a:cubicBezTo>
                    <a:pt x="541" y="414"/>
                    <a:pt x="536" y="416"/>
                    <a:pt x="532" y="417"/>
                  </a:cubicBezTo>
                  <a:cubicBezTo>
                    <a:pt x="535" y="425"/>
                    <a:pt x="535" y="425"/>
                    <a:pt x="535" y="425"/>
                  </a:cubicBezTo>
                  <a:close/>
                  <a:moveTo>
                    <a:pt x="513" y="432"/>
                  </a:moveTo>
                  <a:cubicBezTo>
                    <a:pt x="518" y="431"/>
                    <a:pt x="523" y="429"/>
                    <a:pt x="527" y="427"/>
                  </a:cubicBezTo>
                  <a:cubicBezTo>
                    <a:pt x="525" y="420"/>
                    <a:pt x="525" y="420"/>
                    <a:pt x="525" y="420"/>
                  </a:cubicBezTo>
                  <a:cubicBezTo>
                    <a:pt x="520" y="422"/>
                    <a:pt x="515" y="423"/>
                    <a:pt x="511" y="425"/>
                  </a:cubicBezTo>
                  <a:cubicBezTo>
                    <a:pt x="513" y="432"/>
                    <a:pt x="513" y="432"/>
                    <a:pt x="513" y="432"/>
                  </a:cubicBezTo>
                  <a:close/>
                  <a:moveTo>
                    <a:pt x="490" y="437"/>
                  </a:moveTo>
                  <a:cubicBezTo>
                    <a:pt x="495" y="436"/>
                    <a:pt x="500" y="435"/>
                    <a:pt x="505" y="434"/>
                  </a:cubicBezTo>
                  <a:cubicBezTo>
                    <a:pt x="503" y="426"/>
                    <a:pt x="503" y="426"/>
                    <a:pt x="503" y="426"/>
                  </a:cubicBezTo>
                  <a:cubicBezTo>
                    <a:pt x="499" y="428"/>
                    <a:pt x="494" y="429"/>
                    <a:pt x="489" y="429"/>
                  </a:cubicBezTo>
                  <a:cubicBezTo>
                    <a:pt x="490" y="437"/>
                    <a:pt x="490" y="437"/>
                    <a:pt x="490" y="437"/>
                  </a:cubicBezTo>
                  <a:close/>
                  <a:moveTo>
                    <a:pt x="467" y="439"/>
                  </a:moveTo>
                  <a:cubicBezTo>
                    <a:pt x="472" y="439"/>
                    <a:pt x="477" y="439"/>
                    <a:pt x="482" y="438"/>
                  </a:cubicBezTo>
                  <a:cubicBezTo>
                    <a:pt x="481" y="430"/>
                    <a:pt x="481" y="430"/>
                    <a:pt x="481" y="430"/>
                  </a:cubicBezTo>
                  <a:cubicBezTo>
                    <a:pt x="476" y="431"/>
                    <a:pt x="471" y="431"/>
                    <a:pt x="466" y="432"/>
                  </a:cubicBezTo>
                  <a:lnTo>
                    <a:pt x="467" y="439"/>
                  </a:lnTo>
                  <a:close/>
                  <a:moveTo>
                    <a:pt x="444" y="440"/>
                  </a:moveTo>
                  <a:cubicBezTo>
                    <a:pt x="456" y="440"/>
                    <a:pt x="456" y="440"/>
                    <a:pt x="456" y="440"/>
                  </a:cubicBezTo>
                  <a:cubicBezTo>
                    <a:pt x="457" y="440"/>
                    <a:pt x="458" y="440"/>
                    <a:pt x="459" y="440"/>
                  </a:cubicBezTo>
                  <a:cubicBezTo>
                    <a:pt x="459" y="432"/>
                    <a:pt x="459" y="432"/>
                    <a:pt x="459" y="432"/>
                  </a:cubicBezTo>
                  <a:cubicBezTo>
                    <a:pt x="458" y="432"/>
                    <a:pt x="457" y="432"/>
                    <a:pt x="456" y="432"/>
                  </a:cubicBezTo>
                  <a:cubicBezTo>
                    <a:pt x="444" y="432"/>
                    <a:pt x="444" y="432"/>
                    <a:pt x="444" y="432"/>
                  </a:cubicBezTo>
                  <a:cubicBezTo>
                    <a:pt x="444" y="440"/>
                    <a:pt x="444" y="440"/>
                    <a:pt x="444" y="440"/>
                  </a:cubicBezTo>
                  <a:close/>
                  <a:moveTo>
                    <a:pt x="421" y="440"/>
                  </a:moveTo>
                  <a:cubicBezTo>
                    <a:pt x="436" y="440"/>
                    <a:pt x="436" y="440"/>
                    <a:pt x="436" y="440"/>
                  </a:cubicBezTo>
                  <a:cubicBezTo>
                    <a:pt x="436" y="432"/>
                    <a:pt x="436" y="432"/>
                    <a:pt x="436" y="432"/>
                  </a:cubicBezTo>
                  <a:cubicBezTo>
                    <a:pt x="421" y="432"/>
                    <a:pt x="421" y="432"/>
                    <a:pt x="421" y="432"/>
                  </a:cubicBezTo>
                  <a:lnTo>
                    <a:pt x="421" y="440"/>
                  </a:lnTo>
                  <a:close/>
                  <a:moveTo>
                    <a:pt x="398" y="440"/>
                  </a:moveTo>
                  <a:cubicBezTo>
                    <a:pt x="413" y="440"/>
                    <a:pt x="413" y="440"/>
                    <a:pt x="413" y="440"/>
                  </a:cubicBezTo>
                  <a:cubicBezTo>
                    <a:pt x="413" y="432"/>
                    <a:pt x="413" y="432"/>
                    <a:pt x="413" y="432"/>
                  </a:cubicBezTo>
                  <a:cubicBezTo>
                    <a:pt x="398" y="432"/>
                    <a:pt x="398" y="432"/>
                    <a:pt x="398" y="432"/>
                  </a:cubicBezTo>
                  <a:lnTo>
                    <a:pt x="398" y="440"/>
                  </a:lnTo>
                  <a:close/>
                  <a:moveTo>
                    <a:pt x="375" y="440"/>
                  </a:moveTo>
                  <a:cubicBezTo>
                    <a:pt x="391" y="440"/>
                    <a:pt x="391" y="440"/>
                    <a:pt x="391" y="440"/>
                  </a:cubicBezTo>
                  <a:cubicBezTo>
                    <a:pt x="391" y="432"/>
                    <a:pt x="391" y="432"/>
                    <a:pt x="391" y="432"/>
                  </a:cubicBezTo>
                  <a:cubicBezTo>
                    <a:pt x="375" y="432"/>
                    <a:pt x="375" y="432"/>
                    <a:pt x="375" y="432"/>
                  </a:cubicBezTo>
                  <a:lnTo>
                    <a:pt x="375"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299" y="440"/>
                    <a:pt x="299" y="440"/>
                    <a:pt x="299" y="440"/>
                  </a:cubicBezTo>
                  <a:cubicBezTo>
                    <a:pt x="299" y="432"/>
                    <a:pt x="299" y="432"/>
                    <a:pt x="299" y="432"/>
                  </a:cubicBezTo>
                  <a:cubicBezTo>
                    <a:pt x="284" y="432"/>
                    <a:pt x="284" y="432"/>
                    <a:pt x="284" y="432"/>
                  </a:cubicBezTo>
                  <a:lnTo>
                    <a:pt x="284" y="440"/>
                  </a:lnTo>
                  <a:close/>
                  <a:moveTo>
                    <a:pt x="261" y="440"/>
                  </a:moveTo>
                  <a:cubicBezTo>
                    <a:pt x="276" y="440"/>
                    <a:pt x="276" y="440"/>
                    <a:pt x="276" y="440"/>
                  </a:cubicBezTo>
                  <a:cubicBezTo>
                    <a:pt x="276" y="432"/>
                    <a:pt x="276" y="432"/>
                    <a:pt x="276" y="432"/>
                  </a:cubicBezTo>
                  <a:cubicBezTo>
                    <a:pt x="261" y="432"/>
                    <a:pt x="261" y="432"/>
                    <a:pt x="261" y="432"/>
                  </a:cubicBezTo>
                  <a:lnTo>
                    <a:pt x="261" y="440"/>
                  </a:lnTo>
                  <a:close/>
                  <a:moveTo>
                    <a:pt x="238" y="440"/>
                  </a:moveTo>
                  <a:cubicBezTo>
                    <a:pt x="254" y="440"/>
                    <a:pt x="254" y="440"/>
                    <a:pt x="254" y="440"/>
                  </a:cubicBezTo>
                  <a:cubicBezTo>
                    <a:pt x="254" y="432"/>
                    <a:pt x="254" y="432"/>
                    <a:pt x="254" y="432"/>
                  </a:cubicBezTo>
                  <a:cubicBezTo>
                    <a:pt x="238" y="432"/>
                    <a:pt x="238" y="432"/>
                    <a:pt x="238" y="432"/>
                  </a:cubicBezTo>
                  <a:lnTo>
                    <a:pt x="238"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close/>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lose/>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close/>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close/>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close/>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close/>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lose/>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lose/>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close/>
                  <a:moveTo>
                    <a:pt x="25" y="327"/>
                  </a:moveTo>
                  <a:cubicBezTo>
                    <a:pt x="28" y="332"/>
                    <a:pt x="30" y="336"/>
                    <a:pt x="33" y="340"/>
                  </a:cubicBezTo>
                  <a:cubicBezTo>
                    <a:pt x="40" y="336"/>
                    <a:pt x="40" y="336"/>
                    <a:pt x="40" y="336"/>
                  </a:cubicBezTo>
                  <a:cubicBezTo>
                    <a:pt x="37" y="332"/>
                    <a:pt x="35" y="328"/>
                    <a:pt x="32" y="323"/>
                  </a:cubicBezTo>
                  <a:lnTo>
                    <a:pt x="25" y="327"/>
                  </a:lnTo>
                  <a:close/>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close/>
                  <a:moveTo>
                    <a:pt x="8" y="284"/>
                  </a:moveTo>
                  <a:cubicBezTo>
                    <a:pt x="9" y="289"/>
                    <a:pt x="11" y="294"/>
                    <a:pt x="13" y="299"/>
                  </a:cubicBezTo>
                  <a:cubicBezTo>
                    <a:pt x="20" y="296"/>
                    <a:pt x="20" y="296"/>
                    <a:pt x="20" y="296"/>
                  </a:cubicBezTo>
                  <a:cubicBezTo>
                    <a:pt x="18" y="291"/>
                    <a:pt x="17" y="287"/>
                    <a:pt x="15" y="282"/>
                  </a:cubicBezTo>
                  <a:cubicBezTo>
                    <a:pt x="8" y="284"/>
                    <a:pt x="8" y="284"/>
                    <a:pt x="8" y="284"/>
                  </a:cubicBezTo>
                  <a:close/>
                  <a:moveTo>
                    <a:pt x="3" y="261"/>
                  </a:moveTo>
                  <a:cubicBezTo>
                    <a:pt x="4" y="266"/>
                    <a:pt x="5" y="272"/>
                    <a:pt x="6" y="276"/>
                  </a:cubicBezTo>
                  <a:cubicBezTo>
                    <a:pt x="13" y="275"/>
                    <a:pt x="13" y="275"/>
                    <a:pt x="13" y="275"/>
                  </a:cubicBezTo>
                  <a:cubicBezTo>
                    <a:pt x="12" y="270"/>
                    <a:pt x="11" y="265"/>
                    <a:pt x="10" y="260"/>
                  </a:cubicBezTo>
                  <a:lnTo>
                    <a:pt x="3" y="261"/>
                  </a:lnTo>
                  <a:close/>
                  <a:moveTo>
                    <a:pt x="0" y="238"/>
                  </a:moveTo>
                  <a:cubicBezTo>
                    <a:pt x="0" y="243"/>
                    <a:pt x="1" y="249"/>
                    <a:pt x="2" y="254"/>
                  </a:cubicBezTo>
                  <a:cubicBezTo>
                    <a:pt x="9" y="253"/>
                    <a:pt x="9" y="253"/>
                    <a:pt x="9" y="253"/>
                  </a:cubicBezTo>
                  <a:cubicBezTo>
                    <a:pt x="9" y="248"/>
                    <a:pt x="8" y="243"/>
                    <a:pt x="8" y="238"/>
                  </a:cubicBezTo>
                  <a:cubicBezTo>
                    <a:pt x="0" y="238"/>
                    <a:pt x="0" y="238"/>
                    <a:pt x="0" y="238"/>
                  </a:cubicBezTo>
                  <a:close/>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0" y="197"/>
                    <a:pt x="0" y="202"/>
                    <a:pt x="0" y="207"/>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5"/>
                    <a:pt x="10" y="185"/>
                    <a:pt x="10" y="185"/>
                  </a:cubicBezTo>
                  <a:cubicBezTo>
                    <a:pt x="10" y="180"/>
                    <a:pt x="11" y="176"/>
                    <a:pt x="12" y="171"/>
                  </a:cubicBezTo>
                  <a:cubicBezTo>
                    <a:pt x="5" y="169"/>
                    <a:pt x="5" y="169"/>
                    <a:pt x="5" y="169"/>
                  </a:cubicBezTo>
                  <a:close/>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 name="Rectangle 75"/>
            <p:cNvSpPr>
              <a:spLocks noChangeArrowheads="1"/>
            </p:cNvSpPr>
            <p:nvPr/>
          </p:nvSpPr>
          <p:spPr bwMode="auto">
            <a:xfrm>
              <a:off x="8458200" y="324008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 name="Rectangle 76"/>
            <p:cNvSpPr>
              <a:spLocks noChangeArrowheads="1"/>
            </p:cNvSpPr>
            <p:nvPr/>
          </p:nvSpPr>
          <p:spPr bwMode="auto">
            <a:xfrm>
              <a:off x="8458200" y="324008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7" name="Rectangle 77"/>
            <p:cNvSpPr>
              <a:spLocks noChangeArrowheads="1"/>
            </p:cNvSpPr>
            <p:nvPr/>
          </p:nvSpPr>
          <p:spPr bwMode="auto">
            <a:xfrm>
              <a:off x="8499475" y="3282951"/>
              <a:ext cx="442913"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8" name="Rectangle 78"/>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9" name="Rectangle 79"/>
            <p:cNvSpPr>
              <a:spLocks noChangeArrowheads="1"/>
            </p:cNvSpPr>
            <p:nvPr/>
          </p:nvSpPr>
          <p:spPr bwMode="auto">
            <a:xfrm>
              <a:off x="8499475" y="3282951"/>
              <a:ext cx="442913" cy="3381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 name="Rectangle 80"/>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1" name="Freeform 81"/>
            <p:cNvSpPr>
              <a:spLocks/>
            </p:cNvSpPr>
            <p:nvPr/>
          </p:nvSpPr>
          <p:spPr bwMode="auto">
            <a:xfrm>
              <a:off x="8689975" y="3432176"/>
              <a:ext cx="252413" cy="188913"/>
            </a:xfrm>
            <a:custGeom>
              <a:avLst/>
              <a:gdLst>
                <a:gd name="T0" fmla="*/ 67 w 67"/>
                <a:gd name="T1" fmla="*/ 12 h 50"/>
                <a:gd name="T2" fmla="*/ 58 w 67"/>
                <a:gd name="T3" fmla="*/ 4 h 50"/>
                <a:gd name="T4" fmla="*/ 46 w 67"/>
                <a:gd name="T5" fmla="*/ 4 h 50"/>
                <a:gd name="T6" fmla="*/ 0 w 67"/>
                <a:gd name="T7" fmla="*/ 50 h 50"/>
                <a:gd name="T8" fmla="*/ 67 w 67"/>
                <a:gd name="T9" fmla="*/ 50 h 50"/>
                <a:gd name="T10" fmla="*/ 67 w 67"/>
                <a:gd name="T11" fmla="*/ 12 h 50"/>
              </a:gdLst>
              <a:ahLst/>
              <a:cxnLst>
                <a:cxn ang="0">
                  <a:pos x="T0" y="T1"/>
                </a:cxn>
                <a:cxn ang="0">
                  <a:pos x="T2" y="T3"/>
                </a:cxn>
                <a:cxn ang="0">
                  <a:pos x="T4" y="T5"/>
                </a:cxn>
                <a:cxn ang="0">
                  <a:pos x="T6" y="T7"/>
                </a:cxn>
                <a:cxn ang="0">
                  <a:pos x="T8" y="T9"/>
                </a:cxn>
                <a:cxn ang="0">
                  <a:pos x="T10" y="T11"/>
                </a:cxn>
              </a:cxnLst>
              <a:rect l="0" t="0" r="r" b="b"/>
              <a:pathLst>
                <a:path w="67" h="50">
                  <a:moveTo>
                    <a:pt x="67" y="12"/>
                  </a:moveTo>
                  <a:cubicBezTo>
                    <a:pt x="58" y="4"/>
                    <a:pt x="58" y="4"/>
                    <a:pt x="58" y="4"/>
                  </a:cubicBezTo>
                  <a:cubicBezTo>
                    <a:pt x="55" y="0"/>
                    <a:pt x="49" y="0"/>
                    <a:pt x="46" y="4"/>
                  </a:cubicBezTo>
                  <a:cubicBezTo>
                    <a:pt x="0" y="50"/>
                    <a:pt x="0" y="50"/>
                    <a:pt x="0" y="50"/>
                  </a:cubicBezTo>
                  <a:cubicBezTo>
                    <a:pt x="67" y="50"/>
                    <a:pt x="67" y="50"/>
                    <a:pt x="67" y="50"/>
                  </a:cubicBezTo>
                  <a:lnTo>
                    <a:pt x="67"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 name="Freeform 82"/>
            <p:cNvSpPr>
              <a:spLocks/>
            </p:cNvSpPr>
            <p:nvPr/>
          </p:nvSpPr>
          <p:spPr bwMode="auto">
            <a:xfrm>
              <a:off x="8589963" y="3473451"/>
              <a:ext cx="303213" cy="147638"/>
            </a:xfrm>
            <a:custGeom>
              <a:avLst/>
              <a:gdLst>
                <a:gd name="T0" fmla="*/ 81 w 81"/>
                <a:gd name="T1" fmla="*/ 39 h 39"/>
                <a:gd name="T2" fmla="*/ 45 w 81"/>
                <a:gd name="T3" fmla="*/ 3 h 39"/>
                <a:gd name="T4" fmla="*/ 36 w 81"/>
                <a:gd name="T5" fmla="*/ 3 h 39"/>
                <a:gd name="T6" fmla="*/ 0 w 81"/>
                <a:gd name="T7" fmla="*/ 39 h 39"/>
                <a:gd name="T8" fmla="*/ 81 w 81"/>
                <a:gd name="T9" fmla="*/ 39 h 39"/>
              </a:gdLst>
              <a:ahLst/>
              <a:cxnLst>
                <a:cxn ang="0">
                  <a:pos x="T0" y="T1"/>
                </a:cxn>
                <a:cxn ang="0">
                  <a:pos x="T2" y="T3"/>
                </a:cxn>
                <a:cxn ang="0">
                  <a:pos x="T4" y="T5"/>
                </a:cxn>
                <a:cxn ang="0">
                  <a:pos x="T6" y="T7"/>
                </a:cxn>
                <a:cxn ang="0">
                  <a:pos x="T8" y="T9"/>
                </a:cxn>
              </a:cxnLst>
              <a:rect l="0" t="0" r="r" b="b"/>
              <a:pathLst>
                <a:path w="81" h="39">
                  <a:moveTo>
                    <a:pt x="81" y="39"/>
                  </a:moveTo>
                  <a:cubicBezTo>
                    <a:pt x="45" y="3"/>
                    <a:pt x="45" y="3"/>
                    <a:pt x="45" y="3"/>
                  </a:cubicBezTo>
                  <a:cubicBezTo>
                    <a:pt x="43" y="0"/>
                    <a:pt x="38" y="0"/>
                    <a:pt x="36" y="3"/>
                  </a:cubicBezTo>
                  <a:cubicBezTo>
                    <a:pt x="0" y="39"/>
                    <a:pt x="0" y="39"/>
                    <a:pt x="0" y="39"/>
                  </a:cubicBezTo>
                  <a:lnTo>
                    <a:pt x="81"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 name="Freeform 83"/>
            <p:cNvSpPr>
              <a:spLocks/>
            </p:cNvSpPr>
            <p:nvPr/>
          </p:nvSpPr>
          <p:spPr bwMode="auto">
            <a:xfrm>
              <a:off x="8540750" y="3327401"/>
              <a:ext cx="206375" cy="128588"/>
            </a:xfrm>
            <a:custGeom>
              <a:avLst/>
              <a:gdLst>
                <a:gd name="T0" fmla="*/ 31 w 55"/>
                <a:gd name="T1" fmla="*/ 0 h 34"/>
                <a:gd name="T2" fmla="*/ 15 w 55"/>
                <a:gd name="T3" fmla="*/ 11 h 34"/>
                <a:gd name="T4" fmla="*/ 12 w 55"/>
                <a:gd name="T5" fmla="*/ 11 h 34"/>
                <a:gd name="T6" fmla="*/ 0 w 55"/>
                <a:gd name="T7" fmla="*/ 22 h 34"/>
                <a:gd name="T8" fmla="*/ 12 w 55"/>
                <a:gd name="T9" fmla="*/ 34 h 34"/>
                <a:gd name="T10" fmla="*/ 12 w 55"/>
                <a:gd name="T11" fmla="*/ 34 h 34"/>
                <a:gd name="T12" fmla="*/ 12 w 55"/>
                <a:gd name="T13" fmla="*/ 34 h 34"/>
                <a:gd name="T14" fmla="*/ 49 w 55"/>
                <a:gd name="T15" fmla="*/ 34 h 34"/>
                <a:gd name="T16" fmla="*/ 49 w 55"/>
                <a:gd name="T17" fmla="*/ 34 h 34"/>
                <a:gd name="T18" fmla="*/ 55 w 55"/>
                <a:gd name="T19" fmla="*/ 27 h 34"/>
                <a:gd name="T20" fmla="*/ 48 w 55"/>
                <a:gd name="T21" fmla="*/ 21 h 34"/>
                <a:gd name="T22" fmla="*/ 48 w 55"/>
                <a:gd name="T23" fmla="*/ 21 h 34"/>
                <a:gd name="T24" fmla="*/ 48 w 55"/>
                <a:gd name="T25" fmla="*/ 17 h 34"/>
                <a:gd name="T26" fmla="*/ 31 w 55"/>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34">
                  <a:moveTo>
                    <a:pt x="31" y="0"/>
                  </a:moveTo>
                  <a:cubicBezTo>
                    <a:pt x="24" y="0"/>
                    <a:pt x="18" y="4"/>
                    <a:pt x="15" y="11"/>
                  </a:cubicBezTo>
                  <a:cubicBezTo>
                    <a:pt x="14" y="11"/>
                    <a:pt x="13" y="11"/>
                    <a:pt x="12" y="11"/>
                  </a:cubicBezTo>
                  <a:cubicBezTo>
                    <a:pt x="5" y="11"/>
                    <a:pt x="0" y="16"/>
                    <a:pt x="0" y="22"/>
                  </a:cubicBezTo>
                  <a:cubicBezTo>
                    <a:pt x="0" y="28"/>
                    <a:pt x="5" y="34"/>
                    <a:pt x="12" y="34"/>
                  </a:cubicBezTo>
                  <a:cubicBezTo>
                    <a:pt x="12" y="34"/>
                    <a:pt x="12" y="34"/>
                    <a:pt x="12" y="34"/>
                  </a:cubicBezTo>
                  <a:cubicBezTo>
                    <a:pt x="12" y="34"/>
                    <a:pt x="12" y="34"/>
                    <a:pt x="12" y="34"/>
                  </a:cubicBezTo>
                  <a:cubicBezTo>
                    <a:pt x="49" y="34"/>
                    <a:pt x="49" y="34"/>
                    <a:pt x="49" y="34"/>
                  </a:cubicBezTo>
                  <a:cubicBezTo>
                    <a:pt x="49" y="34"/>
                    <a:pt x="49" y="34"/>
                    <a:pt x="49" y="34"/>
                  </a:cubicBezTo>
                  <a:cubicBezTo>
                    <a:pt x="52" y="33"/>
                    <a:pt x="55" y="31"/>
                    <a:pt x="55" y="27"/>
                  </a:cubicBezTo>
                  <a:cubicBezTo>
                    <a:pt x="55" y="24"/>
                    <a:pt x="52" y="21"/>
                    <a:pt x="48" y="21"/>
                  </a:cubicBezTo>
                  <a:cubicBezTo>
                    <a:pt x="48" y="21"/>
                    <a:pt x="48" y="21"/>
                    <a:pt x="48" y="21"/>
                  </a:cubicBezTo>
                  <a:cubicBezTo>
                    <a:pt x="48" y="20"/>
                    <a:pt x="48" y="18"/>
                    <a:pt x="48" y="17"/>
                  </a:cubicBezTo>
                  <a:cubicBezTo>
                    <a:pt x="48" y="7"/>
                    <a:pt x="41"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Rectangle 84"/>
            <p:cNvSpPr>
              <a:spLocks noChangeArrowheads="1"/>
            </p:cNvSpPr>
            <p:nvPr/>
          </p:nvSpPr>
          <p:spPr bwMode="auto">
            <a:xfrm>
              <a:off x="9159875" y="3719513"/>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5" name="Rectangle 85"/>
            <p:cNvSpPr>
              <a:spLocks noChangeArrowheads="1"/>
            </p:cNvSpPr>
            <p:nvPr/>
          </p:nvSpPr>
          <p:spPr bwMode="auto">
            <a:xfrm>
              <a:off x="9159875" y="3719513"/>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6" name="Rectangle 86"/>
            <p:cNvSpPr>
              <a:spLocks noChangeArrowheads="1"/>
            </p:cNvSpPr>
            <p:nvPr/>
          </p:nvSpPr>
          <p:spPr bwMode="auto">
            <a:xfrm>
              <a:off x="9193213" y="374967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7" name="Rectangle 87"/>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8" name="Rectangle 88"/>
            <p:cNvSpPr>
              <a:spLocks noChangeArrowheads="1"/>
            </p:cNvSpPr>
            <p:nvPr/>
          </p:nvSpPr>
          <p:spPr bwMode="auto">
            <a:xfrm>
              <a:off x="9193213" y="374967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 name="Rectangle 89"/>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0" name="Freeform 90"/>
            <p:cNvSpPr>
              <a:spLocks/>
            </p:cNvSpPr>
            <p:nvPr/>
          </p:nvSpPr>
          <p:spPr bwMode="auto">
            <a:xfrm>
              <a:off x="9340850" y="3865563"/>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1" name="Freeform 91"/>
            <p:cNvSpPr>
              <a:spLocks/>
            </p:cNvSpPr>
            <p:nvPr/>
          </p:nvSpPr>
          <p:spPr bwMode="auto">
            <a:xfrm>
              <a:off x="9261475" y="389572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2" name="Freeform 92"/>
            <p:cNvSpPr>
              <a:spLocks/>
            </p:cNvSpPr>
            <p:nvPr/>
          </p:nvSpPr>
          <p:spPr bwMode="auto">
            <a:xfrm>
              <a:off x="9228138" y="3783013"/>
              <a:ext cx="157163" cy="98425"/>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4"/>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3" name="Rectangle 93"/>
            <p:cNvSpPr>
              <a:spLocks noChangeArrowheads="1"/>
            </p:cNvSpPr>
            <p:nvPr/>
          </p:nvSpPr>
          <p:spPr bwMode="auto">
            <a:xfrm>
              <a:off x="9159875" y="3289301"/>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 name="Rectangle 94"/>
            <p:cNvSpPr>
              <a:spLocks noChangeArrowheads="1"/>
            </p:cNvSpPr>
            <p:nvPr/>
          </p:nvSpPr>
          <p:spPr bwMode="auto">
            <a:xfrm>
              <a:off x="9159875" y="3289301"/>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5" name="Rectangle 95"/>
            <p:cNvSpPr>
              <a:spLocks noChangeArrowheads="1"/>
            </p:cNvSpPr>
            <p:nvPr/>
          </p:nvSpPr>
          <p:spPr bwMode="auto">
            <a:xfrm>
              <a:off x="9193213" y="332422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 name="Rectangle 96"/>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7" name="Rectangle 97"/>
            <p:cNvSpPr>
              <a:spLocks noChangeArrowheads="1"/>
            </p:cNvSpPr>
            <p:nvPr/>
          </p:nvSpPr>
          <p:spPr bwMode="auto">
            <a:xfrm>
              <a:off x="9193213" y="332422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8" name="Rectangle 98"/>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9" name="Freeform 99"/>
            <p:cNvSpPr>
              <a:spLocks/>
            </p:cNvSpPr>
            <p:nvPr/>
          </p:nvSpPr>
          <p:spPr bwMode="auto">
            <a:xfrm>
              <a:off x="9340850" y="3440113"/>
              <a:ext cx="195263" cy="142875"/>
            </a:xfrm>
            <a:custGeom>
              <a:avLst/>
              <a:gdLst>
                <a:gd name="T0" fmla="*/ 52 w 52"/>
                <a:gd name="T1" fmla="*/ 9 h 38"/>
                <a:gd name="T2" fmla="*/ 45 w 52"/>
                <a:gd name="T3" fmla="*/ 2 h 38"/>
                <a:gd name="T4" fmla="*/ 36 w 52"/>
                <a:gd name="T5" fmla="*/ 2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2"/>
                    <a:pt x="45" y="2"/>
                    <a:pt x="45" y="2"/>
                  </a:cubicBezTo>
                  <a:cubicBezTo>
                    <a:pt x="43" y="0"/>
                    <a:pt x="38" y="0"/>
                    <a:pt x="36" y="2"/>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 name="Freeform 100"/>
            <p:cNvSpPr>
              <a:spLocks/>
            </p:cNvSpPr>
            <p:nvPr/>
          </p:nvSpPr>
          <p:spPr bwMode="auto">
            <a:xfrm>
              <a:off x="9261475" y="347027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1" name="Freeform 101"/>
            <p:cNvSpPr>
              <a:spLocks/>
            </p:cNvSpPr>
            <p:nvPr/>
          </p:nvSpPr>
          <p:spPr bwMode="auto">
            <a:xfrm>
              <a:off x="9228138" y="3354388"/>
              <a:ext cx="157163" cy="101600"/>
            </a:xfrm>
            <a:custGeom>
              <a:avLst/>
              <a:gdLst>
                <a:gd name="T0" fmla="*/ 24 w 42"/>
                <a:gd name="T1" fmla="*/ 0 h 27"/>
                <a:gd name="T2" fmla="*/ 11 w 42"/>
                <a:gd name="T3" fmla="*/ 9 h 27"/>
                <a:gd name="T4" fmla="*/ 9 w 42"/>
                <a:gd name="T5" fmla="*/ 9 h 27"/>
                <a:gd name="T6" fmla="*/ 0 w 42"/>
                <a:gd name="T7" fmla="*/ 18 h 27"/>
                <a:gd name="T8" fmla="*/ 9 w 42"/>
                <a:gd name="T9" fmla="*/ 27 h 27"/>
                <a:gd name="T10" fmla="*/ 9 w 42"/>
                <a:gd name="T11" fmla="*/ 27 h 27"/>
                <a:gd name="T12" fmla="*/ 9 w 42"/>
                <a:gd name="T13" fmla="*/ 27 h 27"/>
                <a:gd name="T14" fmla="*/ 37 w 42"/>
                <a:gd name="T15" fmla="*/ 27 h 27"/>
                <a:gd name="T16" fmla="*/ 37 w 42"/>
                <a:gd name="T17" fmla="*/ 27 h 27"/>
                <a:gd name="T18" fmla="*/ 42 w 42"/>
                <a:gd name="T19" fmla="*/ 22 h 27"/>
                <a:gd name="T20" fmla="*/ 37 w 42"/>
                <a:gd name="T21" fmla="*/ 17 h 27"/>
                <a:gd name="T22" fmla="*/ 36 w 42"/>
                <a:gd name="T23" fmla="*/ 17 h 27"/>
                <a:gd name="T24" fmla="*/ 37 w 42"/>
                <a:gd name="T25" fmla="*/ 13 h 27"/>
                <a:gd name="T26" fmla="*/ 24 w 42"/>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7">
                  <a:moveTo>
                    <a:pt x="24" y="0"/>
                  </a:moveTo>
                  <a:cubicBezTo>
                    <a:pt x="18" y="0"/>
                    <a:pt x="13" y="4"/>
                    <a:pt x="11" y="9"/>
                  </a:cubicBezTo>
                  <a:cubicBezTo>
                    <a:pt x="11" y="9"/>
                    <a:pt x="10" y="9"/>
                    <a:pt x="9" y="9"/>
                  </a:cubicBezTo>
                  <a:cubicBezTo>
                    <a:pt x="4" y="9"/>
                    <a:pt x="0" y="13"/>
                    <a:pt x="0" y="18"/>
                  </a:cubicBezTo>
                  <a:cubicBezTo>
                    <a:pt x="0" y="23"/>
                    <a:pt x="4" y="27"/>
                    <a:pt x="9" y="27"/>
                  </a:cubicBezTo>
                  <a:cubicBezTo>
                    <a:pt x="9" y="27"/>
                    <a:pt x="9" y="27"/>
                    <a:pt x="9" y="27"/>
                  </a:cubicBezTo>
                  <a:cubicBezTo>
                    <a:pt x="9" y="27"/>
                    <a:pt x="9" y="27"/>
                    <a:pt x="9" y="27"/>
                  </a:cubicBezTo>
                  <a:cubicBezTo>
                    <a:pt x="37" y="27"/>
                    <a:pt x="37" y="27"/>
                    <a:pt x="37" y="27"/>
                  </a:cubicBezTo>
                  <a:cubicBezTo>
                    <a:pt x="37" y="27"/>
                    <a:pt x="37" y="27"/>
                    <a:pt x="37" y="27"/>
                  </a:cubicBezTo>
                  <a:cubicBezTo>
                    <a:pt x="40" y="26"/>
                    <a:pt x="42" y="24"/>
                    <a:pt x="42" y="22"/>
                  </a:cubicBezTo>
                  <a:cubicBezTo>
                    <a:pt x="42" y="19"/>
                    <a:pt x="39" y="17"/>
                    <a:pt x="37" y="17"/>
                  </a:cubicBezTo>
                  <a:cubicBezTo>
                    <a:pt x="36" y="17"/>
                    <a:pt x="36" y="17"/>
                    <a:pt x="36" y="17"/>
                  </a:cubicBezTo>
                  <a:cubicBezTo>
                    <a:pt x="36" y="16"/>
                    <a:pt x="37" y="15"/>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2" name="Rectangle 102"/>
            <p:cNvSpPr>
              <a:spLocks noChangeArrowheads="1"/>
            </p:cNvSpPr>
            <p:nvPr/>
          </p:nvSpPr>
          <p:spPr bwMode="auto">
            <a:xfrm>
              <a:off x="9159875" y="2860676"/>
              <a:ext cx="404813" cy="32702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3" name="Rectangle 103"/>
            <p:cNvSpPr>
              <a:spLocks noChangeArrowheads="1"/>
            </p:cNvSpPr>
            <p:nvPr/>
          </p:nvSpPr>
          <p:spPr bwMode="auto">
            <a:xfrm>
              <a:off x="9159875" y="2860676"/>
              <a:ext cx="404813"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4" name="Rectangle 104"/>
            <p:cNvSpPr>
              <a:spLocks noChangeArrowheads="1"/>
            </p:cNvSpPr>
            <p:nvPr/>
          </p:nvSpPr>
          <p:spPr bwMode="auto">
            <a:xfrm>
              <a:off x="9193213" y="2894013"/>
              <a:ext cx="342900" cy="260350"/>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5" name="Rectangle 105"/>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6" name="Rectangle 106"/>
            <p:cNvSpPr>
              <a:spLocks noChangeArrowheads="1"/>
            </p:cNvSpPr>
            <p:nvPr/>
          </p:nvSpPr>
          <p:spPr bwMode="auto">
            <a:xfrm>
              <a:off x="9193213" y="2894013"/>
              <a:ext cx="342900" cy="260350"/>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7" name="Rectangle 107"/>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8" name="Freeform 108"/>
            <p:cNvSpPr>
              <a:spLocks/>
            </p:cNvSpPr>
            <p:nvPr/>
          </p:nvSpPr>
          <p:spPr bwMode="auto">
            <a:xfrm>
              <a:off x="9340850" y="3011488"/>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9" name="Freeform 109"/>
            <p:cNvSpPr>
              <a:spLocks/>
            </p:cNvSpPr>
            <p:nvPr/>
          </p:nvSpPr>
          <p:spPr bwMode="auto">
            <a:xfrm>
              <a:off x="9261475" y="3041651"/>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0" name="Freeform 110"/>
            <p:cNvSpPr>
              <a:spLocks/>
            </p:cNvSpPr>
            <p:nvPr/>
          </p:nvSpPr>
          <p:spPr bwMode="auto">
            <a:xfrm>
              <a:off x="9228138" y="2928938"/>
              <a:ext cx="157163" cy="96838"/>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3"/>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113" name="Title 2"/>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sync background processing</a:t>
            </a:r>
            <a:endParaRPr kumimoji="0" lang="en-US" sz="4705" b="0" i="0" u="none" strike="noStrike" kern="1200" cap="none" spc="-100"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endParaRPr>
          </a:p>
        </p:txBody>
      </p:sp>
      <p:sp>
        <p:nvSpPr>
          <p:cNvPr id="114" name="Text Placeholder 3"/>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dirty="0">
                <a:gradFill>
                  <a:gsLst>
                    <a:gs pos="1250">
                      <a:srgbClr val="0078D7"/>
                    </a:gs>
                    <a:gs pos="99000">
                      <a:srgbClr val="0078D7"/>
                    </a:gs>
                  </a:gsLst>
                  <a:lin ang="5400000" scaled="0"/>
                </a:gradFill>
                <a:latin typeface="Segoe UI Light"/>
              </a:rPr>
              <a:t>Example: </a:t>
            </a:r>
            <a:r>
              <a:rPr lang="en-US" dirty="0" err="1">
                <a:gradFill>
                  <a:gsLst>
                    <a:gs pos="1250">
                      <a:srgbClr val="0078D7"/>
                    </a:gs>
                    <a:gs pos="99000">
                      <a:srgbClr val="0078D7"/>
                    </a:gs>
                  </a:gsLst>
                  <a:lin ang="5400000" scaled="0"/>
                </a:gradFill>
                <a:latin typeface="Segoe UI Light"/>
              </a:rPr>
              <a:t>Serverless</a:t>
            </a:r>
            <a:r>
              <a:rPr lang="en-US" dirty="0">
                <a:gradFill>
                  <a:gsLst>
                    <a:gs pos="1250">
                      <a:srgbClr val="0078D7"/>
                    </a:gs>
                    <a:gs pos="99000">
                      <a:srgbClr val="0078D7"/>
                    </a:gs>
                  </a:gsLst>
                  <a:lin ang="5400000" scaled="0"/>
                </a:gradFill>
                <a:latin typeface="Segoe UI Light"/>
              </a:rPr>
              <a:t> Mobile back ends</a:t>
            </a:r>
            <a:endParaRPr kumimoji="0" lang="en-US" sz="3921" b="0" i="0" u="none" strike="noStrike" kern="1200" cap="none" spc="0" normalizeH="0" baseline="0" noProof="0" dirty="0">
              <a:ln>
                <a:noFill/>
              </a:ln>
              <a:gradFill>
                <a:gsLst>
                  <a:gs pos="1250">
                    <a:srgbClr val="0078D7"/>
                  </a:gs>
                  <a:gs pos="99000">
                    <a:srgbClr val="0078D7"/>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3511717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758950" y="2332038"/>
            <a:ext cx="8674100" cy="219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128" name="Group 127"/>
          <p:cNvGrpSpPr/>
          <p:nvPr/>
        </p:nvGrpSpPr>
        <p:grpSpPr>
          <a:xfrm>
            <a:off x="2317750" y="4048126"/>
            <a:ext cx="1908176" cy="519112"/>
            <a:chOff x="2317750" y="4048126"/>
            <a:chExt cx="1908176" cy="519112"/>
          </a:xfrm>
        </p:grpSpPr>
        <p:sp>
          <p:nvSpPr>
            <p:cNvPr id="5" name="Rectangle 5"/>
            <p:cNvSpPr>
              <a:spLocks noChangeArrowheads="1"/>
            </p:cNvSpPr>
            <p:nvPr/>
          </p:nvSpPr>
          <p:spPr bwMode="auto">
            <a:xfrm>
              <a:off x="2317750" y="4048126"/>
              <a:ext cx="706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rPr>
                <a:t>Millions</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6" name="Rectangle 6"/>
            <p:cNvSpPr>
              <a:spLocks noChangeArrowheads="1"/>
            </p:cNvSpPr>
            <p:nvPr/>
          </p:nvSpPr>
          <p:spPr bwMode="auto">
            <a:xfrm>
              <a:off x="2930525" y="4048126"/>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rPr>
                <a:t>o</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7" name="Rectangle 7"/>
            <p:cNvSpPr>
              <a:spLocks noChangeArrowheads="1"/>
            </p:cNvSpPr>
            <p:nvPr/>
          </p:nvSpPr>
          <p:spPr bwMode="auto">
            <a:xfrm>
              <a:off x="3024188" y="4048126"/>
              <a:ext cx="1201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dirty="0">
                  <a:ln>
                    <a:noFill/>
                  </a:ln>
                  <a:solidFill>
                    <a:srgbClr val="505050"/>
                  </a:solidFill>
                  <a:effectLst/>
                  <a:uLnTx/>
                  <a:uFillTx/>
                  <a:latin typeface="Segoe UI Light" panose="020B0502040204020203" pitchFamily="34" charset="0"/>
                </a:rPr>
                <a:t>f devices feed</a:t>
              </a:r>
              <a:endParaRPr kumimoji="0" lang="en-US" altLang="en-US" sz="1800" b="0" i="0" u="none" strike="noStrike" kern="0" cap="none" spc="0" normalizeH="0" baseline="0" noProof="0" dirty="0">
                <a:ln>
                  <a:noFill/>
                </a:ln>
                <a:solidFill>
                  <a:schemeClr val="tx1"/>
                </a:solidFill>
                <a:effectLst/>
                <a:uLnTx/>
                <a:uFillTx/>
                <a:latin typeface="Arial" panose="020B0604020202020204" pitchFamily="34" charset="0"/>
              </a:endParaRPr>
            </a:p>
          </p:txBody>
        </p:sp>
        <p:sp>
          <p:nvSpPr>
            <p:cNvPr id="8" name="Rectangle 8"/>
            <p:cNvSpPr>
              <a:spLocks noChangeArrowheads="1"/>
            </p:cNvSpPr>
            <p:nvPr/>
          </p:nvSpPr>
          <p:spPr bwMode="auto">
            <a:xfrm>
              <a:off x="2405063" y="4262438"/>
              <a:ext cx="6159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rPr>
                <a:t>into St</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9" name="Rectangle 9"/>
            <p:cNvSpPr>
              <a:spLocks noChangeArrowheads="1"/>
            </p:cNvSpPr>
            <p:nvPr/>
          </p:nvSpPr>
          <p:spPr bwMode="auto">
            <a:xfrm>
              <a:off x="2881313" y="42624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rPr>
                <a:t>r</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10" name="Rectangle 10"/>
            <p:cNvSpPr>
              <a:spLocks noChangeArrowheads="1"/>
            </p:cNvSpPr>
            <p:nvPr/>
          </p:nvSpPr>
          <p:spPr bwMode="auto">
            <a:xfrm>
              <a:off x="2938463" y="4262438"/>
              <a:ext cx="1206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rPr>
                <a:t>eam Analytics</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grpSp>
      <p:grpSp>
        <p:nvGrpSpPr>
          <p:cNvPr id="2" name="Group 1"/>
          <p:cNvGrpSpPr/>
          <p:nvPr/>
        </p:nvGrpSpPr>
        <p:grpSpPr>
          <a:xfrm>
            <a:off x="1755775" y="2570163"/>
            <a:ext cx="1320800" cy="1149351"/>
            <a:chOff x="1755775" y="2570163"/>
            <a:chExt cx="1320800" cy="1149351"/>
          </a:xfrm>
        </p:grpSpPr>
        <p:sp>
          <p:nvSpPr>
            <p:cNvPr id="37" name="Freeform 37"/>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 name="Freeform 38"/>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 name="Freeform 39"/>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 name="Freeform 40"/>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Freeform 41"/>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Freeform 42"/>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 name="Freeform 43"/>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 name="Freeform 44"/>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Rectangle 45"/>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Rectangle 46"/>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Rectangle 47"/>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Rectangle 48"/>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Rectangle 49"/>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Rectangle 50"/>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Freeform 51"/>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Freeform 52"/>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Freeform 53"/>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Freeform 54"/>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Freeform 55"/>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Freeform 56"/>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 name="Freeform 57"/>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8" name="Rectangle 58"/>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9" name="Rectangle 59"/>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0" name="Freeform 60"/>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1" name="Freeform 61"/>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2" name="Freeform 62"/>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3" name="Freeform 63"/>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4" name="Freeform 64"/>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5" name="Freeform 65"/>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rgbClr val="CCE3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6" name="Freeform 66"/>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rgbClr val="99C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7" name="Freeform 67"/>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rgbClr val="B2D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8" name="Freeform 68"/>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rgbClr val="DFE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 name="Freeform 69"/>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 name="Freeform 70"/>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 name="Freeform 71"/>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 name="Freeform 72"/>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 name="Freeform 73"/>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 name="Freeform 74"/>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 name="Freeform 75"/>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 name="Rectangle 76"/>
            <p:cNvSpPr>
              <a:spLocks noChangeArrowheads="1"/>
            </p:cNvSpPr>
            <p:nvPr/>
          </p:nvSpPr>
          <p:spPr bwMode="auto">
            <a:xfrm>
              <a:off x="1778000" y="2617788"/>
              <a:ext cx="2857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7" name="Rectangle 77"/>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8" name="Oval 78"/>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9" name="Oval 79"/>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 name="Freeform 80"/>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1" name="Freeform 81"/>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 name="Freeform 82"/>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 name="Freeform 83"/>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Freeform 84"/>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5" name="Freeform 85"/>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6" name="Freeform 86"/>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7" name="Freeform 87"/>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8" name="Freeform 88"/>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 name="Freeform 89"/>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25" name="Group 124"/>
          <p:cNvGrpSpPr/>
          <p:nvPr/>
        </p:nvGrpSpPr>
        <p:grpSpPr>
          <a:xfrm>
            <a:off x="3182938" y="2781301"/>
            <a:ext cx="1455737" cy="723900"/>
            <a:chOff x="3182938" y="2781301"/>
            <a:chExt cx="1455737" cy="723900"/>
          </a:xfrm>
        </p:grpSpPr>
        <p:sp>
          <p:nvSpPr>
            <p:cNvPr id="18" name="Freeform 18"/>
            <p:cNvSpPr>
              <a:spLocks noEditPoints="1"/>
            </p:cNvSpPr>
            <p:nvPr/>
          </p:nvSpPr>
          <p:spPr bwMode="auto">
            <a:xfrm>
              <a:off x="3182938" y="3143251"/>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Freeform 19"/>
            <p:cNvSpPr>
              <a:spLocks/>
            </p:cNvSpPr>
            <p:nvPr/>
          </p:nvSpPr>
          <p:spPr bwMode="auto">
            <a:xfrm>
              <a:off x="3455988"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0" name="Freeform 90"/>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1" name="Freeform 91"/>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2" name="Freeform 92"/>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3" name="Freeform 93"/>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 name="Freeform 94"/>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5" name="Freeform 95"/>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 name="Freeform 96"/>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7" name="Freeform 97"/>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27" name="Group 126"/>
          <p:cNvGrpSpPr/>
          <p:nvPr/>
        </p:nvGrpSpPr>
        <p:grpSpPr>
          <a:xfrm>
            <a:off x="8288338" y="2328863"/>
            <a:ext cx="2147887" cy="2238375"/>
            <a:chOff x="8288338" y="2328863"/>
            <a:chExt cx="2147887" cy="2238375"/>
          </a:xfrm>
        </p:grpSpPr>
        <p:sp>
          <p:nvSpPr>
            <p:cNvPr id="11" name="Freeform 11"/>
            <p:cNvSpPr>
              <a:spLocks noEditPoints="1"/>
            </p:cNvSpPr>
            <p:nvPr/>
          </p:nvSpPr>
          <p:spPr bwMode="auto">
            <a:xfrm>
              <a:off x="8785225" y="23288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lnTo>
                    <a:pt x="392" y="429"/>
                  </a:ln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lnTo>
                    <a:pt x="432" y="380"/>
                  </a:ln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lnTo>
                    <a:pt x="20" y="31"/>
                  </a:ln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1"/>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Freeform 14"/>
            <p:cNvSpPr>
              <a:spLocks noEditPoints="1"/>
            </p:cNvSpPr>
            <p:nvPr/>
          </p:nvSpPr>
          <p:spPr bwMode="auto">
            <a:xfrm>
              <a:off x="8288338"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50 w 187"/>
                <a:gd name="T23" fmla="*/ 19 h 19"/>
                <a:gd name="T24" fmla="*/ 150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50" y="19"/>
                  </a:lnTo>
                  <a:lnTo>
                    <a:pt x="150"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Freeform 15"/>
            <p:cNvSpPr>
              <a:spLocks/>
            </p:cNvSpPr>
            <p:nvPr/>
          </p:nvSpPr>
          <p:spPr bwMode="auto">
            <a:xfrm>
              <a:off x="8562975"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Rectangle 26"/>
            <p:cNvSpPr>
              <a:spLocks noChangeArrowheads="1"/>
            </p:cNvSpPr>
            <p:nvPr/>
          </p:nvSpPr>
          <p:spPr bwMode="auto">
            <a:xfrm>
              <a:off x="9134475" y="4048126"/>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Sto</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27" name="Rectangle 27"/>
            <p:cNvSpPr>
              <a:spLocks noChangeArrowheads="1"/>
            </p:cNvSpPr>
            <p:nvPr/>
          </p:nvSpPr>
          <p:spPr bwMode="auto">
            <a:xfrm>
              <a:off x="937736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r</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28" name="Rectangle 28"/>
            <p:cNvSpPr>
              <a:spLocks noChangeArrowheads="1"/>
            </p:cNvSpPr>
            <p:nvPr/>
          </p:nvSpPr>
          <p:spPr bwMode="auto">
            <a:xfrm>
              <a:off x="9434513" y="4048126"/>
              <a:ext cx="800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e data in</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29" name="Rectangle 29"/>
            <p:cNvSpPr>
              <a:spLocks noChangeArrowheads="1"/>
            </p:cNvSpPr>
            <p:nvPr/>
          </p:nvSpPr>
          <p:spPr bwMode="auto">
            <a:xfrm>
              <a:off x="9186863" y="4262438"/>
              <a:ext cx="1011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SQL Online</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98" name="Freeform 98"/>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9" name="Freeform 99"/>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 name="Freeform 100"/>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1" name="Oval 101"/>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2" name="Oval 102"/>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3" name="Freeform 103"/>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4" name="Freeform 104"/>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5" name="Freeform 105"/>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6" name="Freeform 106"/>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26" name="Group 125"/>
          <p:cNvGrpSpPr/>
          <p:nvPr/>
        </p:nvGrpSpPr>
        <p:grpSpPr>
          <a:xfrm>
            <a:off x="4803775" y="2328863"/>
            <a:ext cx="3395663" cy="2024063"/>
            <a:chOff x="4803775" y="2328863"/>
            <a:chExt cx="3395663" cy="2024063"/>
          </a:xfrm>
        </p:grpSpPr>
        <p:sp>
          <p:nvSpPr>
            <p:cNvPr id="12" name="Freeform 12"/>
            <p:cNvSpPr>
              <a:spLocks noEditPoints="1"/>
            </p:cNvSpPr>
            <p:nvPr/>
          </p:nvSpPr>
          <p:spPr bwMode="auto">
            <a:xfrm>
              <a:off x="4803775"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 name="Freeform 13"/>
            <p:cNvSpPr>
              <a:spLocks/>
            </p:cNvSpPr>
            <p:nvPr/>
          </p:nvSpPr>
          <p:spPr bwMode="auto">
            <a:xfrm>
              <a:off x="5078413"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Freeform 16"/>
            <p:cNvSpPr>
              <a:spLocks noEditPoints="1"/>
            </p:cNvSpPr>
            <p:nvPr/>
          </p:nvSpPr>
          <p:spPr bwMode="auto">
            <a:xfrm>
              <a:off x="6535738" y="3143251"/>
              <a:ext cx="296863" cy="30163"/>
            </a:xfrm>
            <a:custGeom>
              <a:avLst/>
              <a:gdLst>
                <a:gd name="T0" fmla="*/ 165 w 187"/>
                <a:gd name="T1" fmla="*/ 19 h 19"/>
                <a:gd name="T2" fmla="*/ 187 w 187"/>
                <a:gd name="T3" fmla="*/ 19 h 19"/>
                <a:gd name="T4" fmla="*/ 187 w 187"/>
                <a:gd name="T5" fmla="*/ 0 h 19"/>
                <a:gd name="T6" fmla="*/ 165 w 187"/>
                <a:gd name="T7" fmla="*/ 0 h 19"/>
                <a:gd name="T8" fmla="*/ 165 w 187"/>
                <a:gd name="T9" fmla="*/ 19 h 19"/>
                <a:gd name="T10" fmla="*/ 165 w 187"/>
                <a:gd name="T11" fmla="*/ 19 h 19"/>
                <a:gd name="T12" fmla="*/ 165 w 187"/>
                <a:gd name="T13" fmla="*/ 19 h 19"/>
                <a:gd name="T14" fmla="*/ 165 w 187"/>
                <a:gd name="T15" fmla="*/ 0 h 19"/>
                <a:gd name="T16" fmla="*/ 165 w 187"/>
                <a:gd name="T17" fmla="*/ 0 h 19"/>
                <a:gd name="T18" fmla="*/ 165 w 187"/>
                <a:gd name="T19" fmla="*/ 19 h 19"/>
                <a:gd name="T20" fmla="*/ 111 w 187"/>
                <a:gd name="T21" fmla="*/ 19 h 19"/>
                <a:gd name="T22" fmla="*/ 146 w 187"/>
                <a:gd name="T23" fmla="*/ 19 h 19"/>
                <a:gd name="T24" fmla="*/ 146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4 w 187"/>
                <a:gd name="T41" fmla="*/ 19 h 19"/>
                <a:gd name="T42" fmla="*/ 92 w 187"/>
                <a:gd name="T43" fmla="*/ 19 h 19"/>
                <a:gd name="T44" fmla="*/ 92 w 187"/>
                <a:gd name="T45" fmla="*/ 0 h 19"/>
                <a:gd name="T46" fmla="*/ 54 w 187"/>
                <a:gd name="T47" fmla="*/ 0 h 19"/>
                <a:gd name="T48" fmla="*/ 54 w 187"/>
                <a:gd name="T49" fmla="*/ 19 h 19"/>
                <a:gd name="T50" fmla="*/ 54 w 187"/>
                <a:gd name="T51" fmla="*/ 19 h 19"/>
                <a:gd name="T52" fmla="*/ 54 w 187"/>
                <a:gd name="T53" fmla="*/ 19 h 19"/>
                <a:gd name="T54" fmla="*/ 54 w 187"/>
                <a:gd name="T55" fmla="*/ 0 h 19"/>
                <a:gd name="T56" fmla="*/ 54 w 187"/>
                <a:gd name="T57" fmla="*/ 0 h 19"/>
                <a:gd name="T58" fmla="*/ 54 w 187"/>
                <a:gd name="T59" fmla="*/ 19 h 19"/>
                <a:gd name="T60" fmla="*/ 0 w 187"/>
                <a:gd name="T61" fmla="*/ 19 h 19"/>
                <a:gd name="T62" fmla="*/ 35 w 187"/>
                <a:gd name="T63" fmla="*/ 19 h 19"/>
                <a:gd name="T64" fmla="*/ 35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5" y="19"/>
                  </a:moveTo>
                  <a:lnTo>
                    <a:pt x="187" y="19"/>
                  </a:lnTo>
                  <a:lnTo>
                    <a:pt x="187" y="0"/>
                  </a:lnTo>
                  <a:lnTo>
                    <a:pt x="165" y="0"/>
                  </a:lnTo>
                  <a:lnTo>
                    <a:pt x="165" y="19"/>
                  </a:lnTo>
                  <a:close/>
                  <a:moveTo>
                    <a:pt x="165" y="19"/>
                  </a:moveTo>
                  <a:lnTo>
                    <a:pt x="165" y="19"/>
                  </a:lnTo>
                  <a:lnTo>
                    <a:pt x="165" y="0"/>
                  </a:lnTo>
                  <a:lnTo>
                    <a:pt x="165" y="0"/>
                  </a:lnTo>
                  <a:lnTo>
                    <a:pt x="165" y="19"/>
                  </a:lnTo>
                  <a:close/>
                  <a:moveTo>
                    <a:pt x="111" y="19"/>
                  </a:moveTo>
                  <a:lnTo>
                    <a:pt x="146" y="19"/>
                  </a:lnTo>
                  <a:lnTo>
                    <a:pt x="146" y="0"/>
                  </a:lnTo>
                  <a:lnTo>
                    <a:pt x="111" y="0"/>
                  </a:lnTo>
                  <a:lnTo>
                    <a:pt x="111" y="19"/>
                  </a:lnTo>
                  <a:close/>
                  <a:moveTo>
                    <a:pt x="111" y="19"/>
                  </a:moveTo>
                  <a:lnTo>
                    <a:pt x="111" y="19"/>
                  </a:lnTo>
                  <a:lnTo>
                    <a:pt x="111" y="0"/>
                  </a:lnTo>
                  <a:lnTo>
                    <a:pt x="111" y="0"/>
                  </a:lnTo>
                  <a:lnTo>
                    <a:pt x="111" y="19"/>
                  </a:lnTo>
                  <a:close/>
                  <a:moveTo>
                    <a:pt x="54" y="19"/>
                  </a:moveTo>
                  <a:lnTo>
                    <a:pt x="92" y="19"/>
                  </a:lnTo>
                  <a:lnTo>
                    <a:pt x="92" y="0"/>
                  </a:lnTo>
                  <a:lnTo>
                    <a:pt x="54" y="0"/>
                  </a:lnTo>
                  <a:lnTo>
                    <a:pt x="54" y="19"/>
                  </a:lnTo>
                  <a:close/>
                  <a:moveTo>
                    <a:pt x="54" y="19"/>
                  </a:moveTo>
                  <a:lnTo>
                    <a:pt x="54" y="19"/>
                  </a:lnTo>
                  <a:lnTo>
                    <a:pt x="54" y="0"/>
                  </a:lnTo>
                  <a:lnTo>
                    <a:pt x="54" y="0"/>
                  </a:lnTo>
                  <a:lnTo>
                    <a:pt x="54" y="19"/>
                  </a:lnTo>
                  <a:close/>
                  <a:moveTo>
                    <a:pt x="0" y="19"/>
                  </a:moveTo>
                  <a:lnTo>
                    <a:pt x="35" y="19"/>
                  </a:lnTo>
                  <a:lnTo>
                    <a:pt x="35"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Freeform 17"/>
            <p:cNvSpPr>
              <a:spLocks/>
            </p:cNvSpPr>
            <p:nvPr/>
          </p:nvSpPr>
          <p:spPr bwMode="auto">
            <a:xfrm>
              <a:off x="6810375" y="30829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Freeform 20"/>
            <p:cNvSpPr>
              <a:spLocks/>
            </p:cNvSpPr>
            <p:nvPr/>
          </p:nvSpPr>
          <p:spPr bwMode="auto">
            <a:xfrm>
              <a:off x="5799138" y="24558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Freeform 21"/>
            <p:cNvSpPr>
              <a:spLocks/>
            </p:cNvSpPr>
            <p:nvPr/>
          </p:nvSpPr>
          <p:spPr bwMode="auto">
            <a:xfrm>
              <a:off x="5330825" y="2455863"/>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Freeform 22"/>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23"/>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Freeform 24"/>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Freeform 25"/>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 name="Rectangle 30"/>
            <p:cNvSpPr>
              <a:spLocks noChangeArrowheads="1"/>
            </p:cNvSpPr>
            <p:nvPr/>
          </p:nvSpPr>
          <p:spPr bwMode="auto">
            <a:xfrm>
              <a:off x="5708650" y="4048126"/>
              <a:ext cx="200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T</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31" name="Rectangle 31"/>
            <p:cNvSpPr>
              <a:spLocks noChangeArrowheads="1"/>
            </p:cNvSpPr>
            <p:nvPr/>
          </p:nvSpPr>
          <p:spPr bwMode="auto">
            <a:xfrm>
              <a:off x="5780088" y="4048126"/>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ransfo</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32" name="Rectangle 32"/>
            <p:cNvSpPr>
              <a:spLocks noChangeArrowheads="1"/>
            </p:cNvSpPr>
            <p:nvPr/>
          </p:nvSpPr>
          <p:spPr bwMode="auto">
            <a:xfrm>
              <a:off x="624681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r</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33" name="Rectangle 33"/>
            <p:cNvSpPr>
              <a:spLocks noChangeArrowheads="1"/>
            </p:cNvSpPr>
            <p:nvPr/>
          </p:nvSpPr>
          <p:spPr bwMode="auto">
            <a:xfrm>
              <a:off x="6302375" y="4048126"/>
              <a:ext cx="1074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m to structu</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34" name="Rectangle 34"/>
            <p:cNvSpPr>
              <a:spLocks noChangeArrowheads="1"/>
            </p:cNvSpPr>
            <p:nvPr/>
          </p:nvSpPr>
          <p:spPr bwMode="auto">
            <a:xfrm>
              <a:off x="7215188"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r</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35" name="Rectangle 35"/>
            <p:cNvSpPr>
              <a:spLocks noChangeArrowheads="1"/>
            </p:cNvSpPr>
            <p:nvPr/>
          </p:nvSpPr>
          <p:spPr bwMode="auto">
            <a:xfrm>
              <a:off x="7270750" y="4048126"/>
              <a:ext cx="714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ed data</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36" name="Freeform 36"/>
            <p:cNvSpPr>
              <a:spLocks noEditPoints="1"/>
            </p:cNvSpPr>
            <p:nvPr/>
          </p:nvSpPr>
          <p:spPr bwMode="auto">
            <a:xfrm>
              <a:off x="5353050" y="2328863"/>
              <a:ext cx="2846388" cy="1657350"/>
            </a:xfrm>
            <a:custGeom>
              <a:avLst/>
              <a:gdLst>
                <a:gd name="T0" fmla="*/ 158 w 758"/>
                <a:gd name="T1" fmla="*/ 8 h 440"/>
                <a:gd name="T2" fmla="*/ 197 w 758"/>
                <a:gd name="T3" fmla="*/ 9 h 440"/>
                <a:gd name="T4" fmla="*/ 220 w 758"/>
                <a:gd name="T5" fmla="*/ 8 h 440"/>
                <a:gd name="T6" fmla="*/ 265 w 758"/>
                <a:gd name="T7" fmla="*/ 0 h 440"/>
                <a:gd name="T8" fmla="*/ 273 w 758"/>
                <a:gd name="T9" fmla="*/ 8 h 440"/>
                <a:gd name="T10" fmla="*/ 311 w 758"/>
                <a:gd name="T11" fmla="*/ 0 h 440"/>
                <a:gd name="T12" fmla="*/ 341 w 758"/>
                <a:gd name="T13" fmla="*/ 0 h 440"/>
                <a:gd name="T14" fmla="*/ 380 w 758"/>
                <a:gd name="T15" fmla="*/ 8 h 440"/>
                <a:gd name="T16" fmla="*/ 425 w 758"/>
                <a:gd name="T17" fmla="*/ 0 h 440"/>
                <a:gd name="T18" fmla="*/ 433 w 758"/>
                <a:gd name="T19" fmla="*/ 8 h 440"/>
                <a:gd name="T20" fmla="*/ 471 w 758"/>
                <a:gd name="T21" fmla="*/ 0 h 440"/>
                <a:gd name="T22" fmla="*/ 501 w 758"/>
                <a:gd name="T23" fmla="*/ 0 h 440"/>
                <a:gd name="T24" fmla="*/ 539 w 758"/>
                <a:gd name="T25" fmla="*/ 8 h 440"/>
                <a:gd name="T26" fmla="*/ 585 w 758"/>
                <a:gd name="T27" fmla="*/ 4 h 440"/>
                <a:gd name="T28" fmla="*/ 591 w 758"/>
                <a:gd name="T29" fmla="*/ 13 h 440"/>
                <a:gd name="T30" fmla="*/ 630 w 758"/>
                <a:gd name="T31" fmla="*/ 18 h 440"/>
                <a:gd name="T32" fmla="*/ 657 w 758"/>
                <a:gd name="T33" fmla="*/ 33 h 440"/>
                <a:gd name="T34" fmla="*/ 683 w 758"/>
                <a:gd name="T35" fmla="*/ 62 h 440"/>
                <a:gd name="T36" fmla="*/ 719 w 758"/>
                <a:gd name="T37" fmla="*/ 91 h 440"/>
                <a:gd name="T38" fmla="*/ 716 w 758"/>
                <a:gd name="T39" fmla="*/ 101 h 440"/>
                <a:gd name="T40" fmla="*/ 741 w 758"/>
                <a:gd name="T41" fmla="*/ 131 h 440"/>
                <a:gd name="T42" fmla="*/ 751 w 758"/>
                <a:gd name="T43" fmla="*/ 161 h 440"/>
                <a:gd name="T44" fmla="*/ 750 w 758"/>
                <a:gd name="T45" fmla="*/ 199 h 440"/>
                <a:gd name="T46" fmla="*/ 750 w 758"/>
                <a:gd name="T47" fmla="*/ 222 h 440"/>
                <a:gd name="T48" fmla="*/ 754 w 758"/>
                <a:gd name="T49" fmla="*/ 268 h 440"/>
                <a:gd name="T50" fmla="*/ 744 w 758"/>
                <a:gd name="T51" fmla="*/ 274 h 440"/>
                <a:gd name="T52" fmla="*/ 740 w 758"/>
                <a:gd name="T53" fmla="*/ 312 h 440"/>
                <a:gd name="T54" fmla="*/ 725 w 758"/>
                <a:gd name="T55" fmla="*/ 339 h 440"/>
                <a:gd name="T56" fmla="*/ 696 w 758"/>
                <a:gd name="T57" fmla="*/ 365 h 440"/>
                <a:gd name="T58" fmla="*/ 667 w 758"/>
                <a:gd name="T59" fmla="*/ 401 h 440"/>
                <a:gd name="T60" fmla="*/ 656 w 758"/>
                <a:gd name="T61" fmla="*/ 399 h 440"/>
                <a:gd name="T62" fmla="*/ 626 w 758"/>
                <a:gd name="T63" fmla="*/ 423 h 440"/>
                <a:gd name="T64" fmla="*/ 597 w 758"/>
                <a:gd name="T65" fmla="*/ 433 h 440"/>
                <a:gd name="T66" fmla="*/ 558 w 758"/>
                <a:gd name="T67" fmla="*/ 432 h 440"/>
                <a:gd name="T68" fmla="*/ 535 w 758"/>
                <a:gd name="T69" fmla="*/ 432 h 440"/>
                <a:gd name="T70" fmla="*/ 490 w 758"/>
                <a:gd name="T71" fmla="*/ 440 h 440"/>
                <a:gd name="T72" fmla="*/ 482 w 758"/>
                <a:gd name="T73" fmla="*/ 432 h 440"/>
                <a:gd name="T74" fmla="*/ 444 w 758"/>
                <a:gd name="T75" fmla="*/ 440 h 440"/>
                <a:gd name="T76" fmla="*/ 414 w 758"/>
                <a:gd name="T77" fmla="*/ 440 h 440"/>
                <a:gd name="T78" fmla="*/ 376 w 758"/>
                <a:gd name="T79" fmla="*/ 432 h 440"/>
                <a:gd name="T80" fmla="*/ 330 w 758"/>
                <a:gd name="T81" fmla="*/ 440 h 440"/>
                <a:gd name="T82" fmla="*/ 322 w 758"/>
                <a:gd name="T83" fmla="*/ 432 h 440"/>
                <a:gd name="T84" fmla="*/ 284 w 758"/>
                <a:gd name="T85" fmla="*/ 440 h 440"/>
                <a:gd name="T86" fmla="*/ 254 w 758"/>
                <a:gd name="T87" fmla="*/ 440 h 440"/>
                <a:gd name="T88" fmla="*/ 216 w 758"/>
                <a:gd name="T89" fmla="*/ 432 h 440"/>
                <a:gd name="T90" fmla="*/ 170 w 758"/>
                <a:gd name="T91" fmla="*/ 435 h 440"/>
                <a:gd name="T92" fmla="*/ 164 w 758"/>
                <a:gd name="T93" fmla="*/ 426 h 440"/>
                <a:gd name="T94" fmla="*/ 126 w 758"/>
                <a:gd name="T95" fmla="*/ 421 h 440"/>
                <a:gd name="T96" fmla="*/ 99 w 758"/>
                <a:gd name="T97" fmla="*/ 406 h 440"/>
                <a:gd name="T98" fmla="*/ 73 w 758"/>
                <a:gd name="T99" fmla="*/ 376 h 440"/>
                <a:gd name="T100" fmla="*/ 38 w 758"/>
                <a:gd name="T101" fmla="*/ 347 h 440"/>
                <a:gd name="T102" fmla="*/ 40 w 758"/>
                <a:gd name="T103" fmla="*/ 336 h 440"/>
                <a:gd name="T104" fmla="*/ 16 w 758"/>
                <a:gd name="T105" fmla="*/ 306 h 440"/>
                <a:gd name="T106" fmla="*/ 6 w 758"/>
                <a:gd name="T107" fmla="*/ 277 h 440"/>
                <a:gd name="T108" fmla="*/ 8 w 758"/>
                <a:gd name="T109" fmla="*/ 238 h 440"/>
                <a:gd name="T110" fmla="*/ 8 w 758"/>
                <a:gd name="T111" fmla="*/ 215 h 440"/>
                <a:gd name="T112" fmla="*/ 5 w 758"/>
                <a:gd name="T113" fmla="*/ 169 h 440"/>
                <a:gd name="T114" fmla="*/ 14 w 758"/>
                <a:gd name="T115" fmla="*/ 16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8" h="440">
                  <a:moveTo>
                    <a:pt x="151" y="10"/>
                  </a:moveTo>
                  <a:cubicBezTo>
                    <a:pt x="150" y="10"/>
                    <a:pt x="150" y="10"/>
                    <a:pt x="149" y="10"/>
                  </a:cubicBezTo>
                  <a:cubicBezTo>
                    <a:pt x="151" y="18"/>
                    <a:pt x="151" y="18"/>
                    <a:pt x="151" y="18"/>
                  </a:cubicBezTo>
                  <a:cubicBezTo>
                    <a:pt x="152" y="18"/>
                    <a:pt x="153" y="17"/>
                    <a:pt x="153" y="17"/>
                  </a:cubicBezTo>
                  <a:cubicBezTo>
                    <a:pt x="151" y="10"/>
                    <a:pt x="151" y="10"/>
                    <a:pt x="151" y="10"/>
                  </a:cubicBezTo>
                  <a:close/>
                  <a:moveTo>
                    <a:pt x="174" y="4"/>
                  </a:moveTo>
                  <a:cubicBezTo>
                    <a:pt x="168" y="5"/>
                    <a:pt x="163" y="6"/>
                    <a:pt x="158" y="8"/>
                  </a:cubicBezTo>
                  <a:cubicBezTo>
                    <a:pt x="161" y="15"/>
                    <a:pt x="161" y="15"/>
                    <a:pt x="161" y="15"/>
                  </a:cubicBezTo>
                  <a:cubicBezTo>
                    <a:pt x="165" y="14"/>
                    <a:pt x="170" y="13"/>
                    <a:pt x="175" y="12"/>
                  </a:cubicBezTo>
                  <a:cubicBezTo>
                    <a:pt x="174" y="4"/>
                    <a:pt x="174" y="4"/>
                    <a:pt x="174" y="4"/>
                  </a:cubicBezTo>
                  <a:close/>
                  <a:moveTo>
                    <a:pt x="197" y="1"/>
                  </a:moveTo>
                  <a:cubicBezTo>
                    <a:pt x="191" y="1"/>
                    <a:pt x="186" y="2"/>
                    <a:pt x="181" y="3"/>
                  </a:cubicBezTo>
                  <a:cubicBezTo>
                    <a:pt x="182" y="10"/>
                    <a:pt x="182" y="10"/>
                    <a:pt x="182" y="10"/>
                  </a:cubicBezTo>
                  <a:cubicBezTo>
                    <a:pt x="187" y="10"/>
                    <a:pt x="192" y="9"/>
                    <a:pt x="197" y="9"/>
                  </a:cubicBezTo>
                  <a:lnTo>
                    <a:pt x="197" y="1"/>
                  </a:lnTo>
                  <a:close/>
                  <a:moveTo>
                    <a:pt x="220" y="0"/>
                  </a:moveTo>
                  <a:cubicBezTo>
                    <a:pt x="214" y="0"/>
                    <a:pt x="214" y="0"/>
                    <a:pt x="214" y="0"/>
                  </a:cubicBezTo>
                  <a:cubicBezTo>
                    <a:pt x="211" y="0"/>
                    <a:pt x="208" y="0"/>
                    <a:pt x="204" y="0"/>
                  </a:cubicBezTo>
                  <a:cubicBezTo>
                    <a:pt x="205" y="8"/>
                    <a:pt x="205" y="8"/>
                    <a:pt x="205" y="8"/>
                  </a:cubicBezTo>
                  <a:cubicBezTo>
                    <a:pt x="208" y="8"/>
                    <a:pt x="211" y="8"/>
                    <a:pt x="214" y="8"/>
                  </a:cubicBezTo>
                  <a:cubicBezTo>
                    <a:pt x="220" y="8"/>
                    <a:pt x="220" y="8"/>
                    <a:pt x="220" y="8"/>
                  </a:cubicBezTo>
                  <a:cubicBezTo>
                    <a:pt x="220" y="0"/>
                    <a:pt x="220" y="0"/>
                    <a:pt x="220" y="0"/>
                  </a:cubicBezTo>
                  <a:close/>
                  <a:moveTo>
                    <a:pt x="243" y="0"/>
                  </a:moveTo>
                  <a:cubicBezTo>
                    <a:pt x="227" y="0"/>
                    <a:pt x="227" y="0"/>
                    <a:pt x="227" y="0"/>
                  </a:cubicBezTo>
                  <a:cubicBezTo>
                    <a:pt x="227" y="8"/>
                    <a:pt x="227" y="8"/>
                    <a:pt x="227" y="8"/>
                  </a:cubicBezTo>
                  <a:cubicBezTo>
                    <a:pt x="243" y="8"/>
                    <a:pt x="243" y="8"/>
                    <a:pt x="243" y="8"/>
                  </a:cubicBezTo>
                  <a:lnTo>
                    <a:pt x="243" y="0"/>
                  </a:lnTo>
                  <a:close/>
                  <a:moveTo>
                    <a:pt x="265" y="0"/>
                  </a:moveTo>
                  <a:cubicBezTo>
                    <a:pt x="250" y="0"/>
                    <a:pt x="250" y="0"/>
                    <a:pt x="250" y="0"/>
                  </a:cubicBezTo>
                  <a:cubicBezTo>
                    <a:pt x="250" y="8"/>
                    <a:pt x="250" y="8"/>
                    <a:pt x="250" y="8"/>
                  </a:cubicBezTo>
                  <a:cubicBezTo>
                    <a:pt x="265" y="8"/>
                    <a:pt x="265" y="8"/>
                    <a:pt x="265" y="8"/>
                  </a:cubicBezTo>
                  <a:lnTo>
                    <a:pt x="265" y="0"/>
                  </a:lnTo>
                  <a:close/>
                  <a:moveTo>
                    <a:pt x="288" y="0"/>
                  </a:moveTo>
                  <a:cubicBezTo>
                    <a:pt x="273" y="0"/>
                    <a:pt x="273" y="0"/>
                    <a:pt x="273" y="0"/>
                  </a:cubicBezTo>
                  <a:cubicBezTo>
                    <a:pt x="273" y="8"/>
                    <a:pt x="273" y="8"/>
                    <a:pt x="273" y="8"/>
                  </a:cubicBezTo>
                  <a:cubicBezTo>
                    <a:pt x="288" y="8"/>
                    <a:pt x="288" y="8"/>
                    <a:pt x="288" y="8"/>
                  </a:cubicBezTo>
                  <a:lnTo>
                    <a:pt x="288" y="0"/>
                  </a:lnTo>
                  <a:close/>
                  <a:moveTo>
                    <a:pt x="311" y="0"/>
                  </a:moveTo>
                  <a:cubicBezTo>
                    <a:pt x="296" y="0"/>
                    <a:pt x="296" y="0"/>
                    <a:pt x="296" y="0"/>
                  </a:cubicBezTo>
                  <a:cubicBezTo>
                    <a:pt x="296" y="8"/>
                    <a:pt x="296" y="8"/>
                    <a:pt x="296" y="8"/>
                  </a:cubicBezTo>
                  <a:cubicBezTo>
                    <a:pt x="311" y="8"/>
                    <a:pt x="311" y="8"/>
                    <a:pt x="311" y="8"/>
                  </a:cubicBezTo>
                  <a:lnTo>
                    <a:pt x="311" y="0"/>
                  </a:lnTo>
                  <a:close/>
                  <a:moveTo>
                    <a:pt x="334" y="0"/>
                  </a:moveTo>
                  <a:cubicBezTo>
                    <a:pt x="319" y="0"/>
                    <a:pt x="319" y="0"/>
                    <a:pt x="319" y="0"/>
                  </a:cubicBezTo>
                  <a:cubicBezTo>
                    <a:pt x="319" y="8"/>
                    <a:pt x="319" y="8"/>
                    <a:pt x="319" y="8"/>
                  </a:cubicBezTo>
                  <a:cubicBezTo>
                    <a:pt x="334" y="8"/>
                    <a:pt x="334" y="8"/>
                    <a:pt x="334" y="8"/>
                  </a:cubicBezTo>
                  <a:lnTo>
                    <a:pt x="334" y="0"/>
                  </a:lnTo>
                  <a:close/>
                  <a:moveTo>
                    <a:pt x="357" y="0"/>
                  </a:moveTo>
                  <a:cubicBezTo>
                    <a:pt x="341" y="0"/>
                    <a:pt x="341" y="0"/>
                    <a:pt x="341" y="0"/>
                  </a:cubicBezTo>
                  <a:cubicBezTo>
                    <a:pt x="341" y="8"/>
                    <a:pt x="341" y="8"/>
                    <a:pt x="341" y="8"/>
                  </a:cubicBezTo>
                  <a:cubicBezTo>
                    <a:pt x="357" y="8"/>
                    <a:pt x="357" y="8"/>
                    <a:pt x="357" y="8"/>
                  </a:cubicBezTo>
                  <a:lnTo>
                    <a:pt x="357" y="0"/>
                  </a:lnTo>
                  <a:close/>
                  <a:moveTo>
                    <a:pt x="380" y="0"/>
                  </a:moveTo>
                  <a:cubicBezTo>
                    <a:pt x="364" y="0"/>
                    <a:pt x="364" y="0"/>
                    <a:pt x="364" y="0"/>
                  </a:cubicBezTo>
                  <a:cubicBezTo>
                    <a:pt x="364" y="8"/>
                    <a:pt x="364" y="8"/>
                    <a:pt x="364" y="8"/>
                  </a:cubicBezTo>
                  <a:cubicBezTo>
                    <a:pt x="380" y="8"/>
                    <a:pt x="380" y="8"/>
                    <a:pt x="380" y="8"/>
                  </a:cubicBezTo>
                  <a:lnTo>
                    <a:pt x="380" y="0"/>
                  </a:lnTo>
                  <a:close/>
                  <a:moveTo>
                    <a:pt x="402" y="0"/>
                  </a:moveTo>
                  <a:cubicBezTo>
                    <a:pt x="387" y="0"/>
                    <a:pt x="387" y="0"/>
                    <a:pt x="387" y="0"/>
                  </a:cubicBezTo>
                  <a:cubicBezTo>
                    <a:pt x="387" y="8"/>
                    <a:pt x="387" y="8"/>
                    <a:pt x="387" y="8"/>
                  </a:cubicBezTo>
                  <a:cubicBezTo>
                    <a:pt x="402" y="8"/>
                    <a:pt x="402" y="8"/>
                    <a:pt x="402" y="8"/>
                  </a:cubicBezTo>
                  <a:lnTo>
                    <a:pt x="402" y="0"/>
                  </a:lnTo>
                  <a:close/>
                  <a:moveTo>
                    <a:pt x="425" y="0"/>
                  </a:moveTo>
                  <a:cubicBezTo>
                    <a:pt x="410" y="0"/>
                    <a:pt x="410" y="0"/>
                    <a:pt x="410" y="0"/>
                  </a:cubicBezTo>
                  <a:cubicBezTo>
                    <a:pt x="410" y="8"/>
                    <a:pt x="410" y="8"/>
                    <a:pt x="410" y="8"/>
                  </a:cubicBezTo>
                  <a:cubicBezTo>
                    <a:pt x="425" y="8"/>
                    <a:pt x="425" y="8"/>
                    <a:pt x="425" y="8"/>
                  </a:cubicBezTo>
                  <a:lnTo>
                    <a:pt x="425" y="0"/>
                  </a:lnTo>
                  <a:close/>
                  <a:moveTo>
                    <a:pt x="448" y="0"/>
                  </a:moveTo>
                  <a:cubicBezTo>
                    <a:pt x="433" y="0"/>
                    <a:pt x="433" y="0"/>
                    <a:pt x="433" y="0"/>
                  </a:cubicBezTo>
                  <a:cubicBezTo>
                    <a:pt x="433" y="8"/>
                    <a:pt x="433" y="8"/>
                    <a:pt x="433" y="8"/>
                  </a:cubicBezTo>
                  <a:cubicBezTo>
                    <a:pt x="448" y="8"/>
                    <a:pt x="448" y="8"/>
                    <a:pt x="448" y="8"/>
                  </a:cubicBezTo>
                  <a:lnTo>
                    <a:pt x="448" y="0"/>
                  </a:lnTo>
                  <a:close/>
                  <a:moveTo>
                    <a:pt x="471" y="0"/>
                  </a:moveTo>
                  <a:cubicBezTo>
                    <a:pt x="456" y="0"/>
                    <a:pt x="456" y="0"/>
                    <a:pt x="456" y="0"/>
                  </a:cubicBezTo>
                  <a:cubicBezTo>
                    <a:pt x="456" y="8"/>
                    <a:pt x="456" y="8"/>
                    <a:pt x="456" y="8"/>
                  </a:cubicBezTo>
                  <a:cubicBezTo>
                    <a:pt x="471" y="8"/>
                    <a:pt x="471" y="8"/>
                    <a:pt x="471" y="8"/>
                  </a:cubicBezTo>
                  <a:lnTo>
                    <a:pt x="471" y="0"/>
                  </a:lnTo>
                  <a:close/>
                  <a:moveTo>
                    <a:pt x="494" y="0"/>
                  </a:moveTo>
                  <a:cubicBezTo>
                    <a:pt x="478" y="0"/>
                    <a:pt x="478" y="0"/>
                    <a:pt x="478" y="0"/>
                  </a:cubicBezTo>
                  <a:cubicBezTo>
                    <a:pt x="478" y="8"/>
                    <a:pt x="478" y="8"/>
                    <a:pt x="478" y="8"/>
                  </a:cubicBezTo>
                  <a:cubicBezTo>
                    <a:pt x="494" y="8"/>
                    <a:pt x="494" y="8"/>
                    <a:pt x="494" y="8"/>
                  </a:cubicBezTo>
                  <a:lnTo>
                    <a:pt x="494" y="0"/>
                  </a:lnTo>
                  <a:close/>
                  <a:moveTo>
                    <a:pt x="516" y="0"/>
                  </a:moveTo>
                  <a:cubicBezTo>
                    <a:pt x="501" y="0"/>
                    <a:pt x="501" y="0"/>
                    <a:pt x="501" y="0"/>
                  </a:cubicBezTo>
                  <a:cubicBezTo>
                    <a:pt x="501" y="8"/>
                    <a:pt x="501" y="8"/>
                    <a:pt x="501" y="8"/>
                  </a:cubicBezTo>
                  <a:cubicBezTo>
                    <a:pt x="516" y="8"/>
                    <a:pt x="516" y="8"/>
                    <a:pt x="516" y="8"/>
                  </a:cubicBezTo>
                  <a:lnTo>
                    <a:pt x="516" y="0"/>
                  </a:lnTo>
                  <a:close/>
                  <a:moveTo>
                    <a:pt x="539" y="0"/>
                  </a:moveTo>
                  <a:cubicBezTo>
                    <a:pt x="524" y="0"/>
                    <a:pt x="524" y="0"/>
                    <a:pt x="524" y="0"/>
                  </a:cubicBezTo>
                  <a:cubicBezTo>
                    <a:pt x="524" y="8"/>
                    <a:pt x="524" y="8"/>
                    <a:pt x="524" y="8"/>
                  </a:cubicBezTo>
                  <a:cubicBezTo>
                    <a:pt x="539" y="8"/>
                    <a:pt x="539" y="8"/>
                    <a:pt x="539" y="8"/>
                  </a:cubicBezTo>
                  <a:lnTo>
                    <a:pt x="539" y="0"/>
                  </a:lnTo>
                  <a:close/>
                  <a:moveTo>
                    <a:pt x="562" y="1"/>
                  </a:moveTo>
                  <a:cubicBezTo>
                    <a:pt x="557" y="0"/>
                    <a:pt x="552" y="0"/>
                    <a:pt x="547" y="0"/>
                  </a:cubicBezTo>
                  <a:cubicBezTo>
                    <a:pt x="547" y="8"/>
                    <a:pt x="547" y="8"/>
                    <a:pt x="547" y="8"/>
                  </a:cubicBezTo>
                  <a:cubicBezTo>
                    <a:pt x="552" y="8"/>
                    <a:pt x="557" y="8"/>
                    <a:pt x="562" y="9"/>
                  </a:cubicBezTo>
                  <a:cubicBezTo>
                    <a:pt x="562" y="1"/>
                    <a:pt x="562" y="1"/>
                    <a:pt x="562" y="1"/>
                  </a:cubicBezTo>
                  <a:close/>
                  <a:moveTo>
                    <a:pt x="585" y="4"/>
                  </a:moveTo>
                  <a:cubicBezTo>
                    <a:pt x="580" y="3"/>
                    <a:pt x="575" y="2"/>
                    <a:pt x="570" y="2"/>
                  </a:cubicBezTo>
                  <a:cubicBezTo>
                    <a:pt x="569" y="9"/>
                    <a:pt x="569" y="9"/>
                    <a:pt x="569" y="9"/>
                  </a:cubicBezTo>
                  <a:cubicBezTo>
                    <a:pt x="574" y="10"/>
                    <a:pt x="579" y="11"/>
                    <a:pt x="584" y="12"/>
                  </a:cubicBezTo>
                  <a:lnTo>
                    <a:pt x="585" y="4"/>
                  </a:lnTo>
                  <a:close/>
                  <a:moveTo>
                    <a:pt x="608" y="10"/>
                  </a:moveTo>
                  <a:cubicBezTo>
                    <a:pt x="603" y="8"/>
                    <a:pt x="598" y="7"/>
                    <a:pt x="593" y="6"/>
                  </a:cubicBezTo>
                  <a:cubicBezTo>
                    <a:pt x="591" y="13"/>
                    <a:pt x="591" y="13"/>
                    <a:pt x="591" y="13"/>
                  </a:cubicBezTo>
                  <a:cubicBezTo>
                    <a:pt x="596" y="15"/>
                    <a:pt x="601" y="16"/>
                    <a:pt x="606" y="17"/>
                  </a:cubicBezTo>
                  <a:lnTo>
                    <a:pt x="608" y="10"/>
                  </a:lnTo>
                  <a:close/>
                  <a:moveTo>
                    <a:pt x="630" y="18"/>
                  </a:moveTo>
                  <a:cubicBezTo>
                    <a:pt x="625" y="16"/>
                    <a:pt x="620" y="14"/>
                    <a:pt x="615" y="12"/>
                  </a:cubicBezTo>
                  <a:cubicBezTo>
                    <a:pt x="613" y="20"/>
                    <a:pt x="613" y="20"/>
                    <a:pt x="613" y="20"/>
                  </a:cubicBezTo>
                  <a:cubicBezTo>
                    <a:pt x="617" y="21"/>
                    <a:pt x="622" y="23"/>
                    <a:pt x="627" y="25"/>
                  </a:cubicBezTo>
                  <a:cubicBezTo>
                    <a:pt x="630" y="18"/>
                    <a:pt x="630" y="18"/>
                    <a:pt x="630" y="18"/>
                  </a:cubicBezTo>
                  <a:close/>
                  <a:moveTo>
                    <a:pt x="650" y="29"/>
                  </a:moveTo>
                  <a:cubicBezTo>
                    <a:pt x="646" y="26"/>
                    <a:pt x="641" y="24"/>
                    <a:pt x="637" y="21"/>
                  </a:cubicBezTo>
                  <a:cubicBezTo>
                    <a:pt x="633" y="28"/>
                    <a:pt x="633" y="28"/>
                    <a:pt x="633" y="28"/>
                  </a:cubicBezTo>
                  <a:cubicBezTo>
                    <a:pt x="638" y="31"/>
                    <a:pt x="642" y="33"/>
                    <a:pt x="646" y="35"/>
                  </a:cubicBezTo>
                  <a:lnTo>
                    <a:pt x="650" y="29"/>
                  </a:lnTo>
                  <a:close/>
                  <a:moveTo>
                    <a:pt x="670" y="41"/>
                  </a:moveTo>
                  <a:cubicBezTo>
                    <a:pt x="666" y="38"/>
                    <a:pt x="661" y="35"/>
                    <a:pt x="657" y="33"/>
                  </a:cubicBezTo>
                  <a:cubicBezTo>
                    <a:pt x="653" y="39"/>
                    <a:pt x="653" y="39"/>
                    <a:pt x="653" y="39"/>
                  </a:cubicBezTo>
                  <a:cubicBezTo>
                    <a:pt x="657" y="42"/>
                    <a:pt x="661" y="45"/>
                    <a:pt x="665" y="48"/>
                  </a:cubicBezTo>
                  <a:cubicBezTo>
                    <a:pt x="670" y="41"/>
                    <a:pt x="670" y="41"/>
                    <a:pt x="670" y="41"/>
                  </a:cubicBezTo>
                  <a:close/>
                  <a:moveTo>
                    <a:pt x="688" y="56"/>
                  </a:moveTo>
                  <a:cubicBezTo>
                    <a:pt x="684" y="53"/>
                    <a:pt x="680" y="49"/>
                    <a:pt x="676" y="46"/>
                  </a:cubicBezTo>
                  <a:cubicBezTo>
                    <a:pt x="671" y="52"/>
                    <a:pt x="671" y="52"/>
                    <a:pt x="671" y="52"/>
                  </a:cubicBezTo>
                  <a:cubicBezTo>
                    <a:pt x="675" y="55"/>
                    <a:pt x="679" y="58"/>
                    <a:pt x="683" y="62"/>
                  </a:cubicBezTo>
                  <a:cubicBezTo>
                    <a:pt x="688" y="56"/>
                    <a:pt x="688" y="56"/>
                    <a:pt x="688" y="56"/>
                  </a:cubicBezTo>
                  <a:close/>
                  <a:moveTo>
                    <a:pt x="704" y="73"/>
                  </a:moveTo>
                  <a:cubicBezTo>
                    <a:pt x="701" y="69"/>
                    <a:pt x="697" y="65"/>
                    <a:pt x="693" y="61"/>
                  </a:cubicBezTo>
                  <a:cubicBezTo>
                    <a:pt x="688" y="67"/>
                    <a:pt x="688" y="67"/>
                    <a:pt x="688" y="67"/>
                  </a:cubicBezTo>
                  <a:cubicBezTo>
                    <a:pt x="692" y="70"/>
                    <a:pt x="695" y="74"/>
                    <a:pt x="698" y="78"/>
                  </a:cubicBezTo>
                  <a:cubicBezTo>
                    <a:pt x="704" y="73"/>
                    <a:pt x="704" y="73"/>
                    <a:pt x="704" y="73"/>
                  </a:cubicBezTo>
                  <a:close/>
                  <a:moveTo>
                    <a:pt x="719" y="91"/>
                  </a:moveTo>
                  <a:cubicBezTo>
                    <a:pt x="716" y="87"/>
                    <a:pt x="712" y="82"/>
                    <a:pt x="709" y="78"/>
                  </a:cubicBezTo>
                  <a:cubicBezTo>
                    <a:pt x="703" y="83"/>
                    <a:pt x="703" y="83"/>
                    <a:pt x="703" y="83"/>
                  </a:cubicBezTo>
                  <a:cubicBezTo>
                    <a:pt x="706" y="87"/>
                    <a:pt x="709" y="91"/>
                    <a:pt x="712" y="95"/>
                  </a:cubicBezTo>
                  <a:cubicBezTo>
                    <a:pt x="719" y="91"/>
                    <a:pt x="719" y="91"/>
                    <a:pt x="719" y="91"/>
                  </a:cubicBezTo>
                  <a:close/>
                  <a:moveTo>
                    <a:pt x="731" y="110"/>
                  </a:moveTo>
                  <a:cubicBezTo>
                    <a:pt x="728" y="106"/>
                    <a:pt x="726" y="101"/>
                    <a:pt x="723" y="97"/>
                  </a:cubicBezTo>
                  <a:cubicBezTo>
                    <a:pt x="716" y="101"/>
                    <a:pt x="716" y="101"/>
                    <a:pt x="716" y="101"/>
                  </a:cubicBezTo>
                  <a:cubicBezTo>
                    <a:pt x="719" y="106"/>
                    <a:pt x="722" y="110"/>
                    <a:pt x="724" y="114"/>
                  </a:cubicBezTo>
                  <a:cubicBezTo>
                    <a:pt x="731" y="110"/>
                    <a:pt x="731" y="110"/>
                    <a:pt x="731" y="110"/>
                  </a:cubicBezTo>
                  <a:close/>
                  <a:moveTo>
                    <a:pt x="741" y="131"/>
                  </a:moveTo>
                  <a:cubicBezTo>
                    <a:pt x="739" y="127"/>
                    <a:pt x="737" y="122"/>
                    <a:pt x="735" y="117"/>
                  </a:cubicBezTo>
                  <a:cubicBezTo>
                    <a:pt x="728" y="121"/>
                    <a:pt x="728" y="121"/>
                    <a:pt x="728" y="121"/>
                  </a:cubicBezTo>
                  <a:cubicBezTo>
                    <a:pt x="730" y="125"/>
                    <a:pt x="732" y="130"/>
                    <a:pt x="734" y="134"/>
                  </a:cubicBezTo>
                  <a:cubicBezTo>
                    <a:pt x="741" y="131"/>
                    <a:pt x="741" y="131"/>
                    <a:pt x="741" y="131"/>
                  </a:cubicBezTo>
                  <a:close/>
                  <a:moveTo>
                    <a:pt x="749" y="153"/>
                  </a:moveTo>
                  <a:cubicBezTo>
                    <a:pt x="748" y="148"/>
                    <a:pt x="746" y="143"/>
                    <a:pt x="744" y="138"/>
                  </a:cubicBezTo>
                  <a:cubicBezTo>
                    <a:pt x="737" y="141"/>
                    <a:pt x="737" y="141"/>
                    <a:pt x="737" y="141"/>
                  </a:cubicBezTo>
                  <a:cubicBezTo>
                    <a:pt x="739" y="146"/>
                    <a:pt x="740" y="151"/>
                    <a:pt x="742" y="155"/>
                  </a:cubicBezTo>
                  <a:cubicBezTo>
                    <a:pt x="749" y="153"/>
                    <a:pt x="749" y="153"/>
                    <a:pt x="749" y="153"/>
                  </a:cubicBezTo>
                  <a:close/>
                  <a:moveTo>
                    <a:pt x="754" y="176"/>
                  </a:moveTo>
                  <a:cubicBezTo>
                    <a:pt x="753" y="171"/>
                    <a:pt x="752" y="166"/>
                    <a:pt x="751" y="161"/>
                  </a:cubicBezTo>
                  <a:cubicBezTo>
                    <a:pt x="744" y="163"/>
                    <a:pt x="744" y="163"/>
                    <a:pt x="744" y="163"/>
                  </a:cubicBezTo>
                  <a:cubicBezTo>
                    <a:pt x="745" y="167"/>
                    <a:pt x="746" y="172"/>
                    <a:pt x="747" y="177"/>
                  </a:cubicBezTo>
                  <a:cubicBezTo>
                    <a:pt x="754" y="176"/>
                    <a:pt x="754" y="176"/>
                    <a:pt x="754" y="176"/>
                  </a:cubicBezTo>
                  <a:close/>
                  <a:moveTo>
                    <a:pt x="757" y="199"/>
                  </a:moveTo>
                  <a:cubicBezTo>
                    <a:pt x="757" y="194"/>
                    <a:pt x="756" y="188"/>
                    <a:pt x="756" y="183"/>
                  </a:cubicBezTo>
                  <a:cubicBezTo>
                    <a:pt x="748" y="185"/>
                    <a:pt x="748" y="185"/>
                    <a:pt x="748" y="185"/>
                  </a:cubicBezTo>
                  <a:cubicBezTo>
                    <a:pt x="749" y="189"/>
                    <a:pt x="749" y="194"/>
                    <a:pt x="750" y="199"/>
                  </a:cubicBezTo>
                  <a:cubicBezTo>
                    <a:pt x="757" y="199"/>
                    <a:pt x="757" y="199"/>
                    <a:pt x="757" y="199"/>
                  </a:cubicBezTo>
                  <a:close/>
                  <a:moveTo>
                    <a:pt x="758" y="222"/>
                  </a:moveTo>
                  <a:cubicBezTo>
                    <a:pt x="758" y="214"/>
                    <a:pt x="758" y="214"/>
                    <a:pt x="758" y="214"/>
                  </a:cubicBezTo>
                  <a:cubicBezTo>
                    <a:pt x="758" y="212"/>
                    <a:pt x="758" y="209"/>
                    <a:pt x="758" y="207"/>
                  </a:cubicBezTo>
                  <a:cubicBezTo>
                    <a:pt x="750" y="207"/>
                    <a:pt x="750" y="207"/>
                    <a:pt x="750" y="207"/>
                  </a:cubicBezTo>
                  <a:cubicBezTo>
                    <a:pt x="750" y="209"/>
                    <a:pt x="750" y="212"/>
                    <a:pt x="750" y="214"/>
                  </a:cubicBezTo>
                  <a:cubicBezTo>
                    <a:pt x="750" y="222"/>
                    <a:pt x="750" y="222"/>
                    <a:pt x="750" y="222"/>
                  </a:cubicBezTo>
                  <a:cubicBezTo>
                    <a:pt x="758" y="222"/>
                    <a:pt x="758" y="222"/>
                    <a:pt x="758" y="222"/>
                  </a:cubicBezTo>
                  <a:close/>
                  <a:moveTo>
                    <a:pt x="757" y="245"/>
                  </a:moveTo>
                  <a:cubicBezTo>
                    <a:pt x="757" y="240"/>
                    <a:pt x="758" y="235"/>
                    <a:pt x="758" y="230"/>
                  </a:cubicBezTo>
                  <a:cubicBezTo>
                    <a:pt x="750" y="229"/>
                    <a:pt x="750" y="229"/>
                    <a:pt x="750" y="229"/>
                  </a:cubicBezTo>
                  <a:cubicBezTo>
                    <a:pt x="750" y="234"/>
                    <a:pt x="750" y="239"/>
                    <a:pt x="749" y="244"/>
                  </a:cubicBezTo>
                  <a:cubicBezTo>
                    <a:pt x="757" y="245"/>
                    <a:pt x="757" y="245"/>
                    <a:pt x="757" y="245"/>
                  </a:cubicBezTo>
                  <a:close/>
                  <a:moveTo>
                    <a:pt x="754" y="268"/>
                  </a:moveTo>
                  <a:cubicBezTo>
                    <a:pt x="755" y="263"/>
                    <a:pt x="756" y="258"/>
                    <a:pt x="756" y="253"/>
                  </a:cubicBezTo>
                  <a:cubicBezTo>
                    <a:pt x="749" y="252"/>
                    <a:pt x="749" y="252"/>
                    <a:pt x="749" y="252"/>
                  </a:cubicBezTo>
                  <a:cubicBezTo>
                    <a:pt x="748" y="257"/>
                    <a:pt x="747" y="262"/>
                    <a:pt x="746" y="266"/>
                  </a:cubicBezTo>
                  <a:cubicBezTo>
                    <a:pt x="754" y="268"/>
                    <a:pt x="754" y="268"/>
                    <a:pt x="754" y="268"/>
                  </a:cubicBezTo>
                  <a:close/>
                  <a:moveTo>
                    <a:pt x="748" y="291"/>
                  </a:moveTo>
                  <a:cubicBezTo>
                    <a:pt x="749" y="286"/>
                    <a:pt x="751" y="281"/>
                    <a:pt x="752" y="276"/>
                  </a:cubicBezTo>
                  <a:cubicBezTo>
                    <a:pt x="744" y="274"/>
                    <a:pt x="744" y="274"/>
                    <a:pt x="744" y="274"/>
                  </a:cubicBezTo>
                  <a:cubicBezTo>
                    <a:pt x="743" y="279"/>
                    <a:pt x="742" y="283"/>
                    <a:pt x="740" y="288"/>
                  </a:cubicBezTo>
                  <a:cubicBezTo>
                    <a:pt x="748" y="291"/>
                    <a:pt x="748" y="291"/>
                    <a:pt x="748" y="291"/>
                  </a:cubicBezTo>
                  <a:close/>
                  <a:moveTo>
                    <a:pt x="740" y="312"/>
                  </a:moveTo>
                  <a:cubicBezTo>
                    <a:pt x="742" y="308"/>
                    <a:pt x="744" y="303"/>
                    <a:pt x="745" y="298"/>
                  </a:cubicBezTo>
                  <a:cubicBezTo>
                    <a:pt x="738" y="295"/>
                    <a:pt x="738" y="295"/>
                    <a:pt x="738" y="295"/>
                  </a:cubicBezTo>
                  <a:cubicBezTo>
                    <a:pt x="736" y="300"/>
                    <a:pt x="735" y="305"/>
                    <a:pt x="733" y="309"/>
                  </a:cubicBezTo>
                  <a:cubicBezTo>
                    <a:pt x="740" y="312"/>
                    <a:pt x="740" y="312"/>
                    <a:pt x="740" y="312"/>
                  </a:cubicBezTo>
                  <a:close/>
                  <a:moveTo>
                    <a:pt x="729" y="333"/>
                  </a:moveTo>
                  <a:cubicBezTo>
                    <a:pt x="732" y="328"/>
                    <a:pt x="734" y="324"/>
                    <a:pt x="736" y="319"/>
                  </a:cubicBezTo>
                  <a:cubicBezTo>
                    <a:pt x="729" y="316"/>
                    <a:pt x="729" y="316"/>
                    <a:pt x="729" y="316"/>
                  </a:cubicBezTo>
                  <a:cubicBezTo>
                    <a:pt x="727" y="320"/>
                    <a:pt x="725" y="325"/>
                    <a:pt x="722" y="329"/>
                  </a:cubicBezTo>
                  <a:cubicBezTo>
                    <a:pt x="729" y="333"/>
                    <a:pt x="729" y="333"/>
                    <a:pt x="729" y="333"/>
                  </a:cubicBezTo>
                  <a:close/>
                  <a:moveTo>
                    <a:pt x="716" y="352"/>
                  </a:moveTo>
                  <a:cubicBezTo>
                    <a:pt x="719" y="348"/>
                    <a:pt x="722" y="344"/>
                    <a:pt x="725" y="339"/>
                  </a:cubicBezTo>
                  <a:cubicBezTo>
                    <a:pt x="719" y="335"/>
                    <a:pt x="719" y="335"/>
                    <a:pt x="719" y="335"/>
                  </a:cubicBezTo>
                  <a:cubicBezTo>
                    <a:pt x="716" y="340"/>
                    <a:pt x="713" y="344"/>
                    <a:pt x="710" y="348"/>
                  </a:cubicBezTo>
                  <a:cubicBezTo>
                    <a:pt x="716" y="352"/>
                    <a:pt x="716" y="352"/>
                    <a:pt x="716" y="352"/>
                  </a:cubicBezTo>
                  <a:close/>
                  <a:moveTo>
                    <a:pt x="702" y="370"/>
                  </a:moveTo>
                  <a:cubicBezTo>
                    <a:pt x="705" y="366"/>
                    <a:pt x="708" y="362"/>
                    <a:pt x="712" y="358"/>
                  </a:cubicBezTo>
                  <a:cubicBezTo>
                    <a:pt x="706" y="354"/>
                    <a:pt x="706" y="354"/>
                    <a:pt x="706" y="354"/>
                  </a:cubicBezTo>
                  <a:cubicBezTo>
                    <a:pt x="702" y="358"/>
                    <a:pt x="699" y="361"/>
                    <a:pt x="696" y="365"/>
                  </a:cubicBezTo>
                  <a:cubicBezTo>
                    <a:pt x="702" y="370"/>
                    <a:pt x="702" y="370"/>
                    <a:pt x="702" y="370"/>
                  </a:cubicBezTo>
                  <a:close/>
                  <a:moveTo>
                    <a:pt x="685" y="386"/>
                  </a:moveTo>
                  <a:cubicBezTo>
                    <a:pt x="689" y="383"/>
                    <a:pt x="693" y="380"/>
                    <a:pt x="696" y="376"/>
                  </a:cubicBezTo>
                  <a:cubicBezTo>
                    <a:pt x="691" y="370"/>
                    <a:pt x="691" y="370"/>
                    <a:pt x="691" y="370"/>
                  </a:cubicBezTo>
                  <a:cubicBezTo>
                    <a:pt x="687" y="374"/>
                    <a:pt x="684" y="377"/>
                    <a:pt x="680" y="381"/>
                  </a:cubicBezTo>
                  <a:cubicBezTo>
                    <a:pt x="685" y="386"/>
                    <a:pt x="685" y="386"/>
                    <a:pt x="685" y="386"/>
                  </a:cubicBezTo>
                  <a:close/>
                  <a:moveTo>
                    <a:pt x="667" y="401"/>
                  </a:moveTo>
                  <a:cubicBezTo>
                    <a:pt x="671" y="398"/>
                    <a:pt x="675" y="395"/>
                    <a:pt x="679" y="391"/>
                  </a:cubicBezTo>
                  <a:cubicBezTo>
                    <a:pt x="674" y="385"/>
                    <a:pt x="674" y="385"/>
                    <a:pt x="674" y="385"/>
                  </a:cubicBezTo>
                  <a:cubicBezTo>
                    <a:pt x="670" y="389"/>
                    <a:pt x="666" y="392"/>
                    <a:pt x="662" y="395"/>
                  </a:cubicBezTo>
                  <a:cubicBezTo>
                    <a:pt x="667" y="401"/>
                    <a:pt x="667" y="401"/>
                    <a:pt x="667" y="401"/>
                  </a:cubicBezTo>
                  <a:close/>
                  <a:moveTo>
                    <a:pt x="647" y="413"/>
                  </a:moveTo>
                  <a:cubicBezTo>
                    <a:pt x="652" y="411"/>
                    <a:pt x="656" y="408"/>
                    <a:pt x="660" y="405"/>
                  </a:cubicBezTo>
                  <a:cubicBezTo>
                    <a:pt x="656" y="399"/>
                    <a:pt x="656" y="399"/>
                    <a:pt x="656" y="399"/>
                  </a:cubicBezTo>
                  <a:cubicBezTo>
                    <a:pt x="652" y="401"/>
                    <a:pt x="648" y="404"/>
                    <a:pt x="643" y="406"/>
                  </a:cubicBezTo>
                  <a:cubicBezTo>
                    <a:pt x="647" y="413"/>
                    <a:pt x="647" y="413"/>
                    <a:pt x="647" y="413"/>
                  </a:cubicBezTo>
                  <a:close/>
                  <a:moveTo>
                    <a:pt x="626" y="423"/>
                  </a:moveTo>
                  <a:cubicBezTo>
                    <a:pt x="631" y="421"/>
                    <a:pt x="636" y="419"/>
                    <a:pt x="640" y="417"/>
                  </a:cubicBezTo>
                  <a:cubicBezTo>
                    <a:pt x="637" y="410"/>
                    <a:pt x="637" y="410"/>
                    <a:pt x="637" y="410"/>
                  </a:cubicBezTo>
                  <a:cubicBezTo>
                    <a:pt x="632" y="412"/>
                    <a:pt x="628" y="414"/>
                    <a:pt x="623" y="416"/>
                  </a:cubicBezTo>
                  <a:cubicBezTo>
                    <a:pt x="626" y="423"/>
                    <a:pt x="626" y="423"/>
                    <a:pt x="626" y="423"/>
                  </a:cubicBezTo>
                  <a:close/>
                  <a:moveTo>
                    <a:pt x="604" y="431"/>
                  </a:moveTo>
                  <a:cubicBezTo>
                    <a:pt x="609" y="430"/>
                    <a:pt x="614" y="428"/>
                    <a:pt x="619" y="426"/>
                  </a:cubicBezTo>
                  <a:cubicBezTo>
                    <a:pt x="616" y="419"/>
                    <a:pt x="616" y="419"/>
                    <a:pt x="616" y="419"/>
                  </a:cubicBezTo>
                  <a:cubicBezTo>
                    <a:pt x="612" y="421"/>
                    <a:pt x="607" y="422"/>
                    <a:pt x="602" y="424"/>
                  </a:cubicBezTo>
                  <a:lnTo>
                    <a:pt x="604" y="431"/>
                  </a:lnTo>
                  <a:close/>
                  <a:moveTo>
                    <a:pt x="582" y="437"/>
                  </a:moveTo>
                  <a:cubicBezTo>
                    <a:pt x="587" y="436"/>
                    <a:pt x="592" y="435"/>
                    <a:pt x="597" y="433"/>
                  </a:cubicBezTo>
                  <a:cubicBezTo>
                    <a:pt x="595" y="426"/>
                    <a:pt x="595" y="426"/>
                    <a:pt x="595" y="426"/>
                  </a:cubicBezTo>
                  <a:cubicBezTo>
                    <a:pt x="590" y="427"/>
                    <a:pt x="585" y="428"/>
                    <a:pt x="580" y="429"/>
                  </a:cubicBezTo>
                  <a:cubicBezTo>
                    <a:pt x="582" y="437"/>
                    <a:pt x="582" y="437"/>
                    <a:pt x="582" y="437"/>
                  </a:cubicBezTo>
                  <a:close/>
                  <a:moveTo>
                    <a:pt x="559" y="439"/>
                  </a:moveTo>
                  <a:cubicBezTo>
                    <a:pt x="564" y="439"/>
                    <a:pt x="569" y="438"/>
                    <a:pt x="574" y="438"/>
                  </a:cubicBezTo>
                  <a:cubicBezTo>
                    <a:pt x="573" y="430"/>
                    <a:pt x="573" y="430"/>
                    <a:pt x="573" y="430"/>
                  </a:cubicBezTo>
                  <a:cubicBezTo>
                    <a:pt x="568" y="431"/>
                    <a:pt x="563" y="431"/>
                    <a:pt x="558" y="432"/>
                  </a:cubicBezTo>
                  <a:cubicBezTo>
                    <a:pt x="559" y="439"/>
                    <a:pt x="559" y="439"/>
                    <a:pt x="559" y="439"/>
                  </a:cubicBezTo>
                  <a:close/>
                  <a:moveTo>
                    <a:pt x="535" y="440"/>
                  </a:moveTo>
                  <a:cubicBezTo>
                    <a:pt x="544" y="440"/>
                    <a:pt x="544" y="440"/>
                    <a:pt x="544" y="440"/>
                  </a:cubicBezTo>
                  <a:cubicBezTo>
                    <a:pt x="546" y="440"/>
                    <a:pt x="549" y="440"/>
                    <a:pt x="551" y="440"/>
                  </a:cubicBezTo>
                  <a:cubicBezTo>
                    <a:pt x="551" y="432"/>
                    <a:pt x="551" y="432"/>
                    <a:pt x="551" y="432"/>
                  </a:cubicBezTo>
                  <a:cubicBezTo>
                    <a:pt x="548" y="432"/>
                    <a:pt x="546" y="432"/>
                    <a:pt x="544" y="432"/>
                  </a:cubicBezTo>
                  <a:cubicBezTo>
                    <a:pt x="535" y="432"/>
                    <a:pt x="535" y="432"/>
                    <a:pt x="535" y="432"/>
                  </a:cubicBezTo>
                  <a:cubicBezTo>
                    <a:pt x="535" y="440"/>
                    <a:pt x="535" y="440"/>
                    <a:pt x="535" y="440"/>
                  </a:cubicBez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lnTo>
                    <a:pt x="193" y="439"/>
                  </a:ln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lnTo>
                    <a:pt x="147" y="429"/>
                  </a:ln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lnTo>
                    <a:pt x="105" y="410"/>
                  </a:ln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lnTo>
                    <a:pt x="26" y="327"/>
                  </a:ln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lnTo>
                    <a:pt x="0" y="238"/>
                  </a:ln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7" name="Rectangle 107"/>
            <p:cNvSpPr>
              <a:spLocks noChangeArrowheads="1"/>
            </p:cNvSpPr>
            <p:nvPr/>
          </p:nvSpPr>
          <p:spPr bwMode="auto">
            <a:xfrm>
              <a:off x="7075488" y="3022601"/>
              <a:ext cx="106363"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8" name="Rectangle 108"/>
            <p:cNvSpPr>
              <a:spLocks noChangeArrowheads="1"/>
            </p:cNvSpPr>
            <p:nvPr/>
          </p:nvSpPr>
          <p:spPr bwMode="auto">
            <a:xfrm>
              <a:off x="7234238"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9" name="Rectangle 109"/>
            <p:cNvSpPr>
              <a:spLocks noChangeArrowheads="1"/>
            </p:cNvSpPr>
            <p:nvPr/>
          </p:nvSpPr>
          <p:spPr bwMode="auto">
            <a:xfrm>
              <a:off x="7396163"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0" name="Rectangle 110"/>
            <p:cNvSpPr>
              <a:spLocks noChangeArrowheads="1"/>
            </p:cNvSpPr>
            <p:nvPr/>
          </p:nvSpPr>
          <p:spPr bwMode="auto">
            <a:xfrm>
              <a:off x="7556500" y="3022601"/>
              <a:ext cx="109538"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1" name="Rectangle 111"/>
            <p:cNvSpPr>
              <a:spLocks noChangeArrowheads="1"/>
            </p:cNvSpPr>
            <p:nvPr/>
          </p:nvSpPr>
          <p:spPr bwMode="auto">
            <a:xfrm>
              <a:off x="7075488" y="3184526"/>
              <a:ext cx="106363"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2" name="Rectangle 112"/>
            <p:cNvSpPr>
              <a:spLocks noChangeArrowheads="1"/>
            </p:cNvSpPr>
            <p:nvPr/>
          </p:nvSpPr>
          <p:spPr bwMode="auto">
            <a:xfrm>
              <a:off x="7234238"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3" name="Rectangle 113"/>
            <p:cNvSpPr>
              <a:spLocks noChangeArrowheads="1"/>
            </p:cNvSpPr>
            <p:nvPr/>
          </p:nvSpPr>
          <p:spPr bwMode="auto">
            <a:xfrm>
              <a:off x="7396163"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4" name="Rectangle 114"/>
            <p:cNvSpPr>
              <a:spLocks noChangeArrowheads="1"/>
            </p:cNvSpPr>
            <p:nvPr/>
          </p:nvSpPr>
          <p:spPr bwMode="auto">
            <a:xfrm>
              <a:off x="7556500" y="3184526"/>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5" name="Rectangle 115"/>
            <p:cNvSpPr>
              <a:spLocks noChangeArrowheads="1"/>
            </p:cNvSpPr>
            <p:nvPr/>
          </p:nvSpPr>
          <p:spPr bwMode="auto">
            <a:xfrm>
              <a:off x="5859463" y="3130551"/>
              <a:ext cx="104775"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6" name="Rectangle 116"/>
            <p:cNvSpPr>
              <a:spLocks noChangeArrowheads="1"/>
            </p:cNvSpPr>
            <p:nvPr/>
          </p:nvSpPr>
          <p:spPr bwMode="auto">
            <a:xfrm>
              <a:off x="6099175" y="2976563"/>
              <a:ext cx="106363"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7" name="Rectangle 117"/>
            <p:cNvSpPr>
              <a:spLocks noChangeArrowheads="1"/>
            </p:cNvSpPr>
            <p:nvPr/>
          </p:nvSpPr>
          <p:spPr bwMode="auto">
            <a:xfrm>
              <a:off x="6205538" y="3176588"/>
              <a:ext cx="104775"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8" name="Rectangle 118"/>
            <p:cNvSpPr>
              <a:spLocks noChangeArrowheads="1"/>
            </p:cNvSpPr>
            <p:nvPr/>
          </p:nvSpPr>
          <p:spPr bwMode="auto">
            <a:xfrm>
              <a:off x="6340475" y="302577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9" name="Rectangle 119"/>
            <p:cNvSpPr>
              <a:spLocks noChangeArrowheads="1"/>
            </p:cNvSpPr>
            <p:nvPr/>
          </p:nvSpPr>
          <p:spPr bwMode="auto">
            <a:xfrm>
              <a:off x="5749925" y="3357563"/>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0" name="Rectangle 120"/>
            <p:cNvSpPr>
              <a:spLocks noChangeArrowheads="1"/>
            </p:cNvSpPr>
            <p:nvPr/>
          </p:nvSpPr>
          <p:spPr bwMode="auto">
            <a:xfrm>
              <a:off x="6016625" y="3289301"/>
              <a:ext cx="109538"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1" name="Rectangle 121"/>
            <p:cNvSpPr>
              <a:spLocks noChangeArrowheads="1"/>
            </p:cNvSpPr>
            <p:nvPr/>
          </p:nvSpPr>
          <p:spPr bwMode="auto">
            <a:xfrm>
              <a:off x="6178550" y="3492501"/>
              <a:ext cx="109538"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2" name="Rectangle 122"/>
            <p:cNvSpPr>
              <a:spLocks noChangeArrowheads="1"/>
            </p:cNvSpPr>
            <p:nvPr/>
          </p:nvSpPr>
          <p:spPr bwMode="auto">
            <a:xfrm>
              <a:off x="6340475" y="3357563"/>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123"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endParaRPr kumimoji="0" lang="en-US" sz="4705" b="0" i="0" u="none" strike="noStrike" kern="1200" cap="none" spc="-100"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endParaRPr>
          </a:p>
        </p:txBody>
      </p:sp>
      <p:sp>
        <p:nvSpPr>
          <p:cNvPr id="124"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dirty="0">
                <a:gradFill>
                  <a:gsLst>
                    <a:gs pos="1250">
                      <a:srgbClr val="0078D7"/>
                    </a:gs>
                    <a:gs pos="99000">
                      <a:srgbClr val="0078D7"/>
                    </a:gs>
                  </a:gsLst>
                  <a:lin ang="5400000" scaled="0"/>
                </a:gradFill>
                <a:latin typeface="Segoe UI Light"/>
              </a:rPr>
              <a:t>Example: Real-time stream processing </a:t>
            </a:r>
            <a:endParaRPr kumimoji="0" lang="en-US" sz="3921" b="0" i="0" u="none" strike="noStrike" kern="1200" cap="none" spc="0" normalizeH="0" baseline="0" noProof="0" dirty="0">
              <a:ln>
                <a:noFill/>
              </a:ln>
              <a:gradFill>
                <a:gsLst>
                  <a:gs pos="1250">
                    <a:srgbClr val="0078D7"/>
                  </a:gs>
                  <a:gs pos="99000">
                    <a:srgbClr val="0078D7"/>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7490119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833688" y="2189046"/>
            <a:ext cx="6524625" cy="341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7207" name="Group 7206"/>
          <p:cNvGrpSpPr/>
          <p:nvPr/>
        </p:nvGrpSpPr>
        <p:grpSpPr>
          <a:xfrm>
            <a:off x="8277226" y="2203334"/>
            <a:ext cx="1050925" cy="1557338"/>
            <a:chOff x="8277226" y="2203334"/>
            <a:chExt cx="1050925" cy="1557338"/>
          </a:xfrm>
        </p:grpSpPr>
        <p:sp>
          <p:nvSpPr>
            <p:cNvPr id="12" name="Freeform 11"/>
            <p:cNvSpPr>
              <a:spLocks noEditPoints="1"/>
            </p:cNvSpPr>
            <p:nvPr/>
          </p:nvSpPr>
          <p:spPr bwMode="auto">
            <a:xfrm>
              <a:off x="8786813" y="3460634"/>
              <a:ext cx="30163" cy="300038"/>
            </a:xfrm>
            <a:custGeom>
              <a:avLst/>
              <a:gdLst>
                <a:gd name="T0" fmla="*/ 19 w 19"/>
                <a:gd name="T1" fmla="*/ 21 h 189"/>
                <a:gd name="T2" fmla="*/ 19 w 19"/>
                <a:gd name="T3" fmla="*/ 0 h 189"/>
                <a:gd name="T4" fmla="*/ 0 w 19"/>
                <a:gd name="T5" fmla="*/ 0 h 189"/>
                <a:gd name="T6" fmla="*/ 0 w 19"/>
                <a:gd name="T7" fmla="*/ 21 h 189"/>
                <a:gd name="T8" fmla="*/ 19 w 19"/>
                <a:gd name="T9" fmla="*/ 21 h 189"/>
                <a:gd name="T10" fmla="*/ 19 w 19"/>
                <a:gd name="T11" fmla="*/ 21 h 189"/>
                <a:gd name="T12" fmla="*/ 19 w 19"/>
                <a:gd name="T13" fmla="*/ 21 h 189"/>
                <a:gd name="T14" fmla="*/ 0 w 19"/>
                <a:gd name="T15" fmla="*/ 21 h 189"/>
                <a:gd name="T16" fmla="*/ 0 w 19"/>
                <a:gd name="T17" fmla="*/ 21 h 189"/>
                <a:gd name="T18" fmla="*/ 19 w 19"/>
                <a:gd name="T19" fmla="*/ 21 h 189"/>
                <a:gd name="T20" fmla="*/ 19 w 19"/>
                <a:gd name="T21" fmla="*/ 76 h 189"/>
                <a:gd name="T22" fmla="*/ 19 w 19"/>
                <a:gd name="T23" fmla="*/ 40 h 189"/>
                <a:gd name="T24" fmla="*/ 0 w 19"/>
                <a:gd name="T25" fmla="*/ 40 h 189"/>
                <a:gd name="T26" fmla="*/ 0 w 19"/>
                <a:gd name="T27" fmla="*/ 76 h 189"/>
                <a:gd name="T28" fmla="*/ 19 w 19"/>
                <a:gd name="T29" fmla="*/ 76 h 189"/>
                <a:gd name="T30" fmla="*/ 19 w 19"/>
                <a:gd name="T31" fmla="*/ 76 h 189"/>
                <a:gd name="T32" fmla="*/ 19 w 19"/>
                <a:gd name="T33" fmla="*/ 76 h 189"/>
                <a:gd name="T34" fmla="*/ 0 w 19"/>
                <a:gd name="T35" fmla="*/ 76 h 189"/>
                <a:gd name="T36" fmla="*/ 0 w 19"/>
                <a:gd name="T37" fmla="*/ 76 h 189"/>
                <a:gd name="T38" fmla="*/ 19 w 19"/>
                <a:gd name="T39" fmla="*/ 76 h 189"/>
                <a:gd name="T40" fmla="*/ 19 w 19"/>
                <a:gd name="T41" fmla="*/ 133 h 189"/>
                <a:gd name="T42" fmla="*/ 19 w 19"/>
                <a:gd name="T43" fmla="*/ 95 h 189"/>
                <a:gd name="T44" fmla="*/ 0 w 19"/>
                <a:gd name="T45" fmla="*/ 95 h 189"/>
                <a:gd name="T46" fmla="*/ 0 w 19"/>
                <a:gd name="T47" fmla="*/ 133 h 189"/>
                <a:gd name="T48" fmla="*/ 19 w 19"/>
                <a:gd name="T49" fmla="*/ 133 h 189"/>
                <a:gd name="T50" fmla="*/ 19 w 19"/>
                <a:gd name="T51" fmla="*/ 133 h 189"/>
                <a:gd name="T52" fmla="*/ 19 w 19"/>
                <a:gd name="T53" fmla="*/ 133 h 189"/>
                <a:gd name="T54" fmla="*/ 0 w 19"/>
                <a:gd name="T55" fmla="*/ 133 h 189"/>
                <a:gd name="T56" fmla="*/ 0 w 19"/>
                <a:gd name="T57" fmla="*/ 133 h 189"/>
                <a:gd name="T58" fmla="*/ 19 w 19"/>
                <a:gd name="T59" fmla="*/ 133 h 189"/>
                <a:gd name="T60" fmla="*/ 19 w 19"/>
                <a:gd name="T61" fmla="*/ 189 h 189"/>
                <a:gd name="T62" fmla="*/ 19 w 19"/>
                <a:gd name="T63" fmla="*/ 152 h 189"/>
                <a:gd name="T64" fmla="*/ 0 w 19"/>
                <a:gd name="T65" fmla="*/ 152 h 189"/>
                <a:gd name="T66" fmla="*/ 0 w 19"/>
                <a:gd name="T67" fmla="*/ 189 h 189"/>
                <a:gd name="T68" fmla="*/ 19 w 19"/>
                <a:gd name="T6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19" y="21"/>
                  </a:moveTo>
                  <a:lnTo>
                    <a:pt x="19" y="0"/>
                  </a:lnTo>
                  <a:lnTo>
                    <a:pt x="0" y="0"/>
                  </a:lnTo>
                  <a:lnTo>
                    <a:pt x="0" y="21"/>
                  </a:lnTo>
                  <a:lnTo>
                    <a:pt x="19" y="21"/>
                  </a:lnTo>
                  <a:close/>
                  <a:moveTo>
                    <a:pt x="19" y="21"/>
                  </a:moveTo>
                  <a:lnTo>
                    <a:pt x="19" y="21"/>
                  </a:lnTo>
                  <a:lnTo>
                    <a:pt x="0" y="21"/>
                  </a:lnTo>
                  <a:lnTo>
                    <a:pt x="0" y="21"/>
                  </a:lnTo>
                  <a:lnTo>
                    <a:pt x="19" y="21"/>
                  </a:lnTo>
                  <a:close/>
                  <a:moveTo>
                    <a:pt x="19" y="76"/>
                  </a:moveTo>
                  <a:lnTo>
                    <a:pt x="19" y="40"/>
                  </a:lnTo>
                  <a:lnTo>
                    <a:pt x="0" y="40"/>
                  </a:lnTo>
                  <a:lnTo>
                    <a:pt x="0" y="76"/>
                  </a:lnTo>
                  <a:lnTo>
                    <a:pt x="19" y="76"/>
                  </a:lnTo>
                  <a:close/>
                  <a:moveTo>
                    <a:pt x="19" y="76"/>
                  </a:moveTo>
                  <a:lnTo>
                    <a:pt x="19" y="76"/>
                  </a:lnTo>
                  <a:lnTo>
                    <a:pt x="0" y="76"/>
                  </a:lnTo>
                  <a:lnTo>
                    <a:pt x="0" y="76"/>
                  </a:lnTo>
                  <a:lnTo>
                    <a:pt x="19" y="76"/>
                  </a:lnTo>
                  <a:close/>
                  <a:moveTo>
                    <a:pt x="19" y="133"/>
                  </a:moveTo>
                  <a:lnTo>
                    <a:pt x="19" y="95"/>
                  </a:lnTo>
                  <a:lnTo>
                    <a:pt x="0" y="95"/>
                  </a:lnTo>
                  <a:lnTo>
                    <a:pt x="0" y="133"/>
                  </a:lnTo>
                  <a:lnTo>
                    <a:pt x="19" y="133"/>
                  </a:lnTo>
                  <a:close/>
                  <a:moveTo>
                    <a:pt x="19" y="133"/>
                  </a:moveTo>
                  <a:lnTo>
                    <a:pt x="19" y="133"/>
                  </a:lnTo>
                  <a:lnTo>
                    <a:pt x="0" y="133"/>
                  </a:lnTo>
                  <a:lnTo>
                    <a:pt x="0" y="133"/>
                  </a:lnTo>
                  <a:lnTo>
                    <a:pt x="19" y="133"/>
                  </a:lnTo>
                  <a:close/>
                  <a:moveTo>
                    <a:pt x="19" y="189"/>
                  </a:moveTo>
                  <a:lnTo>
                    <a:pt x="19" y="152"/>
                  </a:lnTo>
                  <a:lnTo>
                    <a:pt x="0" y="152"/>
                  </a:lnTo>
                  <a:lnTo>
                    <a:pt x="0" y="189"/>
                  </a:lnTo>
                  <a:lnTo>
                    <a:pt x="19" y="18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 name="Freeform 12"/>
            <p:cNvSpPr>
              <a:spLocks/>
            </p:cNvSpPr>
            <p:nvPr/>
          </p:nvSpPr>
          <p:spPr bwMode="auto">
            <a:xfrm>
              <a:off x="8728076" y="3355859"/>
              <a:ext cx="149225" cy="127000"/>
            </a:xfrm>
            <a:custGeom>
              <a:avLst/>
              <a:gdLst>
                <a:gd name="T0" fmla="*/ 94 w 94"/>
                <a:gd name="T1" fmla="*/ 80 h 80"/>
                <a:gd name="T2" fmla="*/ 47 w 94"/>
                <a:gd name="T3" fmla="*/ 0 h 80"/>
                <a:gd name="T4" fmla="*/ 0 w 94"/>
                <a:gd name="T5" fmla="*/ 80 h 80"/>
                <a:gd name="T6" fmla="*/ 94 w 94"/>
                <a:gd name="T7" fmla="*/ 80 h 80"/>
              </a:gdLst>
              <a:ahLst/>
              <a:cxnLst>
                <a:cxn ang="0">
                  <a:pos x="T0" y="T1"/>
                </a:cxn>
                <a:cxn ang="0">
                  <a:pos x="T2" y="T3"/>
                </a:cxn>
                <a:cxn ang="0">
                  <a:pos x="T4" y="T5"/>
                </a:cxn>
                <a:cxn ang="0">
                  <a:pos x="T6" y="T7"/>
                </a:cxn>
              </a:cxnLst>
              <a:rect l="0" t="0" r="r" b="b"/>
              <a:pathLst>
                <a:path w="94" h="80">
                  <a:moveTo>
                    <a:pt x="94" y="80"/>
                  </a:moveTo>
                  <a:lnTo>
                    <a:pt x="47" y="0"/>
                  </a:lnTo>
                  <a:lnTo>
                    <a:pt x="0" y="80"/>
                  </a:lnTo>
                  <a:lnTo>
                    <a:pt x="94" y="8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 name="Freeform 28"/>
            <p:cNvSpPr>
              <a:spLocks/>
            </p:cNvSpPr>
            <p:nvPr/>
          </p:nvSpPr>
          <p:spPr bwMode="auto">
            <a:xfrm>
              <a:off x="8277226" y="2203334"/>
              <a:ext cx="1050925"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203" name="Group 7202"/>
          <p:cNvGrpSpPr/>
          <p:nvPr/>
        </p:nvGrpSpPr>
        <p:grpSpPr>
          <a:xfrm>
            <a:off x="2867026" y="2203334"/>
            <a:ext cx="1052513" cy="1054100"/>
            <a:chOff x="2867026" y="2203334"/>
            <a:chExt cx="1052513" cy="1054100"/>
          </a:xfrm>
        </p:grpSpPr>
        <p:sp>
          <p:nvSpPr>
            <p:cNvPr id="28" name="Freeform 27"/>
            <p:cNvSpPr>
              <a:spLocks/>
            </p:cNvSpPr>
            <p:nvPr/>
          </p:nvSpPr>
          <p:spPr bwMode="auto">
            <a:xfrm>
              <a:off x="2867026" y="2203334"/>
              <a:ext cx="1052513"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 name="Rectangle 29"/>
            <p:cNvSpPr>
              <a:spLocks noChangeArrowheads="1"/>
            </p:cNvSpPr>
            <p:nvPr/>
          </p:nvSpPr>
          <p:spPr bwMode="auto">
            <a:xfrm>
              <a:off x="3265488" y="2233496"/>
              <a:ext cx="560388"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dirty="0">
                  <a:ln>
                    <a:noFill/>
                  </a:ln>
                  <a:solidFill>
                    <a:srgbClr val="FFFFFF"/>
                  </a:solidFill>
                  <a:effectLst/>
                  <a:uLnTx/>
                  <a:uFillTx/>
                  <a:latin typeface="Segoe UI" panose="020B0502040204020203" pitchFamily="34" charset="0"/>
                </a:rPr>
                <a:t>?</a:t>
              </a:r>
              <a:endParaRPr kumimoji="0" lang="en-US" altLang="en-US" sz="1800" b="0" i="0" u="none" strike="noStrike" kern="0" cap="none" spc="0" normalizeH="0" baseline="0" noProof="0" dirty="0">
                <a:ln>
                  <a:noFill/>
                </a:ln>
                <a:solidFill>
                  <a:schemeClr val="tx1"/>
                </a:solidFill>
                <a:effectLst/>
                <a:uLnTx/>
                <a:uFillTx/>
                <a:latin typeface="Arial" panose="020B0604020202020204" pitchFamily="34" charset="0"/>
              </a:endParaRPr>
            </a:p>
          </p:txBody>
        </p:sp>
      </p:grpSp>
      <p:sp>
        <p:nvSpPr>
          <p:cNvPr id="34" name="Rectangle 33"/>
          <p:cNvSpPr>
            <a:spLocks noChangeArrowheads="1"/>
          </p:cNvSpPr>
          <p:nvPr/>
        </p:nvSpPr>
        <p:spPr bwMode="auto">
          <a:xfrm>
            <a:off x="8585201" y="2066809"/>
            <a:ext cx="766763"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rPr>
              <a:t>...</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grpSp>
        <p:nvGrpSpPr>
          <p:cNvPr id="7205" name="Group 7204"/>
          <p:cNvGrpSpPr/>
          <p:nvPr/>
        </p:nvGrpSpPr>
        <p:grpSpPr>
          <a:xfrm>
            <a:off x="4029076" y="3419359"/>
            <a:ext cx="3597275" cy="2014537"/>
            <a:chOff x="4029076" y="3419359"/>
            <a:chExt cx="3597275" cy="2014537"/>
          </a:xfrm>
        </p:grpSpPr>
        <p:sp>
          <p:nvSpPr>
            <p:cNvPr id="8" name="Freeform 7"/>
            <p:cNvSpPr>
              <a:spLocks noEditPoints="1"/>
            </p:cNvSpPr>
            <p:nvPr/>
          </p:nvSpPr>
          <p:spPr bwMode="auto">
            <a:xfrm>
              <a:off x="4029076" y="4227396"/>
              <a:ext cx="300038" cy="30163"/>
            </a:xfrm>
            <a:custGeom>
              <a:avLst/>
              <a:gdLst>
                <a:gd name="T0" fmla="*/ 168 w 189"/>
                <a:gd name="T1" fmla="*/ 19 h 19"/>
                <a:gd name="T2" fmla="*/ 189 w 189"/>
                <a:gd name="T3" fmla="*/ 19 h 19"/>
                <a:gd name="T4" fmla="*/ 189 w 189"/>
                <a:gd name="T5" fmla="*/ 0 h 19"/>
                <a:gd name="T6" fmla="*/ 168 w 189"/>
                <a:gd name="T7" fmla="*/ 0 h 19"/>
                <a:gd name="T8" fmla="*/ 168 w 189"/>
                <a:gd name="T9" fmla="*/ 19 h 19"/>
                <a:gd name="T10" fmla="*/ 168 w 189"/>
                <a:gd name="T11" fmla="*/ 19 h 19"/>
                <a:gd name="T12" fmla="*/ 168 w 189"/>
                <a:gd name="T13" fmla="*/ 19 h 19"/>
                <a:gd name="T14" fmla="*/ 168 w 189"/>
                <a:gd name="T15" fmla="*/ 0 h 19"/>
                <a:gd name="T16" fmla="*/ 168 w 189"/>
                <a:gd name="T17" fmla="*/ 0 h 19"/>
                <a:gd name="T18" fmla="*/ 168 w 189"/>
                <a:gd name="T19" fmla="*/ 19 h 19"/>
                <a:gd name="T20" fmla="*/ 111 w 189"/>
                <a:gd name="T21" fmla="*/ 19 h 19"/>
                <a:gd name="T22" fmla="*/ 149 w 189"/>
                <a:gd name="T23" fmla="*/ 19 h 19"/>
                <a:gd name="T24" fmla="*/ 149 w 189"/>
                <a:gd name="T25" fmla="*/ 0 h 19"/>
                <a:gd name="T26" fmla="*/ 111 w 189"/>
                <a:gd name="T27" fmla="*/ 0 h 19"/>
                <a:gd name="T28" fmla="*/ 111 w 189"/>
                <a:gd name="T29" fmla="*/ 19 h 19"/>
                <a:gd name="T30" fmla="*/ 111 w 189"/>
                <a:gd name="T31" fmla="*/ 19 h 19"/>
                <a:gd name="T32" fmla="*/ 111 w 189"/>
                <a:gd name="T33" fmla="*/ 19 h 19"/>
                <a:gd name="T34" fmla="*/ 111 w 189"/>
                <a:gd name="T35" fmla="*/ 0 h 19"/>
                <a:gd name="T36" fmla="*/ 111 w 189"/>
                <a:gd name="T37" fmla="*/ 0 h 19"/>
                <a:gd name="T38" fmla="*/ 111 w 189"/>
                <a:gd name="T39" fmla="*/ 19 h 19"/>
                <a:gd name="T40" fmla="*/ 56 w 189"/>
                <a:gd name="T41" fmla="*/ 19 h 19"/>
                <a:gd name="T42" fmla="*/ 94 w 189"/>
                <a:gd name="T43" fmla="*/ 19 h 19"/>
                <a:gd name="T44" fmla="*/ 94 w 189"/>
                <a:gd name="T45" fmla="*/ 0 h 19"/>
                <a:gd name="T46" fmla="*/ 56 w 189"/>
                <a:gd name="T47" fmla="*/ 0 h 19"/>
                <a:gd name="T48" fmla="*/ 56 w 189"/>
                <a:gd name="T49" fmla="*/ 19 h 19"/>
                <a:gd name="T50" fmla="*/ 56 w 189"/>
                <a:gd name="T51" fmla="*/ 19 h 19"/>
                <a:gd name="T52" fmla="*/ 56 w 189"/>
                <a:gd name="T53" fmla="*/ 19 h 19"/>
                <a:gd name="T54" fmla="*/ 56 w 189"/>
                <a:gd name="T55" fmla="*/ 0 h 19"/>
                <a:gd name="T56" fmla="*/ 56 w 189"/>
                <a:gd name="T57" fmla="*/ 0 h 19"/>
                <a:gd name="T58" fmla="*/ 56 w 189"/>
                <a:gd name="T59" fmla="*/ 19 h 19"/>
                <a:gd name="T60" fmla="*/ 0 w 189"/>
                <a:gd name="T61" fmla="*/ 19 h 19"/>
                <a:gd name="T62" fmla="*/ 37 w 189"/>
                <a:gd name="T63" fmla="*/ 19 h 19"/>
                <a:gd name="T64" fmla="*/ 37 w 189"/>
                <a:gd name="T65" fmla="*/ 0 h 19"/>
                <a:gd name="T66" fmla="*/ 0 w 189"/>
                <a:gd name="T67" fmla="*/ 0 h 19"/>
                <a:gd name="T68" fmla="*/ 0 w 189"/>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9" h="19">
                  <a:moveTo>
                    <a:pt x="168" y="19"/>
                  </a:moveTo>
                  <a:lnTo>
                    <a:pt x="189" y="19"/>
                  </a:lnTo>
                  <a:lnTo>
                    <a:pt x="189"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4" y="19"/>
                  </a:lnTo>
                  <a:lnTo>
                    <a:pt x="94"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 name="Freeform 8"/>
            <p:cNvSpPr>
              <a:spLocks/>
            </p:cNvSpPr>
            <p:nvPr/>
          </p:nvSpPr>
          <p:spPr bwMode="auto">
            <a:xfrm>
              <a:off x="4306888" y="4167071"/>
              <a:ext cx="127000" cy="150813"/>
            </a:xfrm>
            <a:custGeom>
              <a:avLst/>
              <a:gdLst>
                <a:gd name="T0" fmla="*/ 0 w 80"/>
                <a:gd name="T1" fmla="*/ 95 h 95"/>
                <a:gd name="T2" fmla="*/ 80 w 80"/>
                <a:gd name="T3" fmla="*/ 48 h 95"/>
                <a:gd name="T4" fmla="*/ 0 w 80"/>
                <a:gd name="T5" fmla="*/ 0 h 95"/>
                <a:gd name="T6" fmla="*/ 0 w 80"/>
                <a:gd name="T7" fmla="*/ 95 h 95"/>
              </a:gdLst>
              <a:ahLst/>
              <a:cxnLst>
                <a:cxn ang="0">
                  <a:pos x="T0" y="T1"/>
                </a:cxn>
                <a:cxn ang="0">
                  <a:pos x="T2" y="T3"/>
                </a:cxn>
                <a:cxn ang="0">
                  <a:pos x="T4" y="T5"/>
                </a:cxn>
                <a:cxn ang="0">
                  <a:pos x="T6" y="T7"/>
                </a:cxn>
              </a:cxnLst>
              <a:rect l="0" t="0" r="r" b="b"/>
              <a:pathLst>
                <a:path w="80" h="95">
                  <a:moveTo>
                    <a:pt x="0" y="95"/>
                  </a:moveTo>
                  <a:lnTo>
                    <a:pt x="80"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Freeform 13"/>
            <p:cNvSpPr>
              <a:spLocks noEditPoints="1"/>
            </p:cNvSpPr>
            <p:nvPr/>
          </p:nvSpPr>
          <p:spPr bwMode="auto">
            <a:xfrm>
              <a:off x="6083301"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Freeform 14"/>
            <p:cNvSpPr>
              <a:spLocks/>
            </p:cNvSpPr>
            <p:nvPr/>
          </p:nvSpPr>
          <p:spPr bwMode="auto">
            <a:xfrm>
              <a:off x="6357938"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Freeform 15"/>
            <p:cNvSpPr>
              <a:spLocks/>
            </p:cNvSpPr>
            <p:nvPr/>
          </p:nvSpPr>
          <p:spPr bwMode="auto">
            <a:xfrm>
              <a:off x="5054601" y="3546359"/>
              <a:ext cx="223838" cy="400050"/>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Freeform 16"/>
            <p:cNvSpPr>
              <a:spLocks/>
            </p:cNvSpPr>
            <p:nvPr/>
          </p:nvSpPr>
          <p:spPr bwMode="auto">
            <a:xfrm>
              <a:off x="4584701" y="3546359"/>
              <a:ext cx="220663" cy="400050"/>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 name="Freeform 17"/>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Freeform 18"/>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Freeform 19"/>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Freeform 20"/>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Rectangle 21"/>
            <p:cNvSpPr>
              <a:spLocks noChangeArrowheads="1"/>
            </p:cNvSpPr>
            <p:nvPr/>
          </p:nvSpPr>
          <p:spPr bwMode="auto">
            <a:xfrm>
              <a:off x="4733926" y="5129096"/>
              <a:ext cx="327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Co</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23" name="Rectangle 22"/>
            <p:cNvSpPr>
              <a:spLocks noChangeArrowheads="1"/>
            </p:cNvSpPr>
            <p:nvPr/>
          </p:nvSpPr>
          <p:spPr bwMode="auto">
            <a:xfrm>
              <a:off x="494823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r</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24" name="Rectangle 23"/>
            <p:cNvSpPr>
              <a:spLocks noChangeArrowheads="1"/>
            </p:cNvSpPr>
            <p:nvPr/>
          </p:nvSpPr>
          <p:spPr bwMode="auto">
            <a:xfrm>
              <a:off x="5016501" y="5129096"/>
              <a:ext cx="1762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tana Analytics answe</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25" name="Rectangle 24"/>
            <p:cNvSpPr>
              <a:spLocks noChangeArrowheads="1"/>
            </p:cNvSpPr>
            <p:nvPr/>
          </p:nvSpPr>
          <p:spPr bwMode="auto">
            <a:xfrm>
              <a:off x="656748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r</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26" name="Rectangle 25"/>
            <p:cNvSpPr>
              <a:spLocks noChangeArrowheads="1"/>
            </p:cNvSpPr>
            <p:nvPr/>
          </p:nvSpPr>
          <p:spPr bwMode="auto">
            <a:xfrm>
              <a:off x="6630988" y="5129096"/>
              <a:ext cx="995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rPr>
                <a:t>s questions</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27" name="Freeform 26"/>
            <p:cNvSpPr>
              <a:spLocks noEditPoints="1"/>
            </p:cNvSpPr>
            <p:nvPr/>
          </p:nvSpPr>
          <p:spPr bwMode="auto">
            <a:xfrm>
              <a:off x="4606926" y="3419359"/>
              <a:ext cx="2982913" cy="1651000"/>
            </a:xfrm>
            <a:custGeom>
              <a:avLst/>
              <a:gdLst>
                <a:gd name="T0" fmla="*/ 162 w 794"/>
                <a:gd name="T1" fmla="*/ 6 h 439"/>
                <a:gd name="T2" fmla="*/ 201 w 794"/>
                <a:gd name="T3" fmla="*/ 8 h 439"/>
                <a:gd name="T4" fmla="*/ 223 w 794"/>
                <a:gd name="T5" fmla="*/ 7 h 439"/>
                <a:gd name="T6" fmla="*/ 269 w 794"/>
                <a:gd name="T7" fmla="*/ 0 h 439"/>
                <a:gd name="T8" fmla="*/ 277 w 794"/>
                <a:gd name="T9" fmla="*/ 7 h 439"/>
                <a:gd name="T10" fmla="*/ 315 w 794"/>
                <a:gd name="T11" fmla="*/ 0 h 439"/>
                <a:gd name="T12" fmla="*/ 345 w 794"/>
                <a:gd name="T13" fmla="*/ 0 h 439"/>
                <a:gd name="T14" fmla="*/ 383 w 794"/>
                <a:gd name="T15" fmla="*/ 7 h 439"/>
                <a:gd name="T16" fmla="*/ 429 w 794"/>
                <a:gd name="T17" fmla="*/ 0 h 439"/>
                <a:gd name="T18" fmla="*/ 436 w 794"/>
                <a:gd name="T19" fmla="*/ 7 h 439"/>
                <a:gd name="T20" fmla="*/ 474 w 794"/>
                <a:gd name="T21" fmla="*/ 0 h 439"/>
                <a:gd name="T22" fmla="*/ 505 w 794"/>
                <a:gd name="T23" fmla="*/ 0 h 439"/>
                <a:gd name="T24" fmla="*/ 543 w 794"/>
                <a:gd name="T25" fmla="*/ 7 h 439"/>
                <a:gd name="T26" fmla="*/ 589 w 794"/>
                <a:gd name="T27" fmla="*/ 0 h 439"/>
                <a:gd name="T28" fmla="*/ 612 w 794"/>
                <a:gd name="T29" fmla="*/ 2 h 439"/>
                <a:gd name="T30" fmla="*/ 618 w 794"/>
                <a:gd name="T31" fmla="*/ 11 h 439"/>
                <a:gd name="T32" fmla="*/ 657 w 794"/>
                <a:gd name="T33" fmla="*/ 14 h 439"/>
                <a:gd name="T34" fmla="*/ 685 w 794"/>
                <a:gd name="T35" fmla="*/ 27 h 439"/>
                <a:gd name="T36" fmla="*/ 711 w 794"/>
                <a:gd name="T37" fmla="*/ 55 h 439"/>
                <a:gd name="T38" fmla="*/ 749 w 794"/>
                <a:gd name="T39" fmla="*/ 82 h 439"/>
                <a:gd name="T40" fmla="*/ 747 w 794"/>
                <a:gd name="T41" fmla="*/ 93 h 439"/>
                <a:gd name="T42" fmla="*/ 773 w 794"/>
                <a:gd name="T43" fmla="*/ 122 h 439"/>
                <a:gd name="T44" fmla="*/ 784 w 794"/>
                <a:gd name="T45" fmla="*/ 151 h 439"/>
                <a:gd name="T46" fmla="*/ 785 w 794"/>
                <a:gd name="T47" fmla="*/ 189 h 439"/>
                <a:gd name="T48" fmla="*/ 794 w 794"/>
                <a:gd name="T49" fmla="*/ 235 h 439"/>
                <a:gd name="T50" fmla="*/ 791 w 794"/>
                <a:gd name="T51" fmla="*/ 258 h 439"/>
                <a:gd name="T52" fmla="*/ 783 w 794"/>
                <a:gd name="T53" fmla="*/ 264 h 439"/>
                <a:gd name="T54" fmla="*/ 779 w 794"/>
                <a:gd name="T55" fmla="*/ 303 h 439"/>
                <a:gd name="T56" fmla="*/ 766 w 794"/>
                <a:gd name="T57" fmla="*/ 330 h 439"/>
                <a:gd name="T58" fmla="*/ 738 w 794"/>
                <a:gd name="T59" fmla="*/ 357 h 439"/>
                <a:gd name="T60" fmla="*/ 711 w 794"/>
                <a:gd name="T61" fmla="*/ 394 h 439"/>
                <a:gd name="T62" fmla="*/ 700 w 794"/>
                <a:gd name="T63" fmla="*/ 393 h 439"/>
                <a:gd name="T64" fmla="*/ 671 w 794"/>
                <a:gd name="T65" fmla="*/ 419 h 439"/>
                <a:gd name="T66" fmla="*/ 642 w 794"/>
                <a:gd name="T67" fmla="*/ 430 h 439"/>
                <a:gd name="T68" fmla="*/ 604 w 794"/>
                <a:gd name="T69" fmla="*/ 430 h 439"/>
                <a:gd name="T70" fmla="*/ 558 w 794"/>
                <a:gd name="T71" fmla="*/ 439 h 439"/>
                <a:gd name="T72" fmla="*/ 551 w 794"/>
                <a:gd name="T73" fmla="*/ 432 h 439"/>
                <a:gd name="T74" fmla="*/ 513 w 794"/>
                <a:gd name="T75" fmla="*/ 439 h 439"/>
                <a:gd name="T76" fmla="*/ 482 w 794"/>
                <a:gd name="T77" fmla="*/ 439 h 439"/>
                <a:gd name="T78" fmla="*/ 444 w 794"/>
                <a:gd name="T79" fmla="*/ 432 h 439"/>
                <a:gd name="T80" fmla="*/ 399 w 794"/>
                <a:gd name="T81" fmla="*/ 439 h 439"/>
                <a:gd name="T82" fmla="*/ 391 w 794"/>
                <a:gd name="T83" fmla="*/ 432 h 439"/>
                <a:gd name="T84" fmla="*/ 353 w 794"/>
                <a:gd name="T85" fmla="*/ 439 h 439"/>
                <a:gd name="T86" fmla="*/ 323 w 794"/>
                <a:gd name="T87" fmla="*/ 439 h 439"/>
                <a:gd name="T88" fmla="*/ 284 w 794"/>
                <a:gd name="T89" fmla="*/ 432 h 439"/>
                <a:gd name="T90" fmla="*/ 239 w 794"/>
                <a:gd name="T91" fmla="*/ 439 h 439"/>
                <a:gd name="T92" fmla="*/ 231 w 794"/>
                <a:gd name="T93" fmla="*/ 432 h 439"/>
                <a:gd name="T94" fmla="*/ 193 w 794"/>
                <a:gd name="T95" fmla="*/ 438 h 439"/>
                <a:gd name="T96" fmla="*/ 162 w 794"/>
                <a:gd name="T97" fmla="*/ 433 h 439"/>
                <a:gd name="T98" fmla="*/ 129 w 794"/>
                <a:gd name="T99" fmla="*/ 413 h 439"/>
                <a:gd name="T100" fmla="*/ 86 w 794"/>
                <a:gd name="T101" fmla="*/ 396 h 439"/>
                <a:gd name="T102" fmla="*/ 85 w 794"/>
                <a:gd name="T103" fmla="*/ 386 h 439"/>
                <a:gd name="T104" fmla="*/ 52 w 794"/>
                <a:gd name="T105" fmla="*/ 365 h 439"/>
                <a:gd name="T106" fmla="*/ 34 w 794"/>
                <a:gd name="T107" fmla="*/ 340 h 439"/>
                <a:gd name="T108" fmla="*/ 23 w 794"/>
                <a:gd name="T109" fmla="*/ 303 h 439"/>
                <a:gd name="T110" fmla="*/ 3 w 794"/>
                <a:gd name="T111" fmla="*/ 261 h 439"/>
                <a:gd name="T112" fmla="*/ 10 w 794"/>
                <a:gd name="T113" fmla="*/ 252 h 439"/>
                <a:gd name="T114" fmla="*/ 8 w 794"/>
                <a:gd name="T115" fmla="*/ 225 h 439"/>
                <a:gd name="T116" fmla="*/ 1 w 794"/>
                <a:gd name="T117" fmla="*/ 192 h 439"/>
                <a:gd name="T118" fmla="*/ 7 w 794"/>
                <a:gd name="T119" fmla="*/ 16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4" h="439">
                  <a:moveTo>
                    <a:pt x="155" y="8"/>
                  </a:moveTo>
                  <a:cubicBezTo>
                    <a:pt x="153" y="9"/>
                    <a:pt x="151" y="9"/>
                    <a:pt x="149" y="10"/>
                  </a:cubicBezTo>
                  <a:cubicBezTo>
                    <a:pt x="151" y="17"/>
                    <a:pt x="151" y="17"/>
                    <a:pt x="151" y="17"/>
                  </a:cubicBezTo>
                  <a:cubicBezTo>
                    <a:pt x="153" y="17"/>
                    <a:pt x="155" y="16"/>
                    <a:pt x="157" y="15"/>
                  </a:cubicBezTo>
                  <a:cubicBezTo>
                    <a:pt x="155" y="8"/>
                    <a:pt x="155" y="8"/>
                    <a:pt x="155" y="8"/>
                  </a:cubicBezTo>
                  <a:close/>
                  <a:moveTo>
                    <a:pt x="177" y="3"/>
                  </a:moveTo>
                  <a:cubicBezTo>
                    <a:pt x="172" y="4"/>
                    <a:pt x="167" y="5"/>
                    <a:pt x="162" y="6"/>
                  </a:cubicBezTo>
                  <a:cubicBezTo>
                    <a:pt x="164" y="14"/>
                    <a:pt x="164" y="14"/>
                    <a:pt x="164" y="14"/>
                  </a:cubicBezTo>
                  <a:cubicBezTo>
                    <a:pt x="169" y="12"/>
                    <a:pt x="174" y="11"/>
                    <a:pt x="179" y="10"/>
                  </a:cubicBezTo>
                  <a:cubicBezTo>
                    <a:pt x="177" y="3"/>
                    <a:pt x="177" y="3"/>
                    <a:pt x="177" y="3"/>
                  </a:cubicBezTo>
                  <a:close/>
                  <a:moveTo>
                    <a:pt x="200" y="0"/>
                  </a:moveTo>
                  <a:cubicBezTo>
                    <a:pt x="195" y="0"/>
                    <a:pt x="190" y="1"/>
                    <a:pt x="185" y="2"/>
                  </a:cubicBezTo>
                  <a:cubicBezTo>
                    <a:pt x="186" y="9"/>
                    <a:pt x="186" y="9"/>
                    <a:pt x="186" y="9"/>
                  </a:cubicBezTo>
                  <a:cubicBezTo>
                    <a:pt x="191" y="9"/>
                    <a:pt x="196" y="8"/>
                    <a:pt x="201" y="8"/>
                  </a:cubicBezTo>
                  <a:cubicBezTo>
                    <a:pt x="200" y="0"/>
                    <a:pt x="200" y="0"/>
                    <a:pt x="200" y="0"/>
                  </a:cubicBezTo>
                  <a:close/>
                  <a:moveTo>
                    <a:pt x="223" y="0"/>
                  </a:moveTo>
                  <a:cubicBezTo>
                    <a:pt x="214" y="0"/>
                    <a:pt x="214" y="0"/>
                    <a:pt x="214" y="0"/>
                  </a:cubicBezTo>
                  <a:cubicBezTo>
                    <a:pt x="212" y="0"/>
                    <a:pt x="210" y="0"/>
                    <a:pt x="208" y="0"/>
                  </a:cubicBezTo>
                  <a:cubicBezTo>
                    <a:pt x="208" y="7"/>
                    <a:pt x="208" y="7"/>
                    <a:pt x="208" y="7"/>
                  </a:cubicBezTo>
                  <a:cubicBezTo>
                    <a:pt x="210" y="7"/>
                    <a:pt x="212" y="7"/>
                    <a:pt x="214" y="7"/>
                  </a:cubicBezTo>
                  <a:cubicBezTo>
                    <a:pt x="223" y="7"/>
                    <a:pt x="223" y="7"/>
                    <a:pt x="223" y="7"/>
                  </a:cubicBezTo>
                  <a:cubicBezTo>
                    <a:pt x="223" y="0"/>
                    <a:pt x="223" y="0"/>
                    <a:pt x="223" y="0"/>
                  </a:cubicBezTo>
                  <a:close/>
                  <a:moveTo>
                    <a:pt x="246" y="0"/>
                  </a:moveTo>
                  <a:cubicBezTo>
                    <a:pt x="231" y="0"/>
                    <a:pt x="231" y="0"/>
                    <a:pt x="231" y="0"/>
                  </a:cubicBezTo>
                  <a:cubicBezTo>
                    <a:pt x="231" y="7"/>
                    <a:pt x="231" y="7"/>
                    <a:pt x="231" y="7"/>
                  </a:cubicBezTo>
                  <a:cubicBezTo>
                    <a:pt x="246" y="7"/>
                    <a:pt x="246" y="7"/>
                    <a:pt x="246" y="7"/>
                  </a:cubicBezTo>
                  <a:lnTo>
                    <a:pt x="246" y="0"/>
                  </a:lnTo>
                  <a:close/>
                  <a:moveTo>
                    <a:pt x="269" y="0"/>
                  </a:moveTo>
                  <a:cubicBezTo>
                    <a:pt x="254" y="0"/>
                    <a:pt x="254" y="0"/>
                    <a:pt x="254" y="0"/>
                  </a:cubicBezTo>
                  <a:cubicBezTo>
                    <a:pt x="254" y="7"/>
                    <a:pt x="254" y="7"/>
                    <a:pt x="254" y="7"/>
                  </a:cubicBezTo>
                  <a:cubicBezTo>
                    <a:pt x="269" y="7"/>
                    <a:pt x="269" y="7"/>
                    <a:pt x="269" y="7"/>
                  </a:cubicBezTo>
                  <a:lnTo>
                    <a:pt x="269" y="0"/>
                  </a:lnTo>
                  <a:close/>
                  <a:moveTo>
                    <a:pt x="292" y="0"/>
                  </a:moveTo>
                  <a:cubicBezTo>
                    <a:pt x="277" y="0"/>
                    <a:pt x="277" y="0"/>
                    <a:pt x="277" y="0"/>
                  </a:cubicBezTo>
                  <a:cubicBezTo>
                    <a:pt x="277" y="7"/>
                    <a:pt x="277" y="7"/>
                    <a:pt x="277" y="7"/>
                  </a:cubicBezTo>
                  <a:cubicBezTo>
                    <a:pt x="292" y="7"/>
                    <a:pt x="292" y="7"/>
                    <a:pt x="292" y="7"/>
                  </a:cubicBezTo>
                  <a:lnTo>
                    <a:pt x="292" y="0"/>
                  </a:lnTo>
                  <a:close/>
                  <a:moveTo>
                    <a:pt x="315" y="0"/>
                  </a:moveTo>
                  <a:cubicBezTo>
                    <a:pt x="299" y="0"/>
                    <a:pt x="299" y="0"/>
                    <a:pt x="299" y="0"/>
                  </a:cubicBezTo>
                  <a:cubicBezTo>
                    <a:pt x="299" y="7"/>
                    <a:pt x="299" y="7"/>
                    <a:pt x="299" y="7"/>
                  </a:cubicBezTo>
                  <a:cubicBezTo>
                    <a:pt x="315" y="7"/>
                    <a:pt x="315" y="7"/>
                    <a:pt x="315" y="7"/>
                  </a:cubicBezTo>
                  <a:lnTo>
                    <a:pt x="315" y="0"/>
                  </a:lnTo>
                  <a:close/>
                  <a:moveTo>
                    <a:pt x="337" y="0"/>
                  </a:moveTo>
                  <a:cubicBezTo>
                    <a:pt x="322" y="0"/>
                    <a:pt x="322" y="0"/>
                    <a:pt x="322" y="0"/>
                  </a:cubicBezTo>
                  <a:cubicBezTo>
                    <a:pt x="322" y="7"/>
                    <a:pt x="322" y="7"/>
                    <a:pt x="322" y="7"/>
                  </a:cubicBezTo>
                  <a:cubicBezTo>
                    <a:pt x="337" y="7"/>
                    <a:pt x="337" y="7"/>
                    <a:pt x="337" y="7"/>
                  </a:cubicBezTo>
                  <a:lnTo>
                    <a:pt x="337" y="0"/>
                  </a:lnTo>
                  <a:close/>
                  <a:moveTo>
                    <a:pt x="360" y="0"/>
                  </a:moveTo>
                  <a:cubicBezTo>
                    <a:pt x="345" y="0"/>
                    <a:pt x="345" y="0"/>
                    <a:pt x="345" y="0"/>
                  </a:cubicBezTo>
                  <a:cubicBezTo>
                    <a:pt x="345" y="7"/>
                    <a:pt x="345" y="7"/>
                    <a:pt x="345" y="7"/>
                  </a:cubicBezTo>
                  <a:cubicBezTo>
                    <a:pt x="360" y="7"/>
                    <a:pt x="360" y="7"/>
                    <a:pt x="360" y="7"/>
                  </a:cubicBezTo>
                  <a:lnTo>
                    <a:pt x="360" y="0"/>
                  </a:lnTo>
                  <a:close/>
                  <a:moveTo>
                    <a:pt x="383" y="0"/>
                  </a:moveTo>
                  <a:cubicBezTo>
                    <a:pt x="368" y="0"/>
                    <a:pt x="368" y="0"/>
                    <a:pt x="368" y="0"/>
                  </a:cubicBezTo>
                  <a:cubicBezTo>
                    <a:pt x="368" y="7"/>
                    <a:pt x="368" y="7"/>
                    <a:pt x="368" y="7"/>
                  </a:cubicBezTo>
                  <a:cubicBezTo>
                    <a:pt x="383" y="7"/>
                    <a:pt x="383" y="7"/>
                    <a:pt x="383" y="7"/>
                  </a:cubicBezTo>
                  <a:lnTo>
                    <a:pt x="383" y="0"/>
                  </a:lnTo>
                  <a:close/>
                  <a:moveTo>
                    <a:pt x="406" y="0"/>
                  </a:moveTo>
                  <a:cubicBezTo>
                    <a:pt x="391" y="0"/>
                    <a:pt x="391" y="0"/>
                    <a:pt x="391" y="0"/>
                  </a:cubicBezTo>
                  <a:cubicBezTo>
                    <a:pt x="391" y="7"/>
                    <a:pt x="391" y="7"/>
                    <a:pt x="391" y="7"/>
                  </a:cubicBezTo>
                  <a:cubicBezTo>
                    <a:pt x="406" y="7"/>
                    <a:pt x="406" y="7"/>
                    <a:pt x="406" y="7"/>
                  </a:cubicBezTo>
                  <a:lnTo>
                    <a:pt x="406" y="0"/>
                  </a:lnTo>
                  <a:close/>
                  <a:moveTo>
                    <a:pt x="429" y="0"/>
                  </a:moveTo>
                  <a:cubicBezTo>
                    <a:pt x="414" y="0"/>
                    <a:pt x="414" y="0"/>
                    <a:pt x="414" y="0"/>
                  </a:cubicBezTo>
                  <a:cubicBezTo>
                    <a:pt x="414" y="7"/>
                    <a:pt x="414" y="7"/>
                    <a:pt x="414" y="7"/>
                  </a:cubicBezTo>
                  <a:cubicBezTo>
                    <a:pt x="429" y="7"/>
                    <a:pt x="429" y="7"/>
                    <a:pt x="429" y="7"/>
                  </a:cubicBezTo>
                  <a:lnTo>
                    <a:pt x="429" y="0"/>
                  </a:lnTo>
                  <a:close/>
                  <a:moveTo>
                    <a:pt x="452" y="0"/>
                  </a:moveTo>
                  <a:cubicBezTo>
                    <a:pt x="436" y="0"/>
                    <a:pt x="436" y="0"/>
                    <a:pt x="436" y="0"/>
                  </a:cubicBezTo>
                  <a:cubicBezTo>
                    <a:pt x="436" y="7"/>
                    <a:pt x="436" y="7"/>
                    <a:pt x="436" y="7"/>
                  </a:cubicBezTo>
                  <a:cubicBezTo>
                    <a:pt x="452" y="7"/>
                    <a:pt x="452" y="7"/>
                    <a:pt x="452" y="7"/>
                  </a:cubicBezTo>
                  <a:lnTo>
                    <a:pt x="452" y="0"/>
                  </a:lnTo>
                  <a:close/>
                  <a:moveTo>
                    <a:pt x="474" y="0"/>
                  </a:moveTo>
                  <a:cubicBezTo>
                    <a:pt x="459" y="0"/>
                    <a:pt x="459" y="0"/>
                    <a:pt x="459" y="0"/>
                  </a:cubicBezTo>
                  <a:cubicBezTo>
                    <a:pt x="459" y="7"/>
                    <a:pt x="459" y="7"/>
                    <a:pt x="459" y="7"/>
                  </a:cubicBezTo>
                  <a:cubicBezTo>
                    <a:pt x="474" y="7"/>
                    <a:pt x="474" y="7"/>
                    <a:pt x="474" y="7"/>
                  </a:cubicBezTo>
                  <a:lnTo>
                    <a:pt x="474" y="0"/>
                  </a:lnTo>
                  <a:close/>
                  <a:moveTo>
                    <a:pt x="497" y="0"/>
                  </a:moveTo>
                  <a:cubicBezTo>
                    <a:pt x="482" y="0"/>
                    <a:pt x="482" y="0"/>
                    <a:pt x="482" y="0"/>
                  </a:cubicBezTo>
                  <a:cubicBezTo>
                    <a:pt x="482" y="7"/>
                    <a:pt x="482" y="7"/>
                    <a:pt x="482" y="7"/>
                  </a:cubicBezTo>
                  <a:cubicBezTo>
                    <a:pt x="497" y="7"/>
                    <a:pt x="497" y="7"/>
                    <a:pt x="497" y="7"/>
                  </a:cubicBezTo>
                  <a:lnTo>
                    <a:pt x="497" y="0"/>
                  </a:lnTo>
                  <a:close/>
                  <a:moveTo>
                    <a:pt x="520" y="0"/>
                  </a:moveTo>
                  <a:cubicBezTo>
                    <a:pt x="505" y="0"/>
                    <a:pt x="505" y="0"/>
                    <a:pt x="505" y="0"/>
                  </a:cubicBezTo>
                  <a:cubicBezTo>
                    <a:pt x="505" y="7"/>
                    <a:pt x="505" y="7"/>
                    <a:pt x="505" y="7"/>
                  </a:cubicBezTo>
                  <a:cubicBezTo>
                    <a:pt x="520" y="7"/>
                    <a:pt x="520" y="7"/>
                    <a:pt x="520" y="7"/>
                  </a:cubicBezTo>
                  <a:lnTo>
                    <a:pt x="520" y="0"/>
                  </a:lnTo>
                  <a:close/>
                  <a:moveTo>
                    <a:pt x="543" y="0"/>
                  </a:moveTo>
                  <a:cubicBezTo>
                    <a:pt x="528" y="0"/>
                    <a:pt x="528" y="0"/>
                    <a:pt x="528" y="0"/>
                  </a:cubicBezTo>
                  <a:cubicBezTo>
                    <a:pt x="528" y="7"/>
                    <a:pt x="528" y="7"/>
                    <a:pt x="528" y="7"/>
                  </a:cubicBezTo>
                  <a:cubicBezTo>
                    <a:pt x="543" y="7"/>
                    <a:pt x="543" y="7"/>
                    <a:pt x="543" y="7"/>
                  </a:cubicBezTo>
                  <a:lnTo>
                    <a:pt x="543" y="0"/>
                  </a:lnTo>
                  <a:close/>
                  <a:moveTo>
                    <a:pt x="566" y="0"/>
                  </a:moveTo>
                  <a:cubicBezTo>
                    <a:pt x="551" y="0"/>
                    <a:pt x="551" y="0"/>
                    <a:pt x="551" y="0"/>
                  </a:cubicBezTo>
                  <a:cubicBezTo>
                    <a:pt x="551" y="7"/>
                    <a:pt x="551" y="7"/>
                    <a:pt x="551" y="7"/>
                  </a:cubicBezTo>
                  <a:cubicBezTo>
                    <a:pt x="566" y="7"/>
                    <a:pt x="566" y="7"/>
                    <a:pt x="566" y="7"/>
                  </a:cubicBezTo>
                  <a:lnTo>
                    <a:pt x="566" y="0"/>
                  </a:lnTo>
                  <a:close/>
                  <a:moveTo>
                    <a:pt x="589" y="0"/>
                  </a:moveTo>
                  <a:cubicBezTo>
                    <a:pt x="586" y="0"/>
                    <a:pt x="583" y="0"/>
                    <a:pt x="580" y="0"/>
                  </a:cubicBezTo>
                  <a:cubicBezTo>
                    <a:pt x="573" y="0"/>
                    <a:pt x="573" y="0"/>
                    <a:pt x="573" y="0"/>
                  </a:cubicBezTo>
                  <a:cubicBezTo>
                    <a:pt x="573" y="7"/>
                    <a:pt x="573" y="7"/>
                    <a:pt x="573" y="7"/>
                  </a:cubicBezTo>
                  <a:cubicBezTo>
                    <a:pt x="580" y="7"/>
                    <a:pt x="580" y="7"/>
                    <a:pt x="580" y="7"/>
                  </a:cubicBezTo>
                  <a:cubicBezTo>
                    <a:pt x="583" y="7"/>
                    <a:pt x="586" y="7"/>
                    <a:pt x="588" y="7"/>
                  </a:cubicBezTo>
                  <a:cubicBezTo>
                    <a:pt x="589" y="0"/>
                    <a:pt x="589" y="0"/>
                    <a:pt x="589" y="0"/>
                  </a:cubicBezTo>
                  <a:close/>
                  <a:moveTo>
                    <a:pt x="612" y="2"/>
                  </a:moveTo>
                  <a:cubicBezTo>
                    <a:pt x="607" y="1"/>
                    <a:pt x="602" y="1"/>
                    <a:pt x="596" y="0"/>
                  </a:cubicBezTo>
                  <a:cubicBezTo>
                    <a:pt x="596" y="8"/>
                    <a:pt x="596" y="8"/>
                    <a:pt x="596" y="8"/>
                  </a:cubicBezTo>
                  <a:cubicBezTo>
                    <a:pt x="601" y="8"/>
                    <a:pt x="606" y="9"/>
                    <a:pt x="611" y="10"/>
                  </a:cubicBezTo>
                  <a:cubicBezTo>
                    <a:pt x="612" y="2"/>
                    <a:pt x="612" y="2"/>
                    <a:pt x="612" y="2"/>
                  </a:cubicBezTo>
                  <a:close/>
                  <a:moveTo>
                    <a:pt x="635" y="7"/>
                  </a:moveTo>
                  <a:cubicBezTo>
                    <a:pt x="630" y="5"/>
                    <a:pt x="625" y="4"/>
                    <a:pt x="619" y="3"/>
                  </a:cubicBezTo>
                  <a:cubicBezTo>
                    <a:pt x="618" y="11"/>
                    <a:pt x="618" y="11"/>
                    <a:pt x="618" y="11"/>
                  </a:cubicBezTo>
                  <a:cubicBezTo>
                    <a:pt x="623" y="12"/>
                    <a:pt x="628" y="13"/>
                    <a:pt x="633" y="14"/>
                  </a:cubicBezTo>
                  <a:cubicBezTo>
                    <a:pt x="635" y="7"/>
                    <a:pt x="635" y="7"/>
                    <a:pt x="635" y="7"/>
                  </a:cubicBezTo>
                  <a:close/>
                  <a:moveTo>
                    <a:pt x="657" y="14"/>
                  </a:moveTo>
                  <a:cubicBezTo>
                    <a:pt x="652" y="12"/>
                    <a:pt x="647" y="10"/>
                    <a:pt x="642" y="9"/>
                  </a:cubicBezTo>
                  <a:cubicBezTo>
                    <a:pt x="640" y="16"/>
                    <a:pt x="640" y="16"/>
                    <a:pt x="640" y="16"/>
                  </a:cubicBezTo>
                  <a:cubicBezTo>
                    <a:pt x="645" y="18"/>
                    <a:pt x="649" y="19"/>
                    <a:pt x="654" y="21"/>
                  </a:cubicBezTo>
                  <a:cubicBezTo>
                    <a:pt x="657" y="14"/>
                    <a:pt x="657" y="14"/>
                    <a:pt x="657" y="14"/>
                  </a:cubicBezTo>
                  <a:close/>
                  <a:moveTo>
                    <a:pt x="678" y="23"/>
                  </a:moveTo>
                  <a:cubicBezTo>
                    <a:pt x="673" y="21"/>
                    <a:pt x="669" y="19"/>
                    <a:pt x="664" y="17"/>
                  </a:cubicBezTo>
                  <a:cubicBezTo>
                    <a:pt x="661" y="24"/>
                    <a:pt x="661" y="24"/>
                    <a:pt x="661" y="24"/>
                  </a:cubicBezTo>
                  <a:cubicBezTo>
                    <a:pt x="665" y="26"/>
                    <a:pt x="670" y="28"/>
                    <a:pt x="674" y="30"/>
                  </a:cubicBezTo>
                  <a:cubicBezTo>
                    <a:pt x="678" y="23"/>
                    <a:pt x="678" y="23"/>
                    <a:pt x="678" y="23"/>
                  </a:cubicBezTo>
                  <a:close/>
                  <a:moveTo>
                    <a:pt x="698" y="35"/>
                  </a:moveTo>
                  <a:cubicBezTo>
                    <a:pt x="694" y="32"/>
                    <a:pt x="689" y="30"/>
                    <a:pt x="685" y="27"/>
                  </a:cubicBezTo>
                  <a:cubicBezTo>
                    <a:pt x="681" y="34"/>
                    <a:pt x="681" y="34"/>
                    <a:pt x="681" y="34"/>
                  </a:cubicBezTo>
                  <a:cubicBezTo>
                    <a:pt x="685" y="36"/>
                    <a:pt x="689" y="39"/>
                    <a:pt x="694" y="42"/>
                  </a:cubicBezTo>
                  <a:lnTo>
                    <a:pt x="698" y="35"/>
                  </a:lnTo>
                  <a:close/>
                  <a:moveTo>
                    <a:pt x="716" y="49"/>
                  </a:moveTo>
                  <a:cubicBezTo>
                    <a:pt x="712" y="46"/>
                    <a:pt x="708" y="42"/>
                    <a:pt x="704" y="39"/>
                  </a:cubicBezTo>
                  <a:cubicBezTo>
                    <a:pt x="700" y="46"/>
                    <a:pt x="700" y="46"/>
                    <a:pt x="700" y="46"/>
                  </a:cubicBezTo>
                  <a:cubicBezTo>
                    <a:pt x="704" y="49"/>
                    <a:pt x="708" y="52"/>
                    <a:pt x="711" y="55"/>
                  </a:cubicBezTo>
                  <a:cubicBezTo>
                    <a:pt x="716" y="49"/>
                    <a:pt x="716" y="49"/>
                    <a:pt x="716" y="49"/>
                  </a:cubicBezTo>
                  <a:close/>
                  <a:moveTo>
                    <a:pt x="733" y="65"/>
                  </a:moveTo>
                  <a:cubicBezTo>
                    <a:pt x="730" y="61"/>
                    <a:pt x="726" y="57"/>
                    <a:pt x="722" y="54"/>
                  </a:cubicBezTo>
                  <a:cubicBezTo>
                    <a:pt x="717" y="60"/>
                    <a:pt x="717" y="60"/>
                    <a:pt x="717" y="60"/>
                  </a:cubicBezTo>
                  <a:cubicBezTo>
                    <a:pt x="721" y="63"/>
                    <a:pt x="724" y="67"/>
                    <a:pt x="728" y="70"/>
                  </a:cubicBezTo>
                  <a:lnTo>
                    <a:pt x="733" y="65"/>
                  </a:lnTo>
                  <a:close/>
                  <a:moveTo>
                    <a:pt x="749" y="82"/>
                  </a:moveTo>
                  <a:cubicBezTo>
                    <a:pt x="746" y="78"/>
                    <a:pt x="742" y="74"/>
                    <a:pt x="739" y="70"/>
                  </a:cubicBezTo>
                  <a:cubicBezTo>
                    <a:pt x="733" y="76"/>
                    <a:pt x="733" y="76"/>
                    <a:pt x="733" y="76"/>
                  </a:cubicBezTo>
                  <a:cubicBezTo>
                    <a:pt x="736" y="79"/>
                    <a:pt x="740" y="83"/>
                    <a:pt x="743" y="87"/>
                  </a:cubicBezTo>
                  <a:cubicBezTo>
                    <a:pt x="749" y="82"/>
                    <a:pt x="749" y="82"/>
                    <a:pt x="749" y="82"/>
                  </a:cubicBezTo>
                  <a:close/>
                  <a:moveTo>
                    <a:pt x="762" y="101"/>
                  </a:moveTo>
                  <a:cubicBezTo>
                    <a:pt x="759" y="97"/>
                    <a:pt x="756" y="93"/>
                    <a:pt x="753" y="88"/>
                  </a:cubicBezTo>
                  <a:cubicBezTo>
                    <a:pt x="747" y="93"/>
                    <a:pt x="747" y="93"/>
                    <a:pt x="747" y="93"/>
                  </a:cubicBezTo>
                  <a:cubicBezTo>
                    <a:pt x="750" y="97"/>
                    <a:pt x="753" y="101"/>
                    <a:pt x="755" y="105"/>
                  </a:cubicBezTo>
                  <a:cubicBezTo>
                    <a:pt x="762" y="101"/>
                    <a:pt x="762" y="101"/>
                    <a:pt x="762" y="101"/>
                  </a:cubicBezTo>
                  <a:close/>
                  <a:moveTo>
                    <a:pt x="773" y="122"/>
                  </a:moveTo>
                  <a:cubicBezTo>
                    <a:pt x="771" y="117"/>
                    <a:pt x="769" y="112"/>
                    <a:pt x="766" y="108"/>
                  </a:cubicBezTo>
                  <a:cubicBezTo>
                    <a:pt x="759" y="112"/>
                    <a:pt x="759" y="112"/>
                    <a:pt x="759" y="112"/>
                  </a:cubicBezTo>
                  <a:cubicBezTo>
                    <a:pt x="762" y="116"/>
                    <a:pt x="764" y="121"/>
                    <a:pt x="766" y="125"/>
                  </a:cubicBezTo>
                  <a:cubicBezTo>
                    <a:pt x="773" y="122"/>
                    <a:pt x="773" y="122"/>
                    <a:pt x="773" y="122"/>
                  </a:cubicBezTo>
                  <a:close/>
                  <a:moveTo>
                    <a:pt x="782" y="143"/>
                  </a:moveTo>
                  <a:cubicBezTo>
                    <a:pt x="780" y="138"/>
                    <a:pt x="778" y="133"/>
                    <a:pt x="776" y="129"/>
                  </a:cubicBezTo>
                  <a:cubicBezTo>
                    <a:pt x="769" y="132"/>
                    <a:pt x="769" y="132"/>
                    <a:pt x="769" y="132"/>
                  </a:cubicBezTo>
                  <a:cubicBezTo>
                    <a:pt x="771" y="136"/>
                    <a:pt x="773" y="141"/>
                    <a:pt x="775" y="146"/>
                  </a:cubicBezTo>
                  <a:cubicBezTo>
                    <a:pt x="782" y="143"/>
                    <a:pt x="782" y="143"/>
                    <a:pt x="782" y="143"/>
                  </a:cubicBezTo>
                  <a:close/>
                  <a:moveTo>
                    <a:pt x="789" y="166"/>
                  </a:moveTo>
                  <a:cubicBezTo>
                    <a:pt x="787" y="160"/>
                    <a:pt x="786" y="155"/>
                    <a:pt x="784" y="151"/>
                  </a:cubicBezTo>
                  <a:cubicBezTo>
                    <a:pt x="777" y="153"/>
                    <a:pt x="777" y="153"/>
                    <a:pt x="777" y="153"/>
                  </a:cubicBezTo>
                  <a:cubicBezTo>
                    <a:pt x="779" y="158"/>
                    <a:pt x="780" y="162"/>
                    <a:pt x="781" y="167"/>
                  </a:cubicBezTo>
                  <a:cubicBezTo>
                    <a:pt x="789" y="166"/>
                    <a:pt x="789" y="166"/>
                    <a:pt x="789" y="166"/>
                  </a:cubicBezTo>
                  <a:close/>
                  <a:moveTo>
                    <a:pt x="792" y="188"/>
                  </a:moveTo>
                  <a:cubicBezTo>
                    <a:pt x="792" y="183"/>
                    <a:pt x="791" y="178"/>
                    <a:pt x="790" y="173"/>
                  </a:cubicBezTo>
                  <a:cubicBezTo>
                    <a:pt x="783" y="175"/>
                    <a:pt x="783" y="175"/>
                    <a:pt x="783" y="175"/>
                  </a:cubicBezTo>
                  <a:cubicBezTo>
                    <a:pt x="783" y="179"/>
                    <a:pt x="784" y="184"/>
                    <a:pt x="785" y="189"/>
                  </a:cubicBezTo>
                  <a:cubicBezTo>
                    <a:pt x="792" y="188"/>
                    <a:pt x="792" y="188"/>
                    <a:pt x="792" y="188"/>
                  </a:cubicBezTo>
                  <a:close/>
                  <a:moveTo>
                    <a:pt x="794" y="212"/>
                  </a:moveTo>
                  <a:cubicBezTo>
                    <a:pt x="794" y="206"/>
                    <a:pt x="794" y="201"/>
                    <a:pt x="793" y="196"/>
                  </a:cubicBezTo>
                  <a:cubicBezTo>
                    <a:pt x="786" y="197"/>
                    <a:pt x="786" y="197"/>
                    <a:pt x="786" y="197"/>
                  </a:cubicBezTo>
                  <a:cubicBezTo>
                    <a:pt x="786" y="202"/>
                    <a:pt x="786" y="207"/>
                    <a:pt x="786" y="212"/>
                  </a:cubicBezTo>
                  <a:cubicBezTo>
                    <a:pt x="794" y="212"/>
                    <a:pt x="794" y="212"/>
                    <a:pt x="794" y="212"/>
                  </a:cubicBezTo>
                  <a:close/>
                  <a:moveTo>
                    <a:pt x="794" y="235"/>
                  </a:moveTo>
                  <a:cubicBezTo>
                    <a:pt x="794" y="232"/>
                    <a:pt x="794" y="228"/>
                    <a:pt x="794" y="225"/>
                  </a:cubicBezTo>
                  <a:cubicBezTo>
                    <a:pt x="794" y="219"/>
                    <a:pt x="794" y="219"/>
                    <a:pt x="794" y="219"/>
                  </a:cubicBezTo>
                  <a:cubicBezTo>
                    <a:pt x="786" y="219"/>
                    <a:pt x="786" y="219"/>
                    <a:pt x="786" y="219"/>
                  </a:cubicBezTo>
                  <a:cubicBezTo>
                    <a:pt x="786" y="225"/>
                    <a:pt x="786" y="225"/>
                    <a:pt x="786" y="225"/>
                  </a:cubicBezTo>
                  <a:cubicBezTo>
                    <a:pt x="786" y="228"/>
                    <a:pt x="786" y="231"/>
                    <a:pt x="786" y="234"/>
                  </a:cubicBezTo>
                  <a:lnTo>
                    <a:pt x="794" y="235"/>
                  </a:lnTo>
                  <a:close/>
                  <a:moveTo>
                    <a:pt x="791" y="258"/>
                  </a:moveTo>
                  <a:cubicBezTo>
                    <a:pt x="792" y="253"/>
                    <a:pt x="793" y="248"/>
                    <a:pt x="793" y="242"/>
                  </a:cubicBezTo>
                  <a:cubicBezTo>
                    <a:pt x="786" y="242"/>
                    <a:pt x="786" y="242"/>
                    <a:pt x="786" y="242"/>
                  </a:cubicBezTo>
                  <a:cubicBezTo>
                    <a:pt x="785" y="247"/>
                    <a:pt x="785" y="252"/>
                    <a:pt x="784" y="257"/>
                  </a:cubicBezTo>
                  <a:lnTo>
                    <a:pt x="791" y="258"/>
                  </a:lnTo>
                  <a:close/>
                  <a:moveTo>
                    <a:pt x="787" y="280"/>
                  </a:moveTo>
                  <a:cubicBezTo>
                    <a:pt x="788" y="276"/>
                    <a:pt x="789" y="270"/>
                    <a:pt x="790" y="265"/>
                  </a:cubicBezTo>
                  <a:cubicBezTo>
                    <a:pt x="783" y="264"/>
                    <a:pt x="783" y="264"/>
                    <a:pt x="783" y="264"/>
                  </a:cubicBezTo>
                  <a:cubicBezTo>
                    <a:pt x="782" y="269"/>
                    <a:pt x="780" y="274"/>
                    <a:pt x="779" y="278"/>
                  </a:cubicBezTo>
                  <a:cubicBezTo>
                    <a:pt x="787" y="280"/>
                    <a:pt x="787" y="280"/>
                    <a:pt x="787" y="280"/>
                  </a:cubicBezTo>
                  <a:close/>
                  <a:moveTo>
                    <a:pt x="779" y="303"/>
                  </a:moveTo>
                  <a:cubicBezTo>
                    <a:pt x="781" y="298"/>
                    <a:pt x="783" y="293"/>
                    <a:pt x="785" y="288"/>
                  </a:cubicBezTo>
                  <a:cubicBezTo>
                    <a:pt x="777" y="286"/>
                    <a:pt x="777" y="286"/>
                    <a:pt x="777" y="286"/>
                  </a:cubicBezTo>
                  <a:cubicBezTo>
                    <a:pt x="776" y="290"/>
                    <a:pt x="774" y="295"/>
                    <a:pt x="772" y="300"/>
                  </a:cubicBezTo>
                  <a:lnTo>
                    <a:pt x="779" y="303"/>
                  </a:lnTo>
                  <a:close/>
                  <a:moveTo>
                    <a:pt x="770" y="324"/>
                  </a:moveTo>
                  <a:cubicBezTo>
                    <a:pt x="772" y="319"/>
                    <a:pt x="774" y="314"/>
                    <a:pt x="777" y="310"/>
                  </a:cubicBezTo>
                  <a:cubicBezTo>
                    <a:pt x="769" y="307"/>
                    <a:pt x="769" y="307"/>
                    <a:pt x="769" y="307"/>
                  </a:cubicBezTo>
                  <a:cubicBezTo>
                    <a:pt x="767" y="311"/>
                    <a:pt x="765" y="316"/>
                    <a:pt x="763" y="320"/>
                  </a:cubicBezTo>
                  <a:cubicBezTo>
                    <a:pt x="770" y="324"/>
                    <a:pt x="770" y="324"/>
                    <a:pt x="770" y="324"/>
                  </a:cubicBezTo>
                  <a:close/>
                  <a:moveTo>
                    <a:pt x="758" y="344"/>
                  </a:moveTo>
                  <a:cubicBezTo>
                    <a:pt x="761" y="339"/>
                    <a:pt x="764" y="335"/>
                    <a:pt x="766" y="330"/>
                  </a:cubicBezTo>
                  <a:cubicBezTo>
                    <a:pt x="759" y="327"/>
                    <a:pt x="759" y="327"/>
                    <a:pt x="759" y="327"/>
                  </a:cubicBezTo>
                  <a:cubicBezTo>
                    <a:pt x="757" y="331"/>
                    <a:pt x="754" y="335"/>
                    <a:pt x="752" y="339"/>
                  </a:cubicBezTo>
                  <a:cubicBezTo>
                    <a:pt x="758" y="344"/>
                    <a:pt x="758" y="344"/>
                    <a:pt x="758" y="344"/>
                  </a:cubicBezTo>
                  <a:close/>
                  <a:moveTo>
                    <a:pt x="744" y="362"/>
                  </a:moveTo>
                  <a:cubicBezTo>
                    <a:pt x="747" y="358"/>
                    <a:pt x="751" y="354"/>
                    <a:pt x="754" y="350"/>
                  </a:cubicBezTo>
                  <a:cubicBezTo>
                    <a:pt x="747" y="345"/>
                    <a:pt x="747" y="345"/>
                    <a:pt x="747" y="345"/>
                  </a:cubicBezTo>
                  <a:cubicBezTo>
                    <a:pt x="744" y="349"/>
                    <a:pt x="741" y="353"/>
                    <a:pt x="738" y="357"/>
                  </a:cubicBezTo>
                  <a:cubicBezTo>
                    <a:pt x="744" y="362"/>
                    <a:pt x="744" y="362"/>
                    <a:pt x="744" y="362"/>
                  </a:cubicBezTo>
                  <a:close/>
                  <a:moveTo>
                    <a:pt x="728" y="379"/>
                  </a:moveTo>
                  <a:cubicBezTo>
                    <a:pt x="732" y="376"/>
                    <a:pt x="736" y="372"/>
                    <a:pt x="739" y="368"/>
                  </a:cubicBezTo>
                  <a:cubicBezTo>
                    <a:pt x="733" y="363"/>
                    <a:pt x="733" y="363"/>
                    <a:pt x="733" y="363"/>
                  </a:cubicBezTo>
                  <a:cubicBezTo>
                    <a:pt x="730" y="367"/>
                    <a:pt x="727" y="370"/>
                    <a:pt x="723" y="374"/>
                  </a:cubicBezTo>
                  <a:lnTo>
                    <a:pt x="728" y="379"/>
                  </a:lnTo>
                  <a:close/>
                  <a:moveTo>
                    <a:pt x="711" y="394"/>
                  </a:moveTo>
                  <a:cubicBezTo>
                    <a:pt x="715" y="391"/>
                    <a:pt x="719" y="388"/>
                    <a:pt x="723" y="384"/>
                  </a:cubicBezTo>
                  <a:cubicBezTo>
                    <a:pt x="717" y="379"/>
                    <a:pt x="717" y="379"/>
                    <a:pt x="717" y="379"/>
                  </a:cubicBezTo>
                  <a:cubicBezTo>
                    <a:pt x="714" y="382"/>
                    <a:pt x="710" y="385"/>
                    <a:pt x="706" y="388"/>
                  </a:cubicBezTo>
                  <a:cubicBezTo>
                    <a:pt x="711" y="394"/>
                    <a:pt x="711" y="394"/>
                    <a:pt x="711" y="394"/>
                  </a:cubicBezTo>
                  <a:close/>
                  <a:moveTo>
                    <a:pt x="692" y="408"/>
                  </a:moveTo>
                  <a:cubicBezTo>
                    <a:pt x="696" y="405"/>
                    <a:pt x="700" y="402"/>
                    <a:pt x="705" y="399"/>
                  </a:cubicBezTo>
                  <a:cubicBezTo>
                    <a:pt x="700" y="393"/>
                    <a:pt x="700" y="393"/>
                    <a:pt x="700" y="393"/>
                  </a:cubicBezTo>
                  <a:cubicBezTo>
                    <a:pt x="696" y="396"/>
                    <a:pt x="692" y="398"/>
                    <a:pt x="688" y="401"/>
                  </a:cubicBezTo>
                  <a:cubicBezTo>
                    <a:pt x="692" y="408"/>
                    <a:pt x="692" y="408"/>
                    <a:pt x="692" y="408"/>
                  </a:cubicBezTo>
                  <a:close/>
                  <a:moveTo>
                    <a:pt x="671" y="419"/>
                  </a:moveTo>
                  <a:cubicBezTo>
                    <a:pt x="676" y="417"/>
                    <a:pt x="680" y="414"/>
                    <a:pt x="685" y="412"/>
                  </a:cubicBezTo>
                  <a:cubicBezTo>
                    <a:pt x="681" y="405"/>
                    <a:pt x="681" y="405"/>
                    <a:pt x="681" y="405"/>
                  </a:cubicBezTo>
                  <a:cubicBezTo>
                    <a:pt x="677" y="407"/>
                    <a:pt x="672" y="410"/>
                    <a:pt x="668" y="412"/>
                  </a:cubicBezTo>
                  <a:lnTo>
                    <a:pt x="671" y="419"/>
                  </a:lnTo>
                  <a:close/>
                  <a:moveTo>
                    <a:pt x="650" y="428"/>
                  </a:moveTo>
                  <a:cubicBezTo>
                    <a:pt x="655" y="426"/>
                    <a:pt x="659" y="424"/>
                    <a:pt x="664" y="422"/>
                  </a:cubicBezTo>
                  <a:cubicBezTo>
                    <a:pt x="661" y="415"/>
                    <a:pt x="661" y="415"/>
                    <a:pt x="661" y="415"/>
                  </a:cubicBezTo>
                  <a:cubicBezTo>
                    <a:pt x="656" y="417"/>
                    <a:pt x="652" y="419"/>
                    <a:pt x="647" y="420"/>
                  </a:cubicBezTo>
                  <a:cubicBezTo>
                    <a:pt x="650" y="428"/>
                    <a:pt x="650" y="428"/>
                    <a:pt x="650" y="428"/>
                  </a:cubicBezTo>
                  <a:close/>
                  <a:moveTo>
                    <a:pt x="627" y="434"/>
                  </a:moveTo>
                  <a:cubicBezTo>
                    <a:pt x="632" y="433"/>
                    <a:pt x="637" y="431"/>
                    <a:pt x="642" y="430"/>
                  </a:cubicBezTo>
                  <a:cubicBezTo>
                    <a:pt x="640" y="423"/>
                    <a:pt x="640" y="423"/>
                    <a:pt x="640" y="423"/>
                  </a:cubicBezTo>
                  <a:cubicBezTo>
                    <a:pt x="635" y="424"/>
                    <a:pt x="630" y="425"/>
                    <a:pt x="626" y="426"/>
                  </a:cubicBezTo>
                  <a:lnTo>
                    <a:pt x="627" y="434"/>
                  </a:lnTo>
                  <a:close/>
                  <a:moveTo>
                    <a:pt x="604" y="438"/>
                  </a:moveTo>
                  <a:cubicBezTo>
                    <a:pt x="610" y="437"/>
                    <a:pt x="615" y="437"/>
                    <a:pt x="620" y="436"/>
                  </a:cubicBezTo>
                  <a:cubicBezTo>
                    <a:pt x="618" y="428"/>
                    <a:pt x="618" y="428"/>
                    <a:pt x="618" y="428"/>
                  </a:cubicBezTo>
                  <a:cubicBezTo>
                    <a:pt x="613" y="429"/>
                    <a:pt x="609" y="430"/>
                    <a:pt x="604" y="430"/>
                  </a:cubicBezTo>
                  <a:cubicBezTo>
                    <a:pt x="604" y="438"/>
                    <a:pt x="604" y="438"/>
                    <a:pt x="604" y="438"/>
                  </a:cubicBezTo>
                  <a:close/>
                  <a:moveTo>
                    <a:pt x="581" y="439"/>
                  </a:moveTo>
                  <a:cubicBezTo>
                    <a:pt x="586" y="439"/>
                    <a:pt x="592" y="439"/>
                    <a:pt x="597" y="439"/>
                  </a:cubicBezTo>
                  <a:cubicBezTo>
                    <a:pt x="596" y="431"/>
                    <a:pt x="596" y="431"/>
                    <a:pt x="596" y="431"/>
                  </a:cubicBezTo>
                  <a:cubicBezTo>
                    <a:pt x="591" y="431"/>
                    <a:pt x="586" y="431"/>
                    <a:pt x="581" y="432"/>
                  </a:cubicBezTo>
                  <a:lnTo>
                    <a:pt x="581" y="439"/>
                  </a:lnTo>
                  <a:close/>
                  <a:moveTo>
                    <a:pt x="558" y="439"/>
                  </a:moveTo>
                  <a:cubicBezTo>
                    <a:pt x="574" y="439"/>
                    <a:pt x="574" y="439"/>
                    <a:pt x="574" y="439"/>
                  </a:cubicBezTo>
                  <a:cubicBezTo>
                    <a:pt x="574" y="432"/>
                    <a:pt x="574" y="432"/>
                    <a:pt x="574" y="432"/>
                  </a:cubicBezTo>
                  <a:cubicBezTo>
                    <a:pt x="558" y="432"/>
                    <a:pt x="558" y="432"/>
                    <a:pt x="558" y="432"/>
                  </a:cubicBezTo>
                  <a:lnTo>
                    <a:pt x="558" y="439"/>
                  </a:lnTo>
                  <a:close/>
                  <a:moveTo>
                    <a:pt x="536" y="439"/>
                  </a:moveTo>
                  <a:cubicBezTo>
                    <a:pt x="551" y="439"/>
                    <a:pt x="551" y="439"/>
                    <a:pt x="551" y="439"/>
                  </a:cubicBezTo>
                  <a:cubicBezTo>
                    <a:pt x="551" y="432"/>
                    <a:pt x="551" y="432"/>
                    <a:pt x="551" y="432"/>
                  </a:cubicBezTo>
                  <a:cubicBezTo>
                    <a:pt x="536" y="432"/>
                    <a:pt x="536" y="432"/>
                    <a:pt x="536" y="432"/>
                  </a:cubicBezTo>
                  <a:lnTo>
                    <a:pt x="536" y="439"/>
                  </a:lnTo>
                  <a:close/>
                  <a:moveTo>
                    <a:pt x="513" y="439"/>
                  </a:moveTo>
                  <a:cubicBezTo>
                    <a:pt x="528" y="439"/>
                    <a:pt x="528" y="439"/>
                    <a:pt x="528" y="439"/>
                  </a:cubicBezTo>
                  <a:cubicBezTo>
                    <a:pt x="528" y="432"/>
                    <a:pt x="528" y="432"/>
                    <a:pt x="528" y="432"/>
                  </a:cubicBezTo>
                  <a:cubicBezTo>
                    <a:pt x="513" y="432"/>
                    <a:pt x="513" y="432"/>
                    <a:pt x="513" y="432"/>
                  </a:cubicBezTo>
                  <a:lnTo>
                    <a:pt x="513" y="439"/>
                  </a:lnTo>
                  <a:close/>
                  <a:moveTo>
                    <a:pt x="490" y="439"/>
                  </a:moveTo>
                  <a:cubicBezTo>
                    <a:pt x="505" y="439"/>
                    <a:pt x="505" y="439"/>
                    <a:pt x="505" y="439"/>
                  </a:cubicBezTo>
                  <a:cubicBezTo>
                    <a:pt x="505" y="432"/>
                    <a:pt x="505" y="432"/>
                    <a:pt x="505" y="432"/>
                  </a:cubicBezTo>
                  <a:cubicBezTo>
                    <a:pt x="490" y="432"/>
                    <a:pt x="490" y="432"/>
                    <a:pt x="490" y="432"/>
                  </a:cubicBezTo>
                  <a:lnTo>
                    <a:pt x="490" y="439"/>
                  </a:lnTo>
                  <a:close/>
                  <a:moveTo>
                    <a:pt x="467" y="439"/>
                  </a:moveTo>
                  <a:cubicBezTo>
                    <a:pt x="482" y="439"/>
                    <a:pt x="482" y="439"/>
                    <a:pt x="482" y="439"/>
                  </a:cubicBezTo>
                  <a:cubicBezTo>
                    <a:pt x="482" y="432"/>
                    <a:pt x="482" y="432"/>
                    <a:pt x="482" y="432"/>
                  </a:cubicBezTo>
                  <a:cubicBezTo>
                    <a:pt x="467" y="432"/>
                    <a:pt x="467" y="432"/>
                    <a:pt x="467" y="432"/>
                  </a:cubicBezTo>
                  <a:lnTo>
                    <a:pt x="467" y="439"/>
                  </a:lnTo>
                  <a:close/>
                  <a:moveTo>
                    <a:pt x="444" y="439"/>
                  </a:moveTo>
                  <a:cubicBezTo>
                    <a:pt x="459" y="439"/>
                    <a:pt x="459" y="439"/>
                    <a:pt x="459" y="439"/>
                  </a:cubicBezTo>
                  <a:cubicBezTo>
                    <a:pt x="459" y="432"/>
                    <a:pt x="459" y="432"/>
                    <a:pt x="459" y="432"/>
                  </a:cubicBezTo>
                  <a:cubicBezTo>
                    <a:pt x="444" y="432"/>
                    <a:pt x="444" y="432"/>
                    <a:pt x="444" y="432"/>
                  </a:cubicBezTo>
                  <a:lnTo>
                    <a:pt x="444" y="439"/>
                  </a:lnTo>
                  <a:close/>
                  <a:moveTo>
                    <a:pt x="421" y="439"/>
                  </a:moveTo>
                  <a:cubicBezTo>
                    <a:pt x="437" y="439"/>
                    <a:pt x="437" y="439"/>
                    <a:pt x="437" y="439"/>
                  </a:cubicBezTo>
                  <a:cubicBezTo>
                    <a:pt x="437" y="432"/>
                    <a:pt x="437" y="432"/>
                    <a:pt x="437" y="432"/>
                  </a:cubicBezTo>
                  <a:cubicBezTo>
                    <a:pt x="421" y="432"/>
                    <a:pt x="421" y="432"/>
                    <a:pt x="421" y="432"/>
                  </a:cubicBezTo>
                  <a:lnTo>
                    <a:pt x="421" y="439"/>
                  </a:lnTo>
                  <a:close/>
                  <a:moveTo>
                    <a:pt x="399" y="439"/>
                  </a:moveTo>
                  <a:cubicBezTo>
                    <a:pt x="414" y="439"/>
                    <a:pt x="414" y="439"/>
                    <a:pt x="414" y="439"/>
                  </a:cubicBezTo>
                  <a:cubicBezTo>
                    <a:pt x="414" y="432"/>
                    <a:pt x="414" y="432"/>
                    <a:pt x="414" y="432"/>
                  </a:cubicBezTo>
                  <a:cubicBezTo>
                    <a:pt x="399" y="432"/>
                    <a:pt x="399" y="432"/>
                    <a:pt x="399" y="432"/>
                  </a:cubicBezTo>
                  <a:lnTo>
                    <a:pt x="399" y="439"/>
                  </a:lnTo>
                  <a:close/>
                  <a:moveTo>
                    <a:pt x="376" y="439"/>
                  </a:moveTo>
                  <a:cubicBezTo>
                    <a:pt x="391" y="439"/>
                    <a:pt x="391" y="439"/>
                    <a:pt x="391" y="439"/>
                  </a:cubicBezTo>
                  <a:cubicBezTo>
                    <a:pt x="391" y="432"/>
                    <a:pt x="391" y="432"/>
                    <a:pt x="391" y="432"/>
                  </a:cubicBezTo>
                  <a:cubicBezTo>
                    <a:pt x="376" y="432"/>
                    <a:pt x="376" y="432"/>
                    <a:pt x="376" y="432"/>
                  </a:cubicBezTo>
                  <a:lnTo>
                    <a:pt x="376" y="439"/>
                  </a:lnTo>
                  <a:close/>
                  <a:moveTo>
                    <a:pt x="353" y="439"/>
                  </a:moveTo>
                  <a:cubicBezTo>
                    <a:pt x="368" y="439"/>
                    <a:pt x="368" y="439"/>
                    <a:pt x="368" y="439"/>
                  </a:cubicBezTo>
                  <a:cubicBezTo>
                    <a:pt x="368" y="432"/>
                    <a:pt x="368" y="432"/>
                    <a:pt x="368" y="432"/>
                  </a:cubicBezTo>
                  <a:cubicBezTo>
                    <a:pt x="353" y="432"/>
                    <a:pt x="353" y="432"/>
                    <a:pt x="353" y="432"/>
                  </a:cubicBezTo>
                  <a:lnTo>
                    <a:pt x="353" y="439"/>
                  </a:lnTo>
                  <a:close/>
                  <a:moveTo>
                    <a:pt x="330" y="439"/>
                  </a:moveTo>
                  <a:cubicBezTo>
                    <a:pt x="345" y="439"/>
                    <a:pt x="345" y="439"/>
                    <a:pt x="345" y="439"/>
                  </a:cubicBezTo>
                  <a:cubicBezTo>
                    <a:pt x="345" y="432"/>
                    <a:pt x="345" y="432"/>
                    <a:pt x="345" y="432"/>
                  </a:cubicBezTo>
                  <a:cubicBezTo>
                    <a:pt x="330" y="432"/>
                    <a:pt x="330" y="432"/>
                    <a:pt x="330" y="432"/>
                  </a:cubicBezTo>
                  <a:lnTo>
                    <a:pt x="330" y="439"/>
                  </a:lnTo>
                  <a:close/>
                  <a:moveTo>
                    <a:pt x="307" y="439"/>
                  </a:moveTo>
                  <a:cubicBezTo>
                    <a:pt x="323" y="439"/>
                    <a:pt x="323" y="439"/>
                    <a:pt x="323" y="439"/>
                  </a:cubicBezTo>
                  <a:cubicBezTo>
                    <a:pt x="323" y="432"/>
                    <a:pt x="323" y="432"/>
                    <a:pt x="323" y="432"/>
                  </a:cubicBezTo>
                  <a:cubicBezTo>
                    <a:pt x="307" y="432"/>
                    <a:pt x="307" y="432"/>
                    <a:pt x="307" y="432"/>
                  </a:cubicBezTo>
                  <a:lnTo>
                    <a:pt x="307" y="439"/>
                  </a:lnTo>
                  <a:close/>
                  <a:moveTo>
                    <a:pt x="284" y="439"/>
                  </a:moveTo>
                  <a:cubicBezTo>
                    <a:pt x="300" y="439"/>
                    <a:pt x="300" y="439"/>
                    <a:pt x="300" y="439"/>
                  </a:cubicBezTo>
                  <a:cubicBezTo>
                    <a:pt x="300" y="432"/>
                    <a:pt x="300" y="432"/>
                    <a:pt x="300" y="432"/>
                  </a:cubicBezTo>
                  <a:cubicBezTo>
                    <a:pt x="284" y="432"/>
                    <a:pt x="284" y="432"/>
                    <a:pt x="284" y="432"/>
                  </a:cubicBezTo>
                  <a:lnTo>
                    <a:pt x="284" y="439"/>
                  </a:lnTo>
                  <a:close/>
                  <a:moveTo>
                    <a:pt x="262" y="439"/>
                  </a:moveTo>
                  <a:cubicBezTo>
                    <a:pt x="277" y="439"/>
                    <a:pt x="277" y="439"/>
                    <a:pt x="277" y="439"/>
                  </a:cubicBezTo>
                  <a:cubicBezTo>
                    <a:pt x="277" y="432"/>
                    <a:pt x="277" y="432"/>
                    <a:pt x="277" y="432"/>
                  </a:cubicBezTo>
                  <a:cubicBezTo>
                    <a:pt x="262" y="432"/>
                    <a:pt x="262" y="432"/>
                    <a:pt x="262" y="432"/>
                  </a:cubicBezTo>
                  <a:lnTo>
                    <a:pt x="262" y="439"/>
                  </a:lnTo>
                  <a:close/>
                  <a:moveTo>
                    <a:pt x="239" y="439"/>
                  </a:moveTo>
                  <a:cubicBezTo>
                    <a:pt x="254" y="439"/>
                    <a:pt x="254" y="439"/>
                    <a:pt x="254" y="439"/>
                  </a:cubicBezTo>
                  <a:cubicBezTo>
                    <a:pt x="254" y="432"/>
                    <a:pt x="254" y="432"/>
                    <a:pt x="254" y="432"/>
                  </a:cubicBezTo>
                  <a:cubicBezTo>
                    <a:pt x="239" y="432"/>
                    <a:pt x="239" y="432"/>
                    <a:pt x="239" y="432"/>
                  </a:cubicBezTo>
                  <a:lnTo>
                    <a:pt x="239" y="439"/>
                  </a:lnTo>
                  <a:close/>
                  <a:moveTo>
                    <a:pt x="216" y="439"/>
                  </a:moveTo>
                  <a:cubicBezTo>
                    <a:pt x="231" y="439"/>
                    <a:pt x="231" y="439"/>
                    <a:pt x="231" y="439"/>
                  </a:cubicBezTo>
                  <a:cubicBezTo>
                    <a:pt x="231" y="432"/>
                    <a:pt x="231" y="432"/>
                    <a:pt x="231" y="432"/>
                  </a:cubicBezTo>
                  <a:cubicBezTo>
                    <a:pt x="216" y="432"/>
                    <a:pt x="216" y="432"/>
                    <a:pt x="216" y="432"/>
                  </a:cubicBezTo>
                  <a:lnTo>
                    <a:pt x="216" y="439"/>
                  </a:lnTo>
                  <a:close/>
                  <a:moveTo>
                    <a:pt x="193" y="438"/>
                  </a:moveTo>
                  <a:cubicBezTo>
                    <a:pt x="198" y="439"/>
                    <a:pt x="203" y="439"/>
                    <a:pt x="208" y="439"/>
                  </a:cubicBezTo>
                  <a:cubicBezTo>
                    <a:pt x="208" y="431"/>
                    <a:pt x="208" y="431"/>
                    <a:pt x="208" y="431"/>
                  </a:cubicBezTo>
                  <a:cubicBezTo>
                    <a:pt x="203" y="431"/>
                    <a:pt x="199" y="431"/>
                    <a:pt x="194" y="430"/>
                  </a:cubicBezTo>
                  <a:lnTo>
                    <a:pt x="193" y="438"/>
                  </a:lnTo>
                  <a:close/>
                  <a:moveTo>
                    <a:pt x="170" y="435"/>
                  </a:moveTo>
                  <a:cubicBezTo>
                    <a:pt x="175" y="436"/>
                    <a:pt x="180" y="437"/>
                    <a:pt x="185" y="437"/>
                  </a:cubicBezTo>
                  <a:cubicBezTo>
                    <a:pt x="186" y="430"/>
                    <a:pt x="186" y="430"/>
                    <a:pt x="186" y="430"/>
                  </a:cubicBezTo>
                  <a:cubicBezTo>
                    <a:pt x="181" y="429"/>
                    <a:pt x="176" y="428"/>
                    <a:pt x="171" y="427"/>
                  </a:cubicBezTo>
                  <a:lnTo>
                    <a:pt x="170" y="435"/>
                  </a:lnTo>
                  <a:close/>
                  <a:moveTo>
                    <a:pt x="147" y="429"/>
                  </a:moveTo>
                  <a:cubicBezTo>
                    <a:pt x="152" y="430"/>
                    <a:pt x="157" y="432"/>
                    <a:pt x="162" y="433"/>
                  </a:cubicBezTo>
                  <a:cubicBezTo>
                    <a:pt x="164" y="425"/>
                    <a:pt x="164" y="425"/>
                    <a:pt x="164" y="425"/>
                  </a:cubicBezTo>
                  <a:cubicBezTo>
                    <a:pt x="159" y="424"/>
                    <a:pt x="155" y="423"/>
                    <a:pt x="150" y="421"/>
                  </a:cubicBezTo>
                  <a:cubicBezTo>
                    <a:pt x="147" y="429"/>
                    <a:pt x="147" y="429"/>
                    <a:pt x="147" y="429"/>
                  </a:cubicBezTo>
                  <a:close/>
                  <a:moveTo>
                    <a:pt x="126" y="420"/>
                  </a:moveTo>
                  <a:cubicBezTo>
                    <a:pt x="131" y="422"/>
                    <a:pt x="135" y="424"/>
                    <a:pt x="140" y="426"/>
                  </a:cubicBezTo>
                  <a:cubicBezTo>
                    <a:pt x="143" y="419"/>
                    <a:pt x="143" y="419"/>
                    <a:pt x="143" y="419"/>
                  </a:cubicBezTo>
                  <a:cubicBezTo>
                    <a:pt x="138" y="417"/>
                    <a:pt x="134" y="415"/>
                    <a:pt x="129" y="413"/>
                  </a:cubicBezTo>
                  <a:cubicBezTo>
                    <a:pt x="126" y="420"/>
                    <a:pt x="126" y="420"/>
                    <a:pt x="126" y="420"/>
                  </a:cubicBezTo>
                  <a:close/>
                  <a:moveTo>
                    <a:pt x="105" y="409"/>
                  </a:moveTo>
                  <a:cubicBezTo>
                    <a:pt x="110" y="412"/>
                    <a:pt x="114" y="414"/>
                    <a:pt x="119" y="417"/>
                  </a:cubicBezTo>
                  <a:cubicBezTo>
                    <a:pt x="122" y="410"/>
                    <a:pt x="122" y="410"/>
                    <a:pt x="122" y="410"/>
                  </a:cubicBezTo>
                  <a:cubicBezTo>
                    <a:pt x="118" y="408"/>
                    <a:pt x="114" y="405"/>
                    <a:pt x="109" y="403"/>
                  </a:cubicBezTo>
                  <a:cubicBezTo>
                    <a:pt x="105" y="409"/>
                    <a:pt x="105" y="409"/>
                    <a:pt x="105" y="409"/>
                  </a:cubicBezTo>
                  <a:close/>
                  <a:moveTo>
                    <a:pt x="86" y="396"/>
                  </a:moveTo>
                  <a:cubicBezTo>
                    <a:pt x="90" y="400"/>
                    <a:pt x="94" y="402"/>
                    <a:pt x="99" y="405"/>
                  </a:cubicBezTo>
                  <a:cubicBezTo>
                    <a:pt x="103" y="399"/>
                    <a:pt x="103" y="399"/>
                    <a:pt x="103" y="399"/>
                  </a:cubicBezTo>
                  <a:cubicBezTo>
                    <a:pt x="99" y="396"/>
                    <a:pt x="95" y="393"/>
                    <a:pt x="91" y="390"/>
                  </a:cubicBezTo>
                  <a:cubicBezTo>
                    <a:pt x="86" y="396"/>
                    <a:pt x="86" y="396"/>
                    <a:pt x="86" y="396"/>
                  </a:cubicBezTo>
                  <a:close/>
                  <a:moveTo>
                    <a:pt x="68" y="381"/>
                  </a:moveTo>
                  <a:cubicBezTo>
                    <a:pt x="72" y="385"/>
                    <a:pt x="76" y="388"/>
                    <a:pt x="80" y="392"/>
                  </a:cubicBezTo>
                  <a:cubicBezTo>
                    <a:pt x="85" y="386"/>
                    <a:pt x="85" y="386"/>
                    <a:pt x="85" y="386"/>
                  </a:cubicBezTo>
                  <a:cubicBezTo>
                    <a:pt x="81" y="382"/>
                    <a:pt x="77" y="379"/>
                    <a:pt x="74" y="376"/>
                  </a:cubicBezTo>
                  <a:lnTo>
                    <a:pt x="68" y="381"/>
                  </a:lnTo>
                  <a:close/>
                  <a:moveTo>
                    <a:pt x="52" y="365"/>
                  </a:moveTo>
                  <a:cubicBezTo>
                    <a:pt x="55" y="369"/>
                    <a:pt x="59" y="372"/>
                    <a:pt x="63" y="376"/>
                  </a:cubicBezTo>
                  <a:cubicBezTo>
                    <a:pt x="68" y="371"/>
                    <a:pt x="68" y="371"/>
                    <a:pt x="68" y="371"/>
                  </a:cubicBezTo>
                  <a:cubicBezTo>
                    <a:pt x="65" y="367"/>
                    <a:pt x="61" y="363"/>
                    <a:pt x="58" y="360"/>
                  </a:cubicBezTo>
                  <a:cubicBezTo>
                    <a:pt x="52" y="365"/>
                    <a:pt x="52" y="365"/>
                    <a:pt x="52" y="365"/>
                  </a:cubicBezTo>
                  <a:close/>
                  <a:moveTo>
                    <a:pt x="38" y="346"/>
                  </a:moveTo>
                  <a:cubicBezTo>
                    <a:pt x="41" y="351"/>
                    <a:pt x="44" y="355"/>
                    <a:pt x="47" y="359"/>
                  </a:cubicBezTo>
                  <a:cubicBezTo>
                    <a:pt x="53" y="354"/>
                    <a:pt x="53" y="354"/>
                    <a:pt x="53" y="354"/>
                  </a:cubicBezTo>
                  <a:cubicBezTo>
                    <a:pt x="50" y="350"/>
                    <a:pt x="47" y="346"/>
                    <a:pt x="44" y="342"/>
                  </a:cubicBezTo>
                  <a:cubicBezTo>
                    <a:pt x="38" y="346"/>
                    <a:pt x="38" y="346"/>
                    <a:pt x="38" y="346"/>
                  </a:cubicBezTo>
                  <a:close/>
                  <a:moveTo>
                    <a:pt x="26" y="327"/>
                  </a:moveTo>
                  <a:cubicBezTo>
                    <a:pt x="28" y="331"/>
                    <a:pt x="31" y="336"/>
                    <a:pt x="34" y="340"/>
                  </a:cubicBezTo>
                  <a:cubicBezTo>
                    <a:pt x="40" y="336"/>
                    <a:pt x="40" y="336"/>
                    <a:pt x="40" y="336"/>
                  </a:cubicBezTo>
                  <a:cubicBezTo>
                    <a:pt x="37" y="332"/>
                    <a:pt x="35" y="327"/>
                    <a:pt x="33" y="323"/>
                  </a:cubicBezTo>
                  <a:lnTo>
                    <a:pt x="26" y="327"/>
                  </a:lnTo>
                  <a:close/>
                  <a:moveTo>
                    <a:pt x="16" y="305"/>
                  </a:moveTo>
                  <a:cubicBezTo>
                    <a:pt x="18" y="310"/>
                    <a:pt x="20" y="315"/>
                    <a:pt x="22" y="320"/>
                  </a:cubicBezTo>
                  <a:cubicBezTo>
                    <a:pt x="29" y="316"/>
                    <a:pt x="29" y="316"/>
                    <a:pt x="29" y="316"/>
                  </a:cubicBezTo>
                  <a:cubicBezTo>
                    <a:pt x="27" y="312"/>
                    <a:pt x="25" y="307"/>
                    <a:pt x="23" y="303"/>
                  </a:cubicBezTo>
                  <a:cubicBezTo>
                    <a:pt x="16" y="305"/>
                    <a:pt x="16" y="305"/>
                    <a:pt x="16" y="305"/>
                  </a:cubicBezTo>
                  <a:close/>
                  <a:moveTo>
                    <a:pt x="8" y="283"/>
                  </a:moveTo>
                  <a:cubicBezTo>
                    <a:pt x="10" y="288"/>
                    <a:pt x="11" y="293"/>
                    <a:pt x="13" y="298"/>
                  </a:cubicBezTo>
                  <a:cubicBezTo>
                    <a:pt x="20" y="296"/>
                    <a:pt x="20" y="296"/>
                    <a:pt x="20" y="296"/>
                  </a:cubicBezTo>
                  <a:cubicBezTo>
                    <a:pt x="19" y="291"/>
                    <a:pt x="17" y="286"/>
                    <a:pt x="16" y="281"/>
                  </a:cubicBezTo>
                  <a:cubicBezTo>
                    <a:pt x="8" y="283"/>
                    <a:pt x="8" y="283"/>
                    <a:pt x="8" y="283"/>
                  </a:cubicBezTo>
                  <a:close/>
                  <a:moveTo>
                    <a:pt x="3" y="261"/>
                  </a:moveTo>
                  <a:cubicBezTo>
                    <a:pt x="4" y="266"/>
                    <a:pt x="5" y="271"/>
                    <a:pt x="6" y="276"/>
                  </a:cubicBezTo>
                  <a:cubicBezTo>
                    <a:pt x="14" y="274"/>
                    <a:pt x="14" y="274"/>
                    <a:pt x="14" y="274"/>
                  </a:cubicBezTo>
                  <a:cubicBezTo>
                    <a:pt x="13" y="269"/>
                    <a:pt x="12" y="264"/>
                    <a:pt x="11" y="260"/>
                  </a:cubicBezTo>
                  <a:cubicBezTo>
                    <a:pt x="3" y="261"/>
                    <a:pt x="3" y="261"/>
                    <a:pt x="3" y="261"/>
                  </a:cubicBezTo>
                  <a:close/>
                  <a:moveTo>
                    <a:pt x="1" y="238"/>
                  </a:moveTo>
                  <a:cubicBezTo>
                    <a:pt x="1" y="243"/>
                    <a:pt x="1" y="248"/>
                    <a:pt x="2" y="253"/>
                  </a:cubicBezTo>
                  <a:cubicBezTo>
                    <a:pt x="10" y="252"/>
                    <a:pt x="10" y="252"/>
                    <a:pt x="10" y="252"/>
                  </a:cubicBezTo>
                  <a:cubicBezTo>
                    <a:pt x="9" y="247"/>
                    <a:pt x="9" y="242"/>
                    <a:pt x="8" y="237"/>
                  </a:cubicBezTo>
                  <a:lnTo>
                    <a:pt x="1" y="238"/>
                  </a:lnTo>
                  <a:close/>
                  <a:moveTo>
                    <a:pt x="0" y="215"/>
                  </a:moveTo>
                  <a:cubicBezTo>
                    <a:pt x="0" y="225"/>
                    <a:pt x="0" y="225"/>
                    <a:pt x="0" y="225"/>
                  </a:cubicBezTo>
                  <a:cubicBezTo>
                    <a:pt x="0" y="227"/>
                    <a:pt x="0" y="228"/>
                    <a:pt x="0" y="230"/>
                  </a:cubicBezTo>
                  <a:cubicBezTo>
                    <a:pt x="8" y="230"/>
                    <a:pt x="8" y="230"/>
                    <a:pt x="8" y="230"/>
                  </a:cubicBezTo>
                  <a:cubicBezTo>
                    <a:pt x="8" y="228"/>
                    <a:pt x="8" y="227"/>
                    <a:pt x="8" y="225"/>
                  </a:cubicBezTo>
                  <a:cubicBezTo>
                    <a:pt x="8" y="215"/>
                    <a:pt x="8" y="215"/>
                    <a:pt x="8" y="215"/>
                  </a:cubicBezTo>
                  <a:cubicBezTo>
                    <a:pt x="0" y="215"/>
                    <a:pt x="0" y="215"/>
                    <a:pt x="0" y="215"/>
                  </a:cubicBezTo>
                  <a:close/>
                  <a:moveTo>
                    <a:pt x="1" y="192"/>
                  </a:moveTo>
                  <a:cubicBezTo>
                    <a:pt x="1" y="197"/>
                    <a:pt x="0" y="202"/>
                    <a:pt x="0" y="207"/>
                  </a:cubicBezTo>
                  <a:cubicBezTo>
                    <a:pt x="8" y="207"/>
                    <a:pt x="8" y="207"/>
                    <a:pt x="8" y="207"/>
                  </a:cubicBezTo>
                  <a:cubicBezTo>
                    <a:pt x="8" y="202"/>
                    <a:pt x="9" y="197"/>
                    <a:pt x="9" y="192"/>
                  </a:cubicBezTo>
                  <a:cubicBezTo>
                    <a:pt x="1" y="192"/>
                    <a:pt x="1" y="192"/>
                    <a:pt x="1" y="192"/>
                  </a:cubicBezTo>
                  <a:close/>
                  <a:moveTo>
                    <a:pt x="5" y="169"/>
                  </a:moveTo>
                  <a:cubicBezTo>
                    <a:pt x="4" y="174"/>
                    <a:pt x="3" y="179"/>
                    <a:pt x="2" y="184"/>
                  </a:cubicBezTo>
                  <a:cubicBezTo>
                    <a:pt x="10" y="185"/>
                    <a:pt x="10" y="185"/>
                    <a:pt x="10" y="185"/>
                  </a:cubicBezTo>
                  <a:cubicBezTo>
                    <a:pt x="11" y="180"/>
                    <a:pt x="12" y="175"/>
                    <a:pt x="13" y="170"/>
                  </a:cubicBezTo>
                  <a:cubicBezTo>
                    <a:pt x="5" y="169"/>
                    <a:pt x="5" y="169"/>
                    <a:pt x="5" y="169"/>
                  </a:cubicBezTo>
                  <a:close/>
                  <a:moveTo>
                    <a:pt x="11" y="146"/>
                  </a:moveTo>
                  <a:cubicBezTo>
                    <a:pt x="10" y="151"/>
                    <a:pt x="8" y="156"/>
                    <a:pt x="7" y="161"/>
                  </a:cubicBezTo>
                  <a:cubicBezTo>
                    <a:pt x="14" y="163"/>
                    <a:pt x="14" y="163"/>
                    <a:pt x="14" y="163"/>
                  </a:cubicBezTo>
                  <a:cubicBezTo>
                    <a:pt x="16" y="158"/>
                    <a:pt x="17" y="153"/>
                    <a:pt x="18" y="149"/>
                  </a:cubicBezTo>
                  <a:cubicBezTo>
                    <a:pt x="11" y="146"/>
                    <a:pt x="11" y="146"/>
                    <a:pt x="11" y="146"/>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Freeform 30"/>
            <p:cNvSpPr>
              <a:spLocks/>
            </p:cNvSpPr>
            <p:nvPr/>
          </p:nvSpPr>
          <p:spPr bwMode="auto">
            <a:xfrm>
              <a:off x="5165726" y="4114684"/>
              <a:ext cx="180975" cy="274638"/>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Freeform 31"/>
            <p:cNvSpPr>
              <a:spLocks noEditPoints="1"/>
            </p:cNvSpPr>
            <p:nvPr/>
          </p:nvSpPr>
          <p:spPr bwMode="auto">
            <a:xfrm>
              <a:off x="5429251" y="4035309"/>
              <a:ext cx="211138" cy="392113"/>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 name="Freeform 32"/>
            <p:cNvSpPr>
              <a:spLocks/>
            </p:cNvSpPr>
            <p:nvPr/>
          </p:nvSpPr>
          <p:spPr bwMode="auto">
            <a:xfrm>
              <a:off x="5718176" y="4111509"/>
              <a:ext cx="180975" cy="274638"/>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pic>
          <p:nvPicPr>
            <p:cNvPr id="7202" name="Picture 3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24638" y="3957521"/>
              <a:ext cx="574675"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08" name="Group 7207"/>
          <p:cNvGrpSpPr/>
          <p:nvPr/>
        </p:nvGrpSpPr>
        <p:grpSpPr>
          <a:xfrm>
            <a:off x="2836863" y="3359034"/>
            <a:ext cx="1244600" cy="2293937"/>
            <a:chOff x="2836863" y="3359034"/>
            <a:chExt cx="1244600" cy="2293937"/>
          </a:xfrm>
        </p:grpSpPr>
        <p:sp>
          <p:nvSpPr>
            <p:cNvPr id="50" name="Rectangle 50"/>
            <p:cNvSpPr>
              <a:spLocks noChangeArrowheads="1"/>
            </p:cNvSpPr>
            <p:nvPr/>
          </p:nvSpPr>
          <p:spPr bwMode="auto">
            <a:xfrm>
              <a:off x="2890838" y="5133859"/>
              <a:ext cx="11906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dirty="0">
                  <a:ln>
                    <a:noFill/>
                  </a:ln>
                  <a:solidFill>
                    <a:srgbClr val="505050"/>
                  </a:solidFill>
                  <a:effectLst/>
                  <a:uLnTx/>
                  <a:uFillTx/>
                  <a:latin typeface="Segoe UI Light" panose="020B0502040204020203" pitchFamily="34" charset="0"/>
                </a:rPr>
                <a:t>Message sent</a:t>
              </a:r>
              <a:endParaRPr kumimoji="0" lang="en-US" altLang="en-US" sz="1800" b="0" i="0" u="none" strike="noStrike" kern="0" cap="none" spc="0" normalizeH="0" baseline="0" noProof="0" dirty="0">
                <a:ln>
                  <a:noFill/>
                </a:ln>
                <a:solidFill>
                  <a:schemeClr val="tx1"/>
                </a:solidFill>
                <a:effectLst/>
                <a:uLnTx/>
                <a:uFillTx/>
                <a:latin typeface="Arial" panose="020B0604020202020204" pitchFamily="34" charset="0"/>
              </a:endParaRPr>
            </a:p>
          </p:txBody>
        </p:sp>
        <p:sp>
          <p:nvSpPr>
            <p:cNvPr id="6" name="Freeform 5"/>
            <p:cNvSpPr>
              <a:spLocks noEditPoints="1"/>
            </p:cNvSpPr>
            <p:nvPr/>
          </p:nvSpPr>
          <p:spPr bwMode="auto">
            <a:xfrm>
              <a:off x="3378201" y="3359034"/>
              <a:ext cx="30163" cy="296863"/>
            </a:xfrm>
            <a:custGeom>
              <a:avLst/>
              <a:gdLst>
                <a:gd name="T0" fmla="*/ 0 w 19"/>
                <a:gd name="T1" fmla="*/ 166 h 187"/>
                <a:gd name="T2" fmla="*/ 0 w 19"/>
                <a:gd name="T3" fmla="*/ 187 h 187"/>
                <a:gd name="T4" fmla="*/ 19 w 19"/>
                <a:gd name="T5" fmla="*/ 187 h 187"/>
                <a:gd name="T6" fmla="*/ 19 w 19"/>
                <a:gd name="T7" fmla="*/ 166 h 187"/>
                <a:gd name="T8" fmla="*/ 0 w 19"/>
                <a:gd name="T9" fmla="*/ 166 h 187"/>
                <a:gd name="T10" fmla="*/ 0 w 19"/>
                <a:gd name="T11" fmla="*/ 166 h 187"/>
                <a:gd name="T12" fmla="*/ 0 w 19"/>
                <a:gd name="T13" fmla="*/ 166 h 187"/>
                <a:gd name="T14" fmla="*/ 19 w 19"/>
                <a:gd name="T15" fmla="*/ 166 h 187"/>
                <a:gd name="T16" fmla="*/ 19 w 19"/>
                <a:gd name="T17" fmla="*/ 166 h 187"/>
                <a:gd name="T18" fmla="*/ 0 w 19"/>
                <a:gd name="T19" fmla="*/ 166 h 187"/>
                <a:gd name="T20" fmla="*/ 0 w 19"/>
                <a:gd name="T21" fmla="*/ 111 h 187"/>
                <a:gd name="T22" fmla="*/ 0 w 19"/>
                <a:gd name="T23" fmla="*/ 147 h 187"/>
                <a:gd name="T24" fmla="*/ 19 w 19"/>
                <a:gd name="T25" fmla="*/ 147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6"/>
                  </a:moveTo>
                  <a:lnTo>
                    <a:pt x="0" y="187"/>
                  </a:lnTo>
                  <a:lnTo>
                    <a:pt x="19" y="187"/>
                  </a:lnTo>
                  <a:lnTo>
                    <a:pt x="19" y="166"/>
                  </a:lnTo>
                  <a:lnTo>
                    <a:pt x="0" y="166"/>
                  </a:lnTo>
                  <a:close/>
                  <a:moveTo>
                    <a:pt x="0" y="166"/>
                  </a:moveTo>
                  <a:lnTo>
                    <a:pt x="0" y="166"/>
                  </a:lnTo>
                  <a:lnTo>
                    <a:pt x="19" y="166"/>
                  </a:lnTo>
                  <a:lnTo>
                    <a:pt x="19" y="166"/>
                  </a:lnTo>
                  <a:lnTo>
                    <a:pt x="0" y="166"/>
                  </a:lnTo>
                  <a:close/>
                  <a:moveTo>
                    <a:pt x="0" y="111"/>
                  </a:moveTo>
                  <a:lnTo>
                    <a:pt x="0" y="147"/>
                  </a:lnTo>
                  <a:lnTo>
                    <a:pt x="19" y="147"/>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 name="Freeform 6"/>
            <p:cNvSpPr>
              <a:spLocks/>
            </p:cNvSpPr>
            <p:nvPr/>
          </p:nvSpPr>
          <p:spPr bwMode="auto">
            <a:xfrm>
              <a:off x="3317876" y="3633671"/>
              <a:ext cx="150813" cy="131763"/>
            </a:xfrm>
            <a:custGeom>
              <a:avLst/>
              <a:gdLst>
                <a:gd name="T0" fmla="*/ 0 w 95"/>
                <a:gd name="T1" fmla="*/ 0 h 83"/>
                <a:gd name="T2" fmla="*/ 48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8"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 name="Rectangle 35"/>
            <p:cNvSpPr>
              <a:spLocks noChangeArrowheads="1"/>
            </p:cNvSpPr>
            <p:nvPr/>
          </p:nvSpPr>
          <p:spPr bwMode="auto">
            <a:xfrm>
              <a:off x="28908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 name="Rectangle 36"/>
            <p:cNvSpPr>
              <a:spLocks noChangeArrowheads="1"/>
            </p:cNvSpPr>
            <p:nvPr/>
          </p:nvSpPr>
          <p:spPr bwMode="auto">
            <a:xfrm>
              <a:off x="38560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 name="Rectangle 37"/>
            <p:cNvSpPr>
              <a:spLocks noChangeArrowheads="1"/>
            </p:cNvSpPr>
            <p:nvPr/>
          </p:nvSpPr>
          <p:spPr bwMode="auto">
            <a:xfrm>
              <a:off x="2992438"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 name="Oval 38"/>
            <p:cNvSpPr>
              <a:spLocks noChangeArrowheads="1"/>
            </p:cNvSpPr>
            <p:nvPr/>
          </p:nvSpPr>
          <p:spPr bwMode="auto">
            <a:xfrm>
              <a:off x="30622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 name="Oval 39"/>
            <p:cNvSpPr>
              <a:spLocks noChangeArrowheads="1"/>
            </p:cNvSpPr>
            <p:nvPr/>
          </p:nvSpPr>
          <p:spPr bwMode="auto">
            <a:xfrm>
              <a:off x="3130551"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 name="Oval 40"/>
            <p:cNvSpPr>
              <a:spLocks noChangeArrowheads="1"/>
            </p:cNvSpPr>
            <p:nvPr/>
          </p:nvSpPr>
          <p:spPr bwMode="auto">
            <a:xfrm>
              <a:off x="34305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Oval 41"/>
            <p:cNvSpPr>
              <a:spLocks noChangeArrowheads="1"/>
            </p:cNvSpPr>
            <p:nvPr/>
          </p:nvSpPr>
          <p:spPr bwMode="auto">
            <a:xfrm>
              <a:off x="3495676" y="4092459"/>
              <a:ext cx="160338"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Freeform 42"/>
            <p:cNvSpPr>
              <a:spLocks/>
            </p:cNvSpPr>
            <p:nvPr/>
          </p:nvSpPr>
          <p:spPr bwMode="auto">
            <a:xfrm>
              <a:off x="3062288" y="4457584"/>
              <a:ext cx="661988" cy="90488"/>
            </a:xfrm>
            <a:custGeom>
              <a:avLst/>
              <a:gdLst>
                <a:gd name="T0" fmla="*/ 164 w 176"/>
                <a:gd name="T1" fmla="*/ 24 h 24"/>
                <a:gd name="T2" fmla="*/ 12 w 176"/>
                <a:gd name="T3" fmla="*/ 24 h 24"/>
                <a:gd name="T4" fmla="*/ 0 w 176"/>
                <a:gd name="T5" fmla="*/ 12 h 24"/>
                <a:gd name="T6" fmla="*/ 12 w 176"/>
                <a:gd name="T7" fmla="*/ 0 h 24"/>
                <a:gd name="T8" fmla="*/ 164 w 176"/>
                <a:gd name="T9" fmla="*/ 0 h 24"/>
                <a:gd name="T10" fmla="*/ 176 w 176"/>
                <a:gd name="T11" fmla="*/ 12 h 24"/>
                <a:gd name="T12" fmla="*/ 164 w 17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76" h="24">
                  <a:moveTo>
                    <a:pt x="164" y="24"/>
                  </a:moveTo>
                  <a:cubicBezTo>
                    <a:pt x="12" y="24"/>
                    <a:pt x="12" y="24"/>
                    <a:pt x="12" y="24"/>
                  </a:cubicBezTo>
                  <a:cubicBezTo>
                    <a:pt x="6" y="24"/>
                    <a:pt x="0" y="19"/>
                    <a:pt x="0" y="12"/>
                  </a:cubicBezTo>
                  <a:cubicBezTo>
                    <a:pt x="0" y="5"/>
                    <a:pt x="6" y="0"/>
                    <a:pt x="12" y="0"/>
                  </a:cubicBezTo>
                  <a:cubicBezTo>
                    <a:pt x="164" y="0"/>
                    <a:pt x="164" y="0"/>
                    <a:pt x="164" y="0"/>
                  </a:cubicBezTo>
                  <a:cubicBezTo>
                    <a:pt x="170" y="0"/>
                    <a:pt x="176" y="5"/>
                    <a:pt x="176" y="12"/>
                  </a:cubicBezTo>
                  <a:cubicBezTo>
                    <a:pt x="176" y="19"/>
                    <a:pt x="170" y="24"/>
                    <a:pt x="164" y="2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 name="Freeform 43"/>
            <p:cNvSpPr>
              <a:spLocks/>
            </p:cNvSpPr>
            <p:nvPr/>
          </p:nvSpPr>
          <p:spPr bwMode="auto">
            <a:xfrm>
              <a:off x="2844801"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 name="Oval 44"/>
            <p:cNvSpPr>
              <a:spLocks noChangeArrowheads="1"/>
            </p:cNvSpPr>
            <p:nvPr/>
          </p:nvSpPr>
          <p:spPr bwMode="auto">
            <a:xfrm>
              <a:off x="2836863" y="3693996"/>
              <a:ext cx="147638"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Freeform 45"/>
            <p:cNvSpPr>
              <a:spLocks/>
            </p:cNvSpPr>
            <p:nvPr/>
          </p:nvSpPr>
          <p:spPr bwMode="auto">
            <a:xfrm>
              <a:off x="3795713"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Oval 46"/>
            <p:cNvSpPr>
              <a:spLocks noChangeArrowheads="1"/>
            </p:cNvSpPr>
            <p:nvPr/>
          </p:nvSpPr>
          <p:spPr bwMode="auto">
            <a:xfrm>
              <a:off x="3803651"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Rectangle 51"/>
            <p:cNvSpPr>
              <a:spLocks noChangeArrowheads="1"/>
            </p:cNvSpPr>
            <p:nvPr/>
          </p:nvSpPr>
          <p:spPr bwMode="auto">
            <a:xfrm>
              <a:off x="2995613" y="5348171"/>
              <a:ext cx="965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dirty="0">
                  <a:ln>
                    <a:noFill/>
                  </a:ln>
                  <a:solidFill>
                    <a:srgbClr val="505050"/>
                  </a:solidFill>
                  <a:effectLst/>
                  <a:uLnTx/>
                  <a:uFillTx/>
                  <a:latin typeface="Segoe UI Light" panose="020B0502040204020203" pitchFamily="34" charset="0"/>
                </a:rPr>
                <a:t>to </a:t>
              </a:r>
              <a:r>
                <a:rPr kumimoji="0" lang="en-US" altLang="en-US" sz="1400" b="0" i="0" u="none" strike="noStrike" kern="0" cap="none" spc="0" normalizeH="0" baseline="0" noProof="0" dirty="0" err="1">
                  <a:ln>
                    <a:noFill/>
                  </a:ln>
                  <a:solidFill>
                    <a:srgbClr val="505050"/>
                  </a:solidFill>
                  <a:effectLst/>
                  <a:uLnTx/>
                  <a:uFillTx/>
                  <a:latin typeface="Segoe UI Light" panose="020B0502040204020203" pitchFamily="34" charset="0"/>
                </a:rPr>
                <a:t>Chatbot</a:t>
              </a:r>
              <a:endParaRPr kumimoji="0" lang="en-US" altLang="en-US" sz="1800" b="0" i="0" u="none" strike="noStrike" kern="0" cap="none" spc="0" normalizeH="0" baseline="0" noProof="0" dirty="0">
                <a:ln>
                  <a:noFill/>
                </a:ln>
                <a:solidFill>
                  <a:schemeClr val="tx1"/>
                </a:solidFill>
                <a:effectLst/>
                <a:uLnTx/>
                <a:uFillTx/>
                <a:latin typeface="Arial" panose="020B0604020202020204" pitchFamily="34" charset="0"/>
              </a:endParaRPr>
            </a:p>
          </p:txBody>
        </p:sp>
      </p:grpSp>
      <p:grpSp>
        <p:nvGrpSpPr>
          <p:cNvPr id="7206" name="Group 7205"/>
          <p:cNvGrpSpPr/>
          <p:nvPr/>
        </p:nvGrpSpPr>
        <p:grpSpPr>
          <a:xfrm>
            <a:off x="7735888" y="3693996"/>
            <a:ext cx="1789113" cy="1958975"/>
            <a:chOff x="7735888" y="3693996"/>
            <a:chExt cx="1789113" cy="1958975"/>
          </a:xfrm>
        </p:grpSpPr>
        <p:sp>
          <p:nvSpPr>
            <p:cNvPr id="10" name="Freeform 9"/>
            <p:cNvSpPr>
              <a:spLocks noEditPoints="1"/>
            </p:cNvSpPr>
            <p:nvPr/>
          </p:nvSpPr>
          <p:spPr bwMode="auto">
            <a:xfrm>
              <a:off x="7735888"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Freeform 10"/>
            <p:cNvSpPr>
              <a:spLocks/>
            </p:cNvSpPr>
            <p:nvPr/>
          </p:nvSpPr>
          <p:spPr bwMode="auto">
            <a:xfrm>
              <a:off x="8010526"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Rectangle 47"/>
            <p:cNvSpPr>
              <a:spLocks noChangeArrowheads="1"/>
            </p:cNvSpPr>
            <p:nvPr/>
          </p:nvSpPr>
          <p:spPr bwMode="auto">
            <a:xfrm>
              <a:off x="8266113" y="5133859"/>
              <a:ext cx="12588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rPr>
                <a:t>Chatbot sends</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48" name="Rectangle 48"/>
            <p:cNvSpPr>
              <a:spLocks noChangeArrowheads="1"/>
            </p:cNvSpPr>
            <p:nvPr/>
          </p:nvSpPr>
          <p:spPr bwMode="auto">
            <a:xfrm>
              <a:off x="8467726" y="5348171"/>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rPr>
                <a:t>r</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49" name="Rectangle 49"/>
            <p:cNvSpPr>
              <a:spLocks noChangeArrowheads="1"/>
            </p:cNvSpPr>
            <p:nvPr/>
          </p:nvSpPr>
          <p:spPr bwMode="auto">
            <a:xfrm>
              <a:off x="8524876" y="5348171"/>
              <a:ext cx="7635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rPr>
                <a:t>esponse</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52" name="Rectangle 52"/>
            <p:cNvSpPr>
              <a:spLocks noChangeArrowheads="1"/>
            </p:cNvSpPr>
            <p:nvPr/>
          </p:nvSpPr>
          <p:spPr bwMode="auto">
            <a:xfrm>
              <a:off x="82994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Rectangle 53"/>
            <p:cNvSpPr>
              <a:spLocks noChangeArrowheads="1"/>
            </p:cNvSpPr>
            <p:nvPr/>
          </p:nvSpPr>
          <p:spPr bwMode="auto">
            <a:xfrm>
              <a:off x="92646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Rectangle 54"/>
            <p:cNvSpPr>
              <a:spLocks noChangeArrowheads="1"/>
            </p:cNvSpPr>
            <p:nvPr/>
          </p:nvSpPr>
          <p:spPr bwMode="auto">
            <a:xfrm>
              <a:off x="8401051"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Oval 55"/>
            <p:cNvSpPr>
              <a:spLocks noChangeArrowheads="1"/>
            </p:cNvSpPr>
            <p:nvPr/>
          </p:nvSpPr>
          <p:spPr bwMode="auto">
            <a:xfrm>
              <a:off x="84724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Oval 56"/>
            <p:cNvSpPr>
              <a:spLocks noChangeArrowheads="1"/>
            </p:cNvSpPr>
            <p:nvPr/>
          </p:nvSpPr>
          <p:spPr bwMode="auto">
            <a:xfrm>
              <a:off x="8539163"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 name="Oval 57"/>
            <p:cNvSpPr>
              <a:spLocks noChangeArrowheads="1"/>
            </p:cNvSpPr>
            <p:nvPr/>
          </p:nvSpPr>
          <p:spPr bwMode="auto">
            <a:xfrm>
              <a:off x="88407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8" name="Oval 58"/>
            <p:cNvSpPr>
              <a:spLocks noChangeArrowheads="1"/>
            </p:cNvSpPr>
            <p:nvPr/>
          </p:nvSpPr>
          <p:spPr bwMode="auto">
            <a:xfrm>
              <a:off x="8904288"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9" name="Freeform 59"/>
            <p:cNvSpPr>
              <a:spLocks/>
            </p:cNvSpPr>
            <p:nvPr/>
          </p:nvSpPr>
          <p:spPr bwMode="auto">
            <a:xfrm>
              <a:off x="8472488" y="4394084"/>
              <a:ext cx="660400" cy="217488"/>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0" name="Freeform 60"/>
            <p:cNvSpPr>
              <a:spLocks/>
            </p:cNvSpPr>
            <p:nvPr/>
          </p:nvSpPr>
          <p:spPr bwMode="auto">
            <a:xfrm>
              <a:off x="8253413"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1" name="Oval 61"/>
            <p:cNvSpPr>
              <a:spLocks noChangeArrowheads="1"/>
            </p:cNvSpPr>
            <p:nvPr/>
          </p:nvSpPr>
          <p:spPr bwMode="auto">
            <a:xfrm>
              <a:off x="82470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2" name="Freeform 62"/>
            <p:cNvSpPr>
              <a:spLocks/>
            </p:cNvSpPr>
            <p:nvPr/>
          </p:nvSpPr>
          <p:spPr bwMode="auto">
            <a:xfrm>
              <a:off x="9204326"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3" name="Oval 63"/>
            <p:cNvSpPr>
              <a:spLocks noChangeArrowheads="1"/>
            </p:cNvSpPr>
            <p:nvPr/>
          </p:nvSpPr>
          <p:spPr bwMode="auto">
            <a:xfrm>
              <a:off x="92122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64"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endParaRPr kumimoji="0" lang="en-US" sz="4705" b="0" i="0" u="none" strike="noStrike" kern="1200" cap="none" spc="-100"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endParaRPr>
          </a:p>
        </p:txBody>
      </p:sp>
      <p:sp>
        <p:nvSpPr>
          <p:cNvPr id="65"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dirty="0">
                <a:gradFill>
                  <a:gsLst>
                    <a:gs pos="1250">
                      <a:srgbClr val="0078D7"/>
                    </a:gs>
                    <a:gs pos="99000">
                      <a:srgbClr val="0078D7"/>
                    </a:gs>
                  </a:gsLst>
                  <a:lin ang="5400000" scaled="0"/>
                </a:gradFill>
                <a:latin typeface="Segoe UI Light"/>
              </a:rPr>
              <a:t>Example: Real-time bot messaging</a:t>
            </a:r>
            <a:endParaRPr kumimoji="0" lang="en-US" sz="3921" b="0" i="0" u="none" strike="noStrike" kern="1200" cap="none" spc="0" normalizeH="0" baseline="0" noProof="0" dirty="0">
              <a:ln>
                <a:noFill/>
              </a:ln>
              <a:gradFill>
                <a:gsLst>
                  <a:gs pos="1250">
                    <a:srgbClr val="0078D7"/>
                  </a:gs>
                  <a:gs pos="99000">
                    <a:srgbClr val="0078D7"/>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40847246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20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20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20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20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2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ion</a:t>
            </a:r>
          </a:p>
        </p:txBody>
      </p:sp>
      <p:sp>
        <p:nvSpPr>
          <p:cNvPr id="3" name="Text Placeholder 2"/>
          <p:cNvSpPr>
            <a:spLocks noGrp="1"/>
          </p:cNvSpPr>
          <p:nvPr>
            <p:ph type="body" sz="quarter" idx="10"/>
          </p:nvPr>
        </p:nvSpPr>
        <p:spPr>
          <a:xfrm>
            <a:off x="269239" y="1189177"/>
            <a:ext cx="11653523" cy="727700"/>
          </a:xfrm>
        </p:spPr>
        <p:txBody>
          <a:bodyPr/>
          <a:lstStyle/>
          <a:p>
            <a:r>
              <a:rPr lang="en-US" dirty="0"/>
              <a:t>Example: Invoice Processing</a:t>
            </a:r>
          </a:p>
        </p:txBody>
      </p:sp>
      <p:sp>
        <p:nvSpPr>
          <p:cNvPr id="4" name="Rounded Rectangle 3"/>
          <p:cNvSpPr/>
          <p:nvPr/>
        </p:nvSpPr>
        <p:spPr bwMode="auto">
          <a:xfrm>
            <a:off x="2892641" y="4627130"/>
            <a:ext cx="2666594" cy="1923431"/>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ounded Rectangle 8"/>
          <p:cNvSpPr/>
          <p:nvPr/>
        </p:nvSpPr>
        <p:spPr bwMode="auto">
          <a:xfrm>
            <a:off x="6741179" y="2039458"/>
            <a:ext cx="2132589" cy="2547894"/>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2878365" y="2039458"/>
            <a:ext cx="8166072" cy="2547894"/>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ounded Rectangle 10"/>
          <p:cNvSpPr/>
          <p:nvPr/>
        </p:nvSpPr>
        <p:spPr bwMode="auto">
          <a:xfrm>
            <a:off x="841742" y="2059490"/>
            <a:ext cx="2001265" cy="4468760"/>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 name="Group 11"/>
          <p:cNvGrpSpPr/>
          <p:nvPr/>
        </p:nvGrpSpPr>
        <p:grpSpPr>
          <a:xfrm>
            <a:off x="702527" y="2378882"/>
            <a:ext cx="10419047" cy="3982883"/>
            <a:chOff x="108945" y="1436471"/>
            <a:chExt cx="11996707" cy="4847430"/>
          </a:xfrm>
        </p:grpSpPr>
        <p:sp>
          <p:nvSpPr>
            <p:cNvPr id="13" name="TextBox 12"/>
            <p:cNvSpPr txBox="1"/>
            <p:nvPr/>
          </p:nvSpPr>
          <p:spPr>
            <a:xfrm>
              <a:off x="9783934" y="1858014"/>
              <a:ext cx="2321718" cy="627863"/>
            </a:xfrm>
            <a:prstGeom prst="rect">
              <a:avLst/>
            </a:prstGeom>
            <a:noFill/>
          </p:spPr>
          <p:txBody>
            <a:bodyPr wrap="square" lIns="182880" tIns="146304" rIns="182880" bIns="146304" rtlCol="0" anchor="ctr">
              <a:spAutoFit/>
            </a:bodyPr>
            <a:lstStyle/>
            <a:p>
              <a:pPr algn="ctr">
                <a:lnSpc>
                  <a:spcPct val="90000"/>
                </a:lnSpc>
                <a:spcAft>
                  <a:spcPts val="600"/>
                </a:spcAft>
              </a:pPr>
              <a:r>
                <a:rPr lang="en-US" sz="2400" dirty="0">
                  <a:solidFill>
                    <a:srgbClr val="00BCF2"/>
                  </a:solidFill>
                </a:rPr>
                <a:t>Store record</a:t>
              </a:r>
            </a:p>
          </p:txBody>
        </p:sp>
        <p:grpSp>
          <p:nvGrpSpPr>
            <p:cNvPr id="14" name="Group 13"/>
            <p:cNvGrpSpPr/>
            <p:nvPr/>
          </p:nvGrpSpPr>
          <p:grpSpPr>
            <a:xfrm>
              <a:off x="108945" y="1436471"/>
              <a:ext cx="11537748" cy="4847430"/>
              <a:chOff x="108945" y="1436471"/>
              <a:chExt cx="11537748" cy="4847430"/>
            </a:xfrm>
          </p:grpSpPr>
          <p:cxnSp>
            <p:nvCxnSpPr>
              <p:cNvPr id="15" name="Straight Arrow Connector 14"/>
              <p:cNvCxnSpPr>
                <a:stCxn id="18" idx="6"/>
                <a:endCxn id="21" idx="2"/>
              </p:cNvCxnSpPr>
              <p:nvPr/>
            </p:nvCxnSpPr>
            <p:spPr>
              <a:xfrm>
                <a:off x="4316017" y="3127492"/>
                <a:ext cx="1141808"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21" idx="6"/>
                <a:endCxn id="25" idx="2"/>
              </p:cNvCxnSpPr>
              <p:nvPr/>
            </p:nvCxnSpPr>
            <p:spPr>
              <a:xfrm>
                <a:off x="6734175" y="3127492"/>
                <a:ext cx="1218008"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25" idx="6"/>
                <a:endCxn id="27" idx="2"/>
              </p:cNvCxnSpPr>
              <p:nvPr/>
            </p:nvCxnSpPr>
            <p:spPr>
              <a:xfrm>
                <a:off x="9228533" y="3127492"/>
                <a:ext cx="1141810"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Oval 17"/>
              <p:cNvSpPr/>
              <p:nvPr/>
            </p:nvSpPr>
            <p:spPr bwMode="auto">
              <a:xfrm>
                <a:off x="3039667"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TextBox 18"/>
              <p:cNvSpPr txBox="1"/>
              <p:nvPr/>
            </p:nvSpPr>
            <p:spPr>
              <a:xfrm>
                <a:off x="2377845" y="1436471"/>
                <a:ext cx="2683073" cy="1168703"/>
              </a:xfrm>
              <a:prstGeom prst="rect">
                <a:avLst/>
              </a:prstGeom>
              <a:noFill/>
            </p:spPr>
            <p:txBody>
              <a:bodyPr wrap="square" lIns="182880" tIns="146304" rIns="182880" bIns="146304" rtlCol="0" anchor="ctr">
                <a:spAutoFit/>
              </a:bodyPr>
              <a:lstStyle/>
              <a:p>
                <a:pPr algn="ctr">
                  <a:lnSpc>
                    <a:spcPct val="90000"/>
                  </a:lnSpc>
                  <a:spcAft>
                    <a:spcPts val="600"/>
                  </a:spcAft>
                </a:pPr>
                <a:r>
                  <a:rPr lang="en-US" sz="2400" dirty="0">
                    <a:solidFill>
                      <a:srgbClr val="00BCF2"/>
                    </a:solidFill>
                  </a:rPr>
                  <a:t>Post new invoice</a:t>
                </a:r>
              </a:p>
            </p:txBody>
          </p:sp>
          <p:sp>
            <p:nvSpPr>
              <p:cNvPr id="20" name="Right Arrow 19"/>
              <p:cNvSpPr/>
              <p:nvPr/>
            </p:nvSpPr>
            <p:spPr bwMode="auto">
              <a:xfrm>
                <a:off x="4620221" y="2917942"/>
                <a:ext cx="533400" cy="41910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Oval 20"/>
              <p:cNvSpPr/>
              <p:nvPr/>
            </p:nvSpPr>
            <p:spPr bwMode="auto">
              <a:xfrm>
                <a:off x="5457825"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Oval 21"/>
              <p:cNvSpPr/>
              <p:nvPr/>
            </p:nvSpPr>
            <p:spPr bwMode="auto">
              <a:xfrm>
                <a:off x="3464695" y="5026601"/>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2751883" y="4333646"/>
                <a:ext cx="2705942" cy="764152"/>
              </a:xfrm>
              <a:prstGeom prst="rect">
                <a:avLst/>
              </a:prstGeom>
              <a:noFill/>
            </p:spPr>
            <p:txBody>
              <a:bodyPr wrap="square" lIns="182880" tIns="146304" rIns="182880" bIns="146304" rtlCol="0" anchor="ctr">
                <a:spAutoFit/>
              </a:bodyPr>
              <a:lstStyle/>
              <a:p>
                <a:pPr algn="ctr">
                  <a:lnSpc>
                    <a:spcPct val="90000"/>
                  </a:lnSpc>
                  <a:spcAft>
                    <a:spcPts val="600"/>
                  </a:spcAft>
                </a:pPr>
                <a:r>
                  <a:rPr lang="en-US" sz="2400" dirty="0">
                    <a:solidFill>
                      <a:srgbClr val="00BCF2"/>
                    </a:solidFill>
                  </a:rPr>
                  <a:t>Fetch Invoice</a:t>
                </a:r>
              </a:p>
            </p:txBody>
          </p:sp>
          <p:sp>
            <p:nvSpPr>
              <p:cNvPr id="24" name="TextBox 23"/>
              <p:cNvSpPr txBox="1"/>
              <p:nvPr/>
            </p:nvSpPr>
            <p:spPr>
              <a:xfrm>
                <a:off x="4935141" y="1718900"/>
                <a:ext cx="2321718" cy="627864"/>
              </a:xfrm>
              <a:prstGeom prst="rect">
                <a:avLst/>
              </a:prstGeom>
              <a:noFill/>
            </p:spPr>
            <p:txBody>
              <a:bodyPr wrap="square" lIns="182880" tIns="146304" rIns="182880" bIns="146304" rtlCol="0" anchor="ctr">
                <a:spAutoFit/>
              </a:bodyPr>
              <a:lstStyle/>
              <a:p>
                <a:pPr algn="ctr">
                  <a:lnSpc>
                    <a:spcPct val="90000"/>
                  </a:lnSpc>
                  <a:spcAft>
                    <a:spcPts val="600"/>
                  </a:spcAft>
                </a:pPr>
                <a:r>
                  <a:rPr lang="en-US" sz="2400" dirty="0">
                    <a:solidFill>
                      <a:srgbClr val="00BCF2"/>
                    </a:solidFill>
                  </a:rPr>
                  <a:t>Grab raw file</a:t>
                </a:r>
              </a:p>
            </p:txBody>
          </p:sp>
          <p:sp>
            <p:nvSpPr>
              <p:cNvPr id="25" name="Oval 24"/>
              <p:cNvSpPr/>
              <p:nvPr/>
            </p:nvSpPr>
            <p:spPr bwMode="auto">
              <a:xfrm>
                <a:off x="7952183"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p:cNvSpPr txBox="1"/>
              <p:nvPr/>
            </p:nvSpPr>
            <p:spPr>
              <a:xfrm>
                <a:off x="7081311" y="1517382"/>
                <a:ext cx="2321718" cy="960264"/>
              </a:xfrm>
              <a:prstGeom prst="rect">
                <a:avLst/>
              </a:prstGeom>
              <a:noFill/>
            </p:spPr>
            <p:txBody>
              <a:bodyPr wrap="square" lIns="182880" tIns="146304" rIns="182880" bIns="146304" rtlCol="0" anchor="ctr">
                <a:spAutoFit/>
              </a:bodyPr>
              <a:lstStyle/>
              <a:p>
                <a:pPr algn="ctr">
                  <a:lnSpc>
                    <a:spcPct val="90000"/>
                  </a:lnSpc>
                  <a:spcAft>
                    <a:spcPts val="600"/>
                  </a:spcAft>
                </a:pPr>
                <a:r>
                  <a:rPr lang="en-US" sz="2400" dirty="0">
                    <a:solidFill>
                      <a:srgbClr val="00BCF2"/>
                    </a:solidFill>
                  </a:rPr>
                  <a:t>Convert to JSON</a:t>
                </a:r>
              </a:p>
            </p:txBody>
          </p:sp>
          <p:sp>
            <p:nvSpPr>
              <p:cNvPr id="27" name="Oval 26"/>
              <p:cNvSpPr/>
              <p:nvPr/>
            </p:nvSpPr>
            <p:spPr bwMode="auto">
              <a:xfrm>
                <a:off x="10370343"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Oval 27"/>
              <p:cNvSpPr/>
              <p:nvPr/>
            </p:nvSpPr>
            <p:spPr bwMode="auto">
              <a:xfrm>
                <a:off x="614365" y="3739138"/>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9" name="TextBox 28"/>
              <p:cNvSpPr txBox="1"/>
              <p:nvPr/>
            </p:nvSpPr>
            <p:spPr>
              <a:xfrm>
                <a:off x="108945" y="2932469"/>
                <a:ext cx="2321718" cy="764152"/>
              </a:xfrm>
              <a:prstGeom prst="rect">
                <a:avLst/>
              </a:prstGeom>
              <a:noFill/>
            </p:spPr>
            <p:txBody>
              <a:bodyPr wrap="square" lIns="182880" tIns="146304" rIns="182880" bIns="146304" rtlCol="0" anchor="ctr">
                <a:spAutoFit/>
              </a:bodyPr>
              <a:lstStyle/>
              <a:p>
                <a:pPr algn="ctr">
                  <a:lnSpc>
                    <a:spcPct val="90000"/>
                  </a:lnSpc>
                  <a:spcAft>
                    <a:spcPts val="600"/>
                  </a:spcAft>
                </a:pPr>
                <a:r>
                  <a:rPr lang="en-US" sz="2400" dirty="0">
                    <a:solidFill>
                      <a:srgbClr val="00BCF2"/>
                    </a:solidFill>
                  </a:rPr>
                  <a:t>API layer</a:t>
                </a:r>
              </a:p>
            </p:txBody>
          </p:sp>
          <p:sp>
            <p:nvSpPr>
              <p:cNvPr id="30" name="Equal 29"/>
              <p:cNvSpPr/>
              <p:nvPr/>
            </p:nvSpPr>
            <p:spPr bwMode="auto">
              <a:xfrm>
                <a:off x="7038379" y="2930211"/>
                <a:ext cx="609600" cy="394562"/>
              </a:xfrm>
              <a:prstGeom prst="mathEqual">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Right Arrow 30"/>
              <p:cNvSpPr/>
              <p:nvPr/>
            </p:nvSpPr>
            <p:spPr bwMode="auto">
              <a:xfrm>
                <a:off x="9532737" y="2917942"/>
                <a:ext cx="533400" cy="41910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Can 31"/>
              <p:cNvSpPr/>
              <p:nvPr/>
            </p:nvSpPr>
            <p:spPr bwMode="auto">
              <a:xfrm>
                <a:off x="8147444" y="5059756"/>
                <a:ext cx="885825" cy="1190988"/>
              </a:xfrm>
              <a:prstGeom prst="can">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3" name="Straight Arrow Connector 32"/>
              <p:cNvCxnSpPr>
                <a:stCxn id="28" idx="7"/>
                <a:endCxn id="18" idx="2"/>
              </p:cNvCxnSpPr>
              <p:nvPr/>
            </p:nvCxnSpPr>
            <p:spPr>
              <a:xfrm flipV="1">
                <a:off x="1703798" y="3127492"/>
                <a:ext cx="1335869" cy="795773"/>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8" idx="5"/>
                <a:endCxn id="22" idx="2"/>
              </p:cNvCxnSpPr>
              <p:nvPr/>
            </p:nvCxnSpPr>
            <p:spPr>
              <a:xfrm>
                <a:off x="1703797" y="4812310"/>
                <a:ext cx="1760898" cy="842941"/>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5" name="Plus 34"/>
              <p:cNvSpPr/>
              <p:nvPr/>
            </p:nvSpPr>
            <p:spPr bwMode="auto">
              <a:xfrm>
                <a:off x="2078238" y="3233824"/>
                <a:ext cx="533400" cy="523875"/>
              </a:xfrm>
              <a:prstGeom prst="mathPlus">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Plus 35"/>
              <p:cNvSpPr/>
              <p:nvPr/>
            </p:nvSpPr>
            <p:spPr bwMode="auto">
              <a:xfrm>
                <a:off x="2100264" y="4975811"/>
                <a:ext cx="533400" cy="523875"/>
              </a:xfrm>
              <a:prstGeom prst="mathPlus">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7" name="Straight Arrow Connector 36"/>
              <p:cNvCxnSpPr>
                <a:stCxn id="22" idx="6"/>
                <a:endCxn id="32" idx="2"/>
              </p:cNvCxnSpPr>
              <p:nvPr/>
            </p:nvCxnSpPr>
            <p:spPr>
              <a:xfrm flipV="1">
                <a:off x="4741045" y="5655250"/>
                <a:ext cx="3406399" cy="1"/>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27" idx="4"/>
                <a:endCxn id="32" idx="4"/>
              </p:cNvCxnSpPr>
              <p:nvPr/>
            </p:nvCxnSpPr>
            <p:spPr>
              <a:xfrm rot="5400000">
                <a:off x="9071340" y="3718071"/>
                <a:ext cx="1899108" cy="1975250"/>
              </a:xfrm>
              <a:prstGeom prst="bentConnector2">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grpSp>
      </p:grpSp>
      <p:sp>
        <p:nvSpPr>
          <p:cNvPr id="39" name="TextBox 38"/>
          <p:cNvSpPr txBox="1"/>
          <p:nvPr/>
        </p:nvSpPr>
        <p:spPr>
          <a:xfrm>
            <a:off x="695147" y="2039458"/>
            <a:ext cx="2241813" cy="788998"/>
          </a:xfrm>
          <a:prstGeom prst="rect">
            <a:avLst/>
          </a:prstGeom>
          <a:noFill/>
        </p:spPr>
        <p:txBody>
          <a:bodyPr wrap="square" lIns="182880" tIns="146304" rIns="182880" bIns="146304" rtlCol="0" anchor="ctr">
            <a:spAutoFit/>
          </a:bodyPr>
          <a:lstStyle/>
          <a:p>
            <a:pPr algn="ctr">
              <a:lnSpc>
                <a:spcPct val="90000"/>
              </a:lnSpc>
              <a:spcAft>
                <a:spcPts val="600"/>
              </a:spcAft>
            </a:pPr>
            <a:r>
              <a:rPr lang="en-US" sz="2400" dirty="0">
                <a:solidFill>
                  <a:srgbClr val="0078D7"/>
                </a:solidFill>
              </a:rPr>
              <a:t>API Management</a:t>
            </a:r>
          </a:p>
        </p:txBody>
      </p:sp>
      <p:pic>
        <p:nvPicPr>
          <p:cNvPr id="40" name="Picture 2" descr="https://az213233.vo.msecnd.net/Content/6.0.00298.4.160413-1548/ApiManagement/Images/ApiManagement.png"/>
          <p:cNvPicPr>
            <a:picLocks noChangeAspect="1" noChangeArrowheads="1"/>
          </p:cNvPicPr>
          <p:nvPr/>
        </p:nvPicPr>
        <p:blipFill rotWithShape="1">
          <a:blip r:embed="rId3">
            <a:extLst>
              <a:ext uri="{28A0092B-C50C-407E-A947-70E740481C1C}">
                <a14:useLocalDpi xmlns:a14="http://schemas.microsoft.com/office/drawing/2010/main" val="0"/>
              </a:ext>
            </a:extLst>
          </a:blip>
          <a:srcRect l="49976" t="-11700"/>
          <a:stretch/>
        </p:blipFill>
        <p:spPr bwMode="auto">
          <a:xfrm>
            <a:off x="1475175" y="4496047"/>
            <a:ext cx="441110" cy="519490"/>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04875" y="3553762"/>
            <a:ext cx="527384" cy="429087"/>
          </a:xfrm>
          <a:prstGeom prst="rect">
            <a:avLst/>
          </a:prstGeom>
        </p:spPr>
      </p:pic>
      <p:sp>
        <p:nvSpPr>
          <p:cNvPr id="43" name="TextBox 42"/>
          <p:cNvSpPr txBox="1"/>
          <p:nvPr/>
        </p:nvSpPr>
        <p:spPr>
          <a:xfrm>
            <a:off x="2876047" y="1916877"/>
            <a:ext cx="3467060" cy="627864"/>
          </a:xfrm>
          <a:prstGeom prst="rect">
            <a:avLst/>
          </a:prstGeom>
          <a:noFill/>
        </p:spPr>
        <p:txBody>
          <a:bodyPr wrap="square" lIns="182880" tIns="146304" rIns="182880" bIns="146304" rtlCol="0" anchor="ctr">
            <a:spAutoFit/>
          </a:bodyPr>
          <a:lstStyle/>
          <a:p>
            <a:pPr algn="ctr">
              <a:lnSpc>
                <a:spcPct val="90000"/>
              </a:lnSpc>
              <a:spcAft>
                <a:spcPts val="600"/>
              </a:spcAft>
            </a:pPr>
            <a:r>
              <a:rPr lang="en-US" sz="2400" dirty="0">
                <a:solidFill>
                  <a:srgbClr val="0078D7"/>
                </a:solidFill>
              </a:rPr>
              <a:t>Logic App</a:t>
            </a:r>
          </a:p>
        </p:txBody>
      </p:sp>
      <p:pic>
        <p:nvPicPr>
          <p:cNvPr id="44" name="Picture 43"/>
          <p:cNvPicPr>
            <a:picLocks noChangeAspect="1"/>
          </p:cNvPicPr>
          <p:nvPr/>
        </p:nvPicPr>
        <p:blipFill>
          <a:blip r:embed="rId5"/>
          <a:stretch>
            <a:fillRect/>
          </a:stretch>
        </p:blipFill>
        <p:spPr>
          <a:xfrm>
            <a:off x="3553397" y="3508098"/>
            <a:ext cx="502378" cy="474751"/>
          </a:xfrm>
          <a:prstGeom prst="rect">
            <a:avLst/>
          </a:prstGeom>
        </p:spPr>
      </p:pic>
      <p:pic>
        <p:nvPicPr>
          <p:cNvPr id="45" name="Picture 44"/>
          <p:cNvPicPr>
            <a:picLocks noChangeAspect="1"/>
          </p:cNvPicPr>
          <p:nvPr/>
        </p:nvPicPr>
        <p:blipFill>
          <a:blip r:embed="rId5"/>
          <a:stretch>
            <a:fillRect/>
          </a:stretch>
        </p:blipFill>
        <p:spPr>
          <a:xfrm>
            <a:off x="5648549" y="3508098"/>
            <a:ext cx="502378" cy="474751"/>
          </a:xfrm>
          <a:prstGeom prst="rect">
            <a:avLst/>
          </a:prstGeom>
        </p:spPr>
      </p:pic>
      <p:pic>
        <p:nvPicPr>
          <p:cNvPr id="46" name="Picture 45"/>
          <p:cNvPicPr>
            <a:picLocks noChangeAspect="1"/>
          </p:cNvPicPr>
          <p:nvPr/>
        </p:nvPicPr>
        <p:blipFill>
          <a:blip r:embed="rId5"/>
          <a:stretch>
            <a:fillRect/>
          </a:stretch>
        </p:blipFill>
        <p:spPr>
          <a:xfrm>
            <a:off x="9949830" y="3508098"/>
            <a:ext cx="502378" cy="474751"/>
          </a:xfrm>
          <a:prstGeom prst="rect">
            <a:avLst/>
          </a:prstGeom>
        </p:spPr>
      </p:pic>
      <p:pic>
        <p:nvPicPr>
          <p:cNvPr id="47" name="Picture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07528" y="5657933"/>
            <a:ext cx="527384" cy="429087"/>
          </a:xfrm>
          <a:prstGeom prst="rect">
            <a:avLst/>
          </a:prstGeom>
        </p:spPr>
      </p:pic>
      <p:sp>
        <p:nvSpPr>
          <p:cNvPr id="41" name="TextBox 40"/>
          <p:cNvSpPr txBox="1"/>
          <p:nvPr/>
        </p:nvSpPr>
        <p:spPr>
          <a:xfrm>
            <a:off x="6661749" y="1953758"/>
            <a:ext cx="2241813" cy="515883"/>
          </a:xfrm>
          <a:prstGeom prst="rect">
            <a:avLst/>
          </a:prstGeom>
          <a:noFill/>
        </p:spPr>
        <p:txBody>
          <a:bodyPr wrap="square" lIns="182880" tIns="146304" rIns="182880" bIns="146304" rtlCol="0" anchor="ctr">
            <a:spAutoFit/>
          </a:bodyPr>
          <a:lstStyle/>
          <a:p>
            <a:pPr algn="ctr">
              <a:lnSpc>
                <a:spcPct val="90000"/>
              </a:lnSpc>
              <a:spcAft>
                <a:spcPts val="600"/>
              </a:spcAft>
            </a:pPr>
            <a:r>
              <a:rPr lang="en-US" sz="2400" dirty="0">
                <a:solidFill>
                  <a:srgbClr val="0078D7"/>
                </a:solidFill>
              </a:rPr>
              <a:t>Function</a:t>
            </a:r>
          </a:p>
        </p:txBody>
      </p:sp>
    </p:spTree>
    <p:extLst>
      <p:ext uri="{BB962C8B-B14F-4D97-AF65-F5344CB8AC3E}">
        <p14:creationId xmlns:p14="http://schemas.microsoft.com/office/powerpoint/2010/main" val="4081300326"/>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2100263" y="1189176"/>
            <a:ext cx="7991475" cy="5097779"/>
            <a:chOff x="1773004" y="1189176"/>
            <a:chExt cx="7991475" cy="5097779"/>
          </a:xfrm>
        </p:grpSpPr>
        <p:grpSp>
          <p:nvGrpSpPr>
            <p:cNvPr id="9" name="Group 8"/>
            <p:cNvGrpSpPr/>
            <p:nvPr/>
          </p:nvGrpSpPr>
          <p:grpSpPr>
            <a:xfrm>
              <a:off x="1773004" y="1189176"/>
              <a:ext cx="7991475" cy="5097779"/>
              <a:chOff x="2100262" y="880110"/>
              <a:chExt cx="7991475" cy="5097779"/>
            </a:xfrm>
          </p:grpSpPr>
          <p:pic>
            <p:nvPicPr>
              <p:cNvPr id="5" name="Picture 4"/>
              <p:cNvPicPr>
                <a:picLocks noChangeAspect="1"/>
              </p:cNvPicPr>
              <p:nvPr/>
            </p:nvPicPr>
            <p:blipFill>
              <a:blip r:embed="rId2"/>
              <a:stretch>
                <a:fillRect/>
              </a:stretch>
            </p:blipFill>
            <p:spPr>
              <a:xfrm>
                <a:off x="2100262" y="2767012"/>
                <a:ext cx="7991475" cy="1323975"/>
              </a:xfrm>
              <a:prstGeom prst="rect">
                <a:avLst/>
              </a:prstGeom>
            </p:spPr>
          </p:pic>
          <p:sp>
            <p:nvSpPr>
              <p:cNvPr id="3" name="Line Callout 1 2"/>
              <p:cNvSpPr/>
              <p:nvPr/>
            </p:nvSpPr>
            <p:spPr bwMode="auto">
              <a:xfrm>
                <a:off x="3440802" y="880110"/>
                <a:ext cx="2251710" cy="1211580"/>
              </a:xfrm>
              <a:prstGeom prst="borderCallout1">
                <a:avLst>
                  <a:gd name="adj1" fmla="val 97995"/>
                  <a:gd name="adj2" fmla="val 52073"/>
                  <a:gd name="adj3" fmla="val 156840"/>
                  <a:gd name="adj4" fmla="val 18552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Trigger</a:t>
                </a:r>
              </a:p>
            </p:txBody>
          </p:sp>
          <p:sp>
            <p:nvSpPr>
              <p:cNvPr id="6" name="Line Callout 1 5"/>
              <p:cNvSpPr/>
              <p:nvPr/>
            </p:nvSpPr>
            <p:spPr bwMode="auto">
              <a:xfrm>
                <a:off x="7215558" y="880110"/>
                <a:ext cx="2251710" cy="1211580"/>
              </a:xfrm>
              <a:prstGeom prst="borderCallout1">
                <a:avLst>
                  <a:gd name="adj1" fmla="val 97995"/>
                  <a:gd name="adj2" fmla="val 52073"/>
                  <a:gd name="adj3" fmla="val 163513"/>
                  <a:gd name="adj4" fmla="val 5878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nput</a:t>
                </a:r>
              </a:p>
            </p:txBody>
          </p:sp>
          <p:sp>
            <p:nvSpPr>
              <p:cNvPr id="7" name="Line Callout 1 6"/>
              <p:cNvSpPr/>
              <p:nvPr/>
            </p:nvSpPr>
            <p:spPr bwMode="auto">
              <a:xfrm>
                <a:off x="7215558" y="4766309"/>
                <a:ext cx="2251710" cy="1211580"/>
              </a:xfrm>
              <a:prstGeom prst="borderCallout1">
                <a:avLst>
                  <a:gd name="adj1" fmla="val -90684"/>
                  <a:gd name="adj2" fmla="val -20515"/>
                  <a:gd name="adj3" fmla="val -2594"/>
                  <a:gd name="adj4" fmla="val 44408"/>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Output</a:t>
                </a:r>
              </a:p>
            </p:txBody>
          </p:sp>
          <p:sp>
            <p:nvSpPr>
              <p:cNvPr id="8" name="Line Callout 1 7"/>
              <p:cNvSpPr/>
              <p:nvPr/>
            </p:nvSpPr>
            <p:spPr bwMode="auto">
              <a:xfrm>
                <a:off x="3440802" y="4766309"/>
                <a:ext cx="2251710" cy="1211580"/>
              </a:xfrm>
              <a:prstGeom prst="borderCallout1">
                <a:avLst>
                  <a:gd name="adj1" fmla="val 1769"/>
                  <a:gd name="adj2" fmla="val 40398"/>
                  <a:gd name="adj3" fmla="val -109198"/>
                  <a:gd name="adj4" fmla="val 4187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de</a:t>
                </a:r>
              </a:p>
            </p:txBody>
          </p:sp>
        </p:grpSp>
        <p:cxnSp>
          <p:nvCxnSpPr>
            <p:cNvPr id="4" name="Straight Arrow Connector 3"/>
            <p:cNvCxnSpPr>
              <a:stCxn id="3" idx="1"/>
            </p:cNvCxnSpPr>
            <p:nvPr/>
          </p:nvCxnSpPr>
          <p:spPr>
            <a:xfrm>
              <a:off x="4239399" y="2400756"/>
              <a:ext cx="3095051" cy="74776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a:stCxn id="6" idx="1"/>
            </p:cNvCxnSpPr>
            <p:nvPr/>
          </p:nvCxnSpPr>
          <p:spPr>
            <a:xfrm>
              <a:off x="8014155" y="2400756"/>
              <a:ext cx="427201" cy="67532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8" idx="3"/>
            </p:cNvCxnSpPr>
            <p:nvPr/>
          </p:nvCxnSpPr>
          <p:spPr>
            <a:xfrm flipH="1" flipV="1">
              <a:off x="3830855" y="3706784"/>
              <a:ext cx="408544" cy="136859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7" idx="3"/>
            </p:cNvCxnSpPr>
            <p:nvPr/>
          </p:nvCxnSpPr>
          <p:spPr>
            <a:xfrm flipH="1" flipV="1">
              <a:off x="6169794" y="3928165"/>
              <a:ext cx="1844361" cy="114721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6" name="Title 15"/>
          <p:cNvSpPr>
            <a:spLocks noGrp="1"/>
          </p:cNvSpPr>
          <p:nvPr>
            <p:ph type="title"/>
          </p:nvPr>
        </p:nvSpPr>
        <p:spPr/>
        <p:txBody>
          <a:bodyPr/>
          <a:lstStyle/>
          <a:p>
            <a:r>
              <a:rPr lang="en-US" dirty="0"/>
              <a:t>Functions programming concepts</a:t>
            </a:r>
          </a:p>
        </p:txBody>
      </p:sp>
    </p:spTree>
    <p:extLst>
      <p:ext uri="{BB962C8B-B14F-4D97-AF65-F5344CB8AC3E}">
        <p14:creationId xmlns:p14="http://schemas.microsoft.com/office/powerpoint/2010/main" val="323163056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515320" y="1205317"/>
            <a:ext cx="11161360" cy="5148542"/>
            <a:chOff x="518698" y="1205317"/>
            <a:chExt cx="11161360" cy="5148542"/>
          </a:xfrm>
        </p:grpSpPr>
        <p:sp>
          <p:nvSpPr>
            <p:cNvPr id="75" name="Right Arrow 74"/>
            <p:cNvSpPr/>
            <p:nvPr/>
          </p:nvSpPr>
          <p:spPr>
            <a:xfrm rot="10800000">
              <a:off x="6946561" y="4812901"/>
              <a:ext cx="546608" cy="372615"/>
            </a:xfrm>
            <a:prstGeom prst="rightArrow">
              <a:avLst>
                <a:gd name="adj1" fmla="val 50000"/>
                <a:gd name="adj2" fmla="val 73537"/>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367">
                <a:defRPr/>
              </a:pPr>
              <a:endParaRPr lang="en-US" sz="1200">
                <a:solidFill>
                  <a:srgbClr val="505050"/>
                </a:solidFill>
              </a:endParaRPr>
            </a:p>
          </p:txBody>
        </p:sp>
        <p:sp>
          <p:nvSpPr>
            <p:cNvPr id="71" name="Right Arrow 70"/>
            <p:cNvSpPr/>
            <p:nvPr/>
          </p:nvSpPr>
          <p:spPr>
            <a:xfrm rot="13394679">
              <a:off x="6035743" y="3703114"/>
              <a:ext cx="1721472" cy="372615"/>
            </a:xfrm>
            <a:prstGeom prst="rightArrow">
              <a:avLst>
                <a:gd name="adj1" fmla="val 50000"/>
                <a:gd name="adj2" fmla="val 73537"/>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367">
                <a:defRPr/>
              </a:pPr>
              <a:endParaRPr lang="en-US" sz="1200">
                <a:solidFill>
                  <a:srgbClr val="505050"/>
                </a:solidFill>
              </a:endParaRPr>
            </a:p>
          </p:txBody>
        </p:sp>
        <p:sp>
          <p:nvSpPr>
            <p:cNvPr id="74" name="Right Arrow 73"/>
            <p:cNvSpPr/>
            <p:nvPr/>
          </p:nvSpPr>
          <p:spPr>
            <a:xfrm rot="5400000">
              <a:off x="7707860" y="3318438"/>
              <a:ext cx="1090106" cy="1021594"/>
            </a:xfrm>
            <a:prstGeom prst="rightArrow">
              <a:avLst>
                <a:gd name="adj1" fmla="val 50000"/>
                <a:gd name="adj2" fmla="val 73537"/>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367">
                <a:defRPr/>
              </a:pPr>
              <a:endParaRPr lang="en-US" sz="1200">
                <a:solidFill>
                  <a:srgbClr val="505050"/>
                </a:solidFill>
              </a:endParaRPr>
            </a:p>
          </p:txBody>
        </p:sp>
        <p:sp>
          <p:nvSpPr>
            <p:cNvPr id="68" name="Right Arrow 67"/>
            <p:cNvSpPr/>
            <p:nvPr/>
          </p:nvSpPr>
          <p:spPr>
            <a:xfrm>
              <a:off x="2103736" y="2000307"/>
              <a:ext cx="8631024" cy="1021594"/>
            </a:xfrm>
            <a:prstGeom prst="rightArrow">
              <a:avLst>
                <a:gd name="adj1" fmla="val 50000"/>
                <a:gd name="adj2" fmla="val 73537"/>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367">
                <a:defRPr/>
              </a:pPr>
              <a:endParaRPr lang="en-US" sz="1200">
                <a:solidFill>
                  <a:srgbClr val="505050"/>
                </a:solidFill>
              </a:endParaRPr>
            </a:p>
          </p:txBody>
        </p:sp>
        <p:sp>
          <p:nvSpPr>
            <p:cNvPr id="66" name="Rounded Rectangle 65"/>
            <p:cNvSpPr/>
            <p:nvPr/>
          </p:nvSpPr>
          <p:spPr>
            <a:xfrm>
              <a:off x="534104" y="1711117"/>
              <a:ext cx="1599973" cy="1599973"/>
            </a:xfrm>
            <a:prstGeom prst="roundRect">
              <a:avLst>
                <a:gd name="adj" fmla="val 5783"/>
              </a:avLst>
            </a:prstGeom>
            <a:solidFill>
              <a:schemeClr val="tx1"/>
            </a:solidFill>
            <a:ln w="285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367">
                <a:defRPr/>
              </a:pPr>
              <a:endParaRPr lang="en-US" sz="1200" err="1">
                <a:solidFill>
                  <a:srgbClr val="505050"/>
                </a:solidFill>
              </a:endParaRPr>
            </a:p>
          </p:txBody>
        </p:sp>
        <p:sp>
          <p:nvSpPr>
            <p:cNvPr id="4" name="TextBox 12"/>
            <p:cNvSpPr txBox="1"/>
            <p:nvPr/>
          </p:nvSpPr>
          <p:spPr>
            <a:xfrm>
              <a:off x="518698" y="1240673"/>
              <a:ext cx="1203421" cy="380946"/>
            </a:xfrm>
            <a:prstGeom prst="rect">
              <a:avLst/>
            </a:prstGeom>
          </p:spPr>
          <p:txBody>
            <a:bodyPr vert="horz" wrap="square" lIns="91427" tIns="91427" rIns="91427" bIns="91427" rtlCol="0" anchor="t">
              <a:noAutofit/>
            </a:bodyPr>
            <a:lstStyle/>
            <a:p>
              <a:pPr marL="233318" indent="-233318" defTabSz="914367">
                <a:defRPr/>
              </a:pPr>
              <a:r>
                <a:rPr lang="en-US" sz="1600">
                  <a:solidFill>
                    <a:srgbClr val="505050"/>
                  </a:solidFill>
                  <a:ea typeface="Segoe UI" pitchFamily="34" charset="0"/>
                  <a:cs typeface="Segoe UI" pitchFamily="34" charset="0"/>
                </a:rPr>
                <a:t>1) Trigger</a:t>
              </a:r>
            </a:p>
          </p:txBody>
        </p:sp>
        <p:sp>
          <p:nvSpPr>
            <p:cNvPr id="5" name="TextBox 24"/>
            <p:cNvSpPr txBox="1"/>
            <p:nvPr/>
          </p:nvSpPr>
          <p:spPr>
            <a:xfrm>
              <a:off x="4583706" y="5486449"/>
              <a:ext cx="1855096" cy="380946"/>
            </a:xfrm>
            <a:prstGeom prst="rect">
              <a:avLst/>
            </a:prstGeom>
          </p:spPr>
          <p:txBody>
            <a:bodyPr vert="horz" wrap="square" lIns="91427" tIns="91427" rIns="91427" bIns="91427" rtlCol="0" anchor="t">
              <a:noAutofit/>
            </a:bodyPr>
            <a:lstStyle/>
            <a:p>
              <a:pPr defTabSz="914367">
                <a:defRPr/>
              </a:pPr>
              <a:r>
                <a:rPr lang="en-US" sz="1600">
                  <a:solidFill>
                    <a:srgbClr val="505050"/>
                  </a:solidFill>
                  <a:ea typeface="Segoe UI" pitchFamily="34" charset="0"/>
                  <a:cs typeface="Segoe UI" pitchFamily="34" charset="0"/>
                </a:rPr>
                <a:t>7) Develop Locally</a:t>
              </a:r>
            </a:p>
          </p:txBody>
        </p:sp>
        <p:sp>
          <p:nvSpPr>
            <p:cNvPr id="6" name="TextBox 25"/>
            <p:cNvSpPr txBox="1"/>
            <p:nvPr/>
          </p:nvSpPr>
          <p:spPr>
            <a:xfrm>
              <a:off x="4583706" y="1240673"/>
              <a:ext cx="1980919" cy="380946"/>
            </a:xfrm>
            <a:prstGeom prst="rect">
              <a:avLst/>
            </a:prstGeom>
          </p:spPr>
          <p:txBody>
            <a:bodyPr vert="horz" wrap="square" lIns="91427" tIns="91427" rIns="91427" bIns="91427" rtlCol="0" anchor="t">
              <a:noAutofit/>
            </a:bodyPr>
            <a:lstStyle/>
            <a:p>
              <a:pPr marL="233318" indent="-233318" defTabSz="914367">
                <a:defRPr/>
              </a:pPr>
              <a:r>
                <a:rPr lang="en-US" sz="1600">
                  <a:solidFill>
                    <a:srgbClr val="505050"/>
                  </a:solidFill>
                  <a:ea typeface="Segoe UI" pitchFamily="34" charset="0"/>
                  <a:cs typeface="Segoe UI" pitchFamily="34" charset="0"/>
                </a:rPr>
                <a:t>3) Develop</a:t>
              </a:r>
            </a:p>
          </p:txBody>
        </p:sp>
        <p:sp>
          <p:nvSpPr>
            <p:cNvPr id="7" name="TextBox 30"/>
            <p:cNvSpPr txBox="1"/>
            <p:nvPr/>
          </p:nvSpPr>
          <p:spPr>
            <a:xfrm>
              <a:off x="7452926" y="1205317"/>
              <a:ext cx="1607606" cy="380946"/>
            </a:xfrm>
            <a:prstGeom prst="rect">
              <a:avLst/>
            </a:prstGeom>
          </p:spPr>
          <p:txBody>
            <a:bodyPr vert="horz" wrap="square" lIns="91427" tIns="91427" rIns="91427" bIns="91427" rtlCol="0" anchor="t">
              <a:noAutofit/>
            </a:bodyPr>
            <a:lstStyle/>
            <a:p>
              <a:pPr marL="233318" indent="-233318" defTabSz="914367">
                <a:defRPr/>
              </a:pPr>
              <a:r>
                <a:rPr lang="en-US" sz="1600">
                  <a:solidFill>
                    <a:srgbClr val="505050"/>
                  </a:solidFill>
                  <a:ea typeface="Segoe UI" pitchFamily="34" charset="0"/>
                  <a:cs typeface="Segoe UI" pitchFamily="34" charset="0"/>
                </a:rPr>
                <a:t>4) Execute</a:t>
              </a:r>
            </a:p>
          </p:txBody>
        </p:sp>
        <p:sp>
          <p:nvSpPr>
            <p:cNvPr id="11" name="TextBox 10"/>
            <p:cNvSpPr txBox="1"/>
            <p:nvPr/>
          </p:nvSpPr>
          <p:spPr>
            <a:xfrm>
              <a:off x="7180370" y="5972913"/>
              <a:ext cx="2447018" cy="380946"/>
            </a:xfrm>
            <a:prstGeom prst="rect">
              <a:avLst/>
            </a:prstGeom>
          </p:spPr>
          <p:txBody>
            <a:bodyPr vert="horz" wrap="square" lIns="91427" tIns="91427" rIns="91427" bIns="91427" rtlCol="0" anchor="t">
              <a:noAutofit/>
            </a:bodyPr>
            <a:lstStyle/>
            <a:p>
              <a:pPr defTabSz="914367">
                <a:defRPr/>
              </a:pPr>
              <a:r>
                <a:rPr lang="en-US" sz="1600">
                  <a:solidFill>
                    <a:srgbClr val="505050"/>
                  </a:solidFill>
                  <a:ea typeface="Segoe UI" pitchFamily="34" charset="0"/>
                  <a:cs typeface="Segoe UI" pitchFamily="34" charset="0"/>
                </a:rPr>
                <a:t>6) Monitor and Improve</a:t>
              </a:r>
            </a:p>
          </p:txBody>
        </p:sp>
        <p:sp>
          <p:nvSpPr>
            <p:cNvPr id="12" name="Rounded Rectangle 11"/>
            <p:cNvSpPr/>
            <p:nvPr/>
          </p:nvSpPr>
          <p:spPr>
            <a:xfrm>
              <a:off x="7493169" y="4385531"/>
              <a:ext cx="1635977" cy="1599973"/>
            </a:xfrm>
            <a:prstGeom prst="roundRect">
              <a:avLst>
                <a:gd name="adj" fmla="val 5783"/>
              </a:avLst>
            </a:prstGeom>
            <a:solidFill>
              <a:schemeClr val="tx1"/>
            </a:solidFill>
            <a:ln w="285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367">
                <a:defRPr/>
              </a:pPr>
              <a:endParaRPr lang="en-US" sz="1200" err="1">
                <a:solidFill>
                  <a:srgbClr val="505050"/>
                </a:solidFill>
              </a:endParaRPr>
            </a:p>
          </p:txBody>
        </p:sp>
        <p:sp>
          <p:nvSpPr>
            <p:cNvPr id="40" name="Rounded Rectangle 39"/>
            <p:cNvSpPr/>
            <p:nvPr/>
          </p:nvSpPr>
          <p:spPr>
            <a:xfrm>
              <a:off x="4685456" y="1698389"/>
              <a:ext cx="1599973" cy="1599973"/>
            </a:xfrm>
            <a:prstGeom prst="roundRect">
              <a:avLst>
                <a:gd name="adj" fmla="val 5783"/>
              </a:avLst>
            </a:prstGeom>
            <a:solidFill>
              <a:schemeClr val="tx1"/>
            </a:solidFill>
            <a:ln w="285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367">
                <a:defRPr/>
              </a:pPr>
              <a:endParaRPr lang="en-US" sz="1200" err="1">
                <a:solidFill>
                  <a:srgbClr val="505050"/>
                </a:solidFill>
              </a:endParaRPr>
            </a:p>
          </p:txBody>
        </p:sp>
        <p:sp>
          <p:nvSpPr>
            <p:cNvPr id="41" name="Rounded Rectangle 40"/>
            <p:cNvSpPr/>
            <p:nvPr/>
          </p:nvSpPr>
          <p:spPr>
            <a:xfrm>
              <a:off x="7452926" y="1672251"/>
              <a:ext cx="1599973" cy="1599973"/>
            </a:xfrm>
            <a:prstGeom prst="roundRect">
              <a:avLst>
                <a:gd name="adj" fmla="val 5783"/>
              </a:avLst>
            </a:prstGeom>
            <a:solidFill>
              <a:schemeClr val="tx1"/>
            </a:solidFill>
            <a:ln w="285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367">
                <a:defRPr/>
              </a:pPr>
              <a:endParaRPr lang="en-US" sz="1200" err="1">
                <a:solidFill>
                  <a:srgbClr val="505050"/>
                </a:solidFill>
              </a:endParaRPr>
            </a:p>
          </p:txBody>
        </p:sp>
        <p:sp>
          <p:nvSpPr>
            <p:cNvPr id="45" name="Rounded Rectangle 44"/>
            <p:cNvSpPr/>
            <p:nvPr/>
          </p:nvSpPr>
          <p:spPr>
            <a:xfrm>
              <a:off x="2536286" y="1695454"/>
              <a:ext cx="1599973" cy="1599973"/>
            </a:xfrm>
            <a:prstGeom prst="roundRect">
              <a:avLst>
                <a:gd name="adj" fmla="val 5783"/>
              </a:avLst>
            </a:prstGeom>
            <a:solidFill>
              <a:schemeClr val="tx1"/>
            </a:solidFill>
            <a:ln w="285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367">
                <a:defRPr/>
              </a:pPr>
              <a:endParaRPr lang="en-US" sz="1200" err="1">
                <a:solidFill>
                  <a:srgbClr val="505050"/>
                </a:solidFill>
              </a:endParaRPr>
            </a:p>
          </p:txBody>
        </p:sp>
        <p:sp>
          <p:nvSpPr>
            <p:cNvPr id="56" name="TextBox 55"/>
            <p:cNvSpPr txBox="1"/>
            <p:nvPr/>
          </p:nvSpPr>
          <p:spPr>
            <a:xfrm>
              <a:off x="2492408" y="1231455"/>
              <a:ext cx="1678801" cy="380946"/>
            </a:xfrm>
            <a:prstGeom prst="rect">
              <a:avLst/>
            </a:prstGeom>
          </p:spPr>
          <p:txBody>
            <a:bodyPr vert="horz" wrap="square" lIns="91427" tIns="91427" rIns="91427" bIns="91427" rtlCol="0" anchor="t">
              <a:noAutofit/>
            </a:bodyPr>
            <a:lstStyle/>
            <a:p>
              <a:pPr marL="233318" indent="-233318" defTabSz="914367">
                <a:defRPr/>
              </a:pPr>
              <a:r>
                <a:rPr lang="en-US" sz="1600">
                  <a:solidFill>
                    <a:srgbClr val="505050"/>
                  </a:solidFill>
                  <a:ea typeface="Segoe UI" pitchFamily="34" charset="0"/>
                  <a:cs typeface="Segoe UI" pitchFamily="34" charset="0"/>
                </a:rPr>
                <a:t>2) Input Binding</a:t>
              </a:r>
            </a:p>
          </p:txBody>
        </p:sp>
        <p:pic>
          <p:nvPicPr>
            <p:cNvPr id="39" name="Picture 38"/>
            <p:cNvPicPr>
              <a:picLocks noChangeAspect="1"/>
            </p:cNvPicPr>
            <p:nvPr/>
          </p:nvPicPr>
          <p:blipFill>
            <a:blip r:embed="rId3"/>
            <a:stretch>
              <a:fillRect/>
            </a:stretch>
          </p:blipFill>
          <p:spPr>
            <a:xfrm>
              <a:off x="5595336" y="3369788"/>
              <a:ext cx="9525" cy="9525"/>
            </a:xfrm>
            <a:prstGeom prst="rect">
              <a:avLst/>
            </a:prstGeom>
          </p:spPr>
        </p:pic>
        <p:grpSp>
          <p:nvGrpSpPr>
            <p:cNvPr id="15" name="Group 14"/>
            <p:cNvGrpSpPr/>
            <p:nvPr/>
          </p:nvGrpSpPr>
          <p:grpSpPr>
            <a:xfrm>
              <a:off x="4750345" y="1800062"/>
              <a:ext cx="1507362" cy="1328386"/>
              <a:chOff x="5361799" y="1370854"/>
              <a:chExt cx="1507362" cy="1328386"/>
            </a:xfrm>
          </p:grpSpPr>
          <p:grpSp>
            <p:nvGrpSpPr>
              <p:cNvPr id="14" name="Group 13"/>
              <p:cNvGrpSpPr/>
              <p:nvPr/>
            </p:nvGrpSpPr>
            <p:grpSpPr>
              <a:xfrm>
                <a:off x="5361799" y="1559283"/>
                <a:ext cx="1423049" cy="1139957"/>
                <a:chOff x="8055949" y="4551928"/>
                <a:chExt cx="1938825" cy="1416061"/>
              </a:xfrm>
            </p:grpSpPr>
            <p:pic>
              <p:nvPicPr>
                <p:cNvPr id="28" name="Picture 27"/>
                <p:cNvPicPr>
                  <a:picLocks noChangeAspect="1"/>
                </p:cNvPicPr>
                <p:nvPr/>
              </p:nvPicPr>
              <p:blipFill>
                <a:blip r:embed="rId4"/>
                <a:stretch>
                  <a:fillRect/>
                </a:stretch>
              </p:blipFill>
              <p:spPr>
                <a:xfrm>
                  <a:off x="8055949" y="4551928"/>
                  <a:ext cx="1938825" cy="1416061"/>
                </a:xfrm>
                <a:prstGeom prst="rect">
                  <a:avLst/>
                </a:prstGeom>
                <a:ln>
                  <a:solidFill>
                    <a:schemeClr val="tx2">
                      <a:lumMod val="50000"/>
                    </a:schemeClr>
                  </a:solidFill>
                </a:ln>
              </p:spPr>
            </p:pic>
            <p:pic>
              <p:nvPicPr>
                <p:cNvPr id="2050" name="Picture 2" descr="Azure Functions screenshot"/>
                <p:cNvPicPr>
                  <a:picLocks noChangeAspect="1" noChangeArrowheads="1"/>
                </p:cNvPicPr>
                <p:nvPr/>
              </p:nvPicPr>
              <p:blipFill rotWithShape="1">
                <a:blip r:embed="rId5">
                  <a:extLst>
                    <a:ext uri="{28A0092B-C50C-407E-A947-70E740481C1C}">
                      <a14:useLocalDpi xmlns:a14="http://schemas.microsoft.com/office/drawing/2010/main" val="0"/>
                    </a:ext>
                  </a:extLst>
                </a:blip>
                <a:srcRect l="15981" t="20881" r="52709" b="41924"/>
                <a:stretch/>
              </p:blipFill>
              <p:spPr bwMode="auto">
                <a:xfrm>
                  <a:off x="8121790" y="4838850"/>
                  <a:ext cx="1809940" cy="1048398"/>
                </a:xfrm>
                <a:prstGeom prst="rect">
                  <a:avLst/>
                </a:prstGeom>
                <a:noFill/>
                <a:extLst>
                  <a:ext uri="{909E8E84-426E-40DD-AFC4-6F175D3DCCD1}">
                    <a14:hiddenFill xmlns:a14="http://schemas.microsoft.com/office/drawing/2010/main">
                      <a:solidFill>
                        <a:srgbClr val="FFFFFF"/>
                      </a:solidFill>
                    </a14:hiddenFill>
                  </a:ext>
                </a:extLst>
              </p:spPr>
            </p:pic>
          </p:grpSp>
          <p:pic>
            <p:nvPicPr>
              <p:cNvPr id="62" name="Picture 61"/>
              <p:cNvPicPr>
                <a:picLocks noChangeAspect="1"/>
              </p:cNvPicPr>
              <p:nvPr/>
            </p:nvPicPr>
            <p:blipFill>
              <a:blip r:embed="rId6"/>
              <a:stretch>
                <a:fillRect/>
              </a:stretch>
            </p:blipFill>
            <p:spPr>
              <a:xfrm>
                <a:off x="6259051" y="1370854"/>
                <a:ext cx="610110" cy="610109"/>
              </a:xfrm>
              <a:prstGeom prst="rect">
                <a:avLst/>
              </a:prstGeom>
            </p:spPr>
          </p:pic>
        </p:grpSp>
        <p:sp>
          <p:nvSpPr>
            <p:cNvPr id="72" name="TextBox 71"/>
            <p:cNvSpPr txBox="1"/>
            <p:nvPr/>
          </p:nvSpPr>
          <p:spPr>
            <a:xfrm>
              <a:off x="9866743" y="1215730"/>
              <a:ext cx="1813315" cy="380946"/>
            </a:xfrm>
            <a:prstGeom prst="rect">
              <a:avLst/>
            </a:prstGeom>
          </p:spPr>
          <p:txBody>
            <a:bodyPr vert="horz" wrap="square" lIns="91427" tIns="91427" rIns="91427" bIns="91427" rtlCol="0" anchor="t">
              <a:noAutofit/>
            </a:bodyPr>
            <a:lstStyle/>
            <a:p>
              <a:pPr defTabSz="914367">
                <a:defRPr/>
              </a:pPr>
              <a:r>
                <a:rPr lang="en-US" sz="1600">
                  <a:solidFill>
                    <a:srgbClr val="505050"/>
                  </a:solidFill>
                  <a:ea typeface="Segoe UI" pitchFamily="34" charset="0"/>
                  <a:cs typeface="Segoe UI" pitchFamily="34" charset="0"/>
                </a:rPr>
                <a:t>5) Output Binding</a:t>
              </a:r>
            </a:p>
          </p:txBody>
        </p:sp>
        <p:sp>
          <p:nvSpPr>
            <p:cNvPr id="73" name="Rounded Rectangle 72"/>
            <p:cNvSpPr/>
            <p:nvPr/>
          </p:nvSpPr>
          <p:spPr>
            <a:xfrm>
              <a:off x="9965905" y="1683240"/>
              <a:ext cx="1635977" cy="1599973"/>
            </a:xfrm>
            <a:prstGeom prst="roundRect">
              <a:avLst>
                <a:gd name="adj" fmla="val 5783"/>
              </a:avLst>
            </a:prstGeom>
            <a:solidFill>
              <a:schemeClr val="tx1"/>
            </a:solidFill>
            <a:ln w="285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367">
                <a:defRPr/>
              </a:pPr>
              <a:endParaRPr lang="en-US" sz="1200" err="1">
                <a:solidFill>
                  <a:srgbClr val="505050"/>
                </a:solidFill>
              </a:endParaRPr>
            </a:p>
          </p:txBody>
        </p:sp>
        <p:grpSp>
          <p:nvGrpSpPr>
            <p:cNvPr id="47" name="Group 46"/>
            <p:cNvGrpSpPr/>
            <p:nvPr/>
          </p:nvGrpSpPr>
          <p:grpSpPr>
            <a:xfrm>
              <a:off x="3992036" y="3374550"/>
              <a:ext cx="2939666" cy="2169945"/>
              <a:chOff x="4161075" y="3745154"/>
              <a:chExt cx="2939666" cy="2169945"/>
            </a:xfrm>
          </p:grpSpPr>
          <p:grpSp>
            <p:nvGrpSpPr>
              <p:cNvPr id="44" name="Group 43"/>
              <p:cNvGrpSpPr/>
              <p:nvPr/>
            </p:nvGrpSpPr>
            <p:grpSpPr>
              <a:xfrm>
                <a:off x="4161075" y="3745154"/>
                <a:ext cx="2939666" cy="2169945"/>
                <a:chOff x="4577261" y="2941066"/>
                <a:chExt cx="2939666" cy="2169945"/>
              </a:xfrm>
            </p:grpSpPr>
            <p:grpSp>
              <p:nvGrpSpPr>
                <p:cNvPr id="43" name="Group 42"/>
                <p:cNvGrpSpPr/>
                <p:nvPr/>
              </p:nvGrpSpPr>
              <p:grpSpPr>
                <a:xfrm>
                  <a:off x="4577261" y="2941066"/>
                  <a:ext cx="2939666" cy="2169945"/>
                  <a:chOff x="4577261" y="2941066"/>
                  <a:chExt cx="2939666" cy="2169945"/>
                </a:xfrm>
              </p:grpSpPr>
              <p:grpSp>
                <p:nvGrpSpPr>
                  <p:cNvPr id="33" name="Group 32"/>
                  <p:cNvGrpSpPr/>
                  <p:nvPr/>
                </p:nvGrpSpPr>
                <p:grpSpPr>
                  <a:xfrm>
                    <a:off x="4577261" y="2941066"/>
                    <a:ext cx="2939666" cy="2169945"/>
                    <a:chOff x="4577261" y="2941066"/>
                    <a:chExt cx="2939666" cy="2169945"/>
                  </a:xfrm>
                </p:grpSpPr>
                <p:sp>
                  <p:nvSpPr>
                    <p:cNvPr id="65" name="Rounded Rectangle 64"/>
                    <p:cNvSpPr/>
                    <p:nvPr/>
                  </p:nvSpPr>
                  <p:spPr>
                    <a:xfrm>
                      <a:off x="4577261" y="3952047"/>
                      <a:ext cx="2939666" cy="1158964"/>
                    </a:xfrm>
                    <a:prstGeom prst="roundRect">
                      <a:avLst>
                        <a:gd name="adj" fmla="val 5783"/>
                      </a:avLst>
                    </a:prstGeom>
                    <a:solidFill>
                      <a:schemeClr val="tx1"/>
                    </a:solidFill>
                    <a:ln w="285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367">
                        <a:defRPr/>
                      </a:pPr>
                      <a:endParaRPr lang="en-US" sz="1200" err="1">
                        <a:solidFill>
                          <a:srgbClr val="505050"/>
                        </a:solidFill>
                      </a:endParaRPr>
                    </a:p>
                  </p:txBody>
                </p:sp>
                <p:sp>
                  <p:nvSpPr>
                    <p:cNvPr id="19" name="Right Arrow 18"/>
                    <p:cNvSpPr/>
                    <p:nvPr/>
                  </p:nvSpPr>
                  <p:spPr>
                    <a:xfrm rot="16200000">
                      <a:off x="5343692" y="3765936"/>
                      <a:ext cx="2044456" cy="394715"/>
                    </a:xfrm>
                    <a:prstGeom prst="rightArrow">
                      <a:avLst>
                        <a:gd name="adj1" fmla="val 50000"/>
                        <a:gd name="adj2" fmla="val 73537"/>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367">
                        <a:defRPr/>
                      </a:pPr>
                      <a:endParaRPr lang="en-US" sz="1200" err="1">
                        <a:solidFill>
                          <a:srgbClr val="505050"/>
                        </a:solidFill>
                      </a:endParaRPr>
                    </a:p>
                  </p:txBody>
                </p:sp>
                <p:sp>
                  <p:nvSpPr>
                    <p:cNvPr id="20" name="Right Arrow 19"/>
                    <p:cNvSpPr/>
                    <p:nvPr/>
                  </p:nvSpPr>
                  <p:spPr>
                    <a:xfrm rot="16200000">
                      <a:off x="4724612" y="3719195"/>
                      <a:ext cx="1950974" cy="394715"/>
                    </a:xfrm>
                    <a:prstGeom prst="rightArrow">
                      <a:avLst>
                        <a:gd name="adj1" fmla="val 50000"/>
                        <a:gd name="adj2" fmla="val 73537"/>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367">
                        <a:defRPr/>
                      </a:pPr>
                      <a:endParaRPr lang="en-US" sz="1200" err="1">
                        <a:solidFill>
                          <a:srgbClr val="505050"/>
                        </a:solidFill>
                      </a:endParaRPr>
                    </a:p>
                  </p:txBody>
                </p:sp>
              </p:grpSp>
              <p:pic>
                <p:nvPicPr>
                  <p:cNvPr id="22" name="Picture 21"/>
                  <p:cNvPicPr>
                    <a:picLocks noChangeAspect="1"/>
                  </p:cNvPicPr>
                  <p:nvPr/>
                </p:nvPicPr>
                <p:blipFill>
                  <a:blip r:embed="rId7"/>
                  <a:stretch>
                    <a:fillRect/>
                  </a:stretch>
                </p:blipFill>
                <p:spPr>
                  <a:xfrm>
                    <a:off x="4647332" y="4039954"/>
                    <a:ext cx="2784565" cy="945568"/>
                  </a:xfrm>
                  <a:prstGeom prst="rect">
                    <a:avLst/>
                  </a:prstGeom>
                  <a:solidFill>
                    <a:schemeClr val="accent1">
                      <a:lumMod val="60000"/>
                      <a:lumOff val="40000"/>
                    </a:schemeClr>
                  </a:solidFill>
                </p:spPr>
              </p:pic>
            </p:grpSp>
            <p:pic>
              <p:nvPicPr>
                <p:cNvPr id="42" name="Picture 41"/>
                <p:cNvPicPr>
                  <a:picLocks noChangeAspect="1"/>
                </p:cNvPicPr>
                <p:nvPr/>
              </p:nvPicPr>
              <p:blipFill>
                <a:blip r:embed="rId8"/>
                <a:stretch>
                  <a:fillRect/>
                </a:stretch>
              </p:blipFill>
              <p:spPr>
                <a:xfrm>
                  <a:off x="6136751" y="3671631"/>
                  <a:ext cx="492565" cy="515475"/>
                </a:xfrm>
                <a:prstGeom prst="rect">
                  <a:avLst/>
                </a:prstGeom>
                <a:ln>
                  <a:solidFill>
                    <a:schemeClr val="tx1">
                      <a:lumMod val="50000"/>
                    </a:schemeClr>
                  </a:solidFill>
                </a:ln>
              </p:spPr>
            </p:pic>
            <p:pic>
              <p:nvPicPr>
                <p:cNvPr id="21" name="Picture 20"/>
                <p:cNvPicPr>
                  <a:picLocks noChangeAspect="1"/>
                </p:cNvPicPr>
                <p:nvPr/>
              </p:nvPicPr>
              <p:blipFill>
                <a:blip r:embed="rId8"/>
                <a:stretch>
                  <a:fillRect/>
                </a:stretch>
              </p:blipFill>
              <p:spPr>
                <a:xfrm>
                  <a:off x="5465621" y="3671631"/>
                  <a:ext cx="492565" cy="515475"/>
                </a:xfrm>
                <a:prstGeom prst="rect">
                  <a:avLst/>
                </a:prstGeom>
                <a:ln>
                  <a:solidFill>
                    <a:schemeClr val="tx1">
                      <a:lumMod val="50000"/>
                    </a:schemeClr>
                  </a:solidFill>
                </a:ln>
              </p:spPr>
            </p:pic>
          </p:grpSp>
          <p:pic>
            <p:nvPicPr>
              <p:cNvPr id="13" name="Picture 12"/>
              <p:cNvPicPr>
                <a:picLocks noChangeAspect="1"/>
              </p:cNvPicPr>
              <p:nvPr/>
            </p:nvPicPr>
            <p:blipFill>
              <a:blip r:embed="rId9"/>
              <a:stretch>
                <a:fillRect/>
              </a:stretch>
            </p:blipFill>
            <p:spPr>
              <a:xfrm>
                <a:off x="6221343" y="5183217"/>
                <a:ext cx="419100" cy="304800"/>
              </a:xfrm>
              <a:prstGeom prst="rect">
                <a:avLst/>
              </a:prstGeom>
            </p:spPr>
          </p:pic>
          <p:pic>
            <p:nvPicPr>
              <p:cNvPr id="25" name="Picture 24"/>
              <p:cNvPicPr>
                <a:picLocks noChangeAspect="1"/>
              </p:cNvPicPr>
              <p:nvPr/>
            </p:nvPicPr>
            <p:blipFill>
              <a:blip r:embed="rId10"/>
              <a:stretch>
                <a:fillRect/>
              </a:stretch>
            </p:blipFill>
            <p:spPr>
              <a:xfrm>
                <a:off x="5107700" y="5176973"/>
                <a:ext cx="352425" cy="333375"/>
              </a:xfrm>
              <a:prstGeom prst="rect">
                <a:avLst/>
              </a:prstGeom>
            </p:spPr>
          </p:pic>
        </p:grpSp>
        <p:grpSp>
          <p:nvGrpSpPr>
            <p:cNvPr id="84" name="Group 83"/>
            <p:cNvGrpSpPr/>
            <p:nvPr/>
          </p:nvGrpSpPr>
          <p:grpSpPr>
            <a:xfrm>
              <a:off x="1349356" y="1798133"/>
              <a:ext cx="929095" cy="562678"/>
              <a:chOff x="1542307" y="1978562"/>
              <a:chExt cx="929095" cy="562678"/>
            </a:xfrm>
          </p:grpSpPr>
          <p:pic>
            <p:nvPicPr>
              <p:cNvPr id="50" name="Picture 49"/>
              <p:cNvPicPr>
                <a:picLocks noChangeAspect="1"/>
              </p:cNvPicPr>
              <p:nvPr/>
            </p:nvPicPr>
            <p:blipFill rotWithShape="1">
              <a:blip r:embed="rId11"/>
              <a:srcRect t="9057"/>
              <a:stretch/>
            </p:blipFill>
            <p:spPr>
              <a:xfrm>
                <a:off x="1804190" y="1978562"/>
                <a:ext cx="447675" cy="407130"/>
              </a:xfrm>
              <a:prstGeom prst="rect">
                <a:avLst/>
              </a:prstGeom>
            </p:spPr>
          </p:pic>
          <p:sp>
            <p:nvSpPr>
              <p:cNvPr id="86" name="TextBox 85"/>
              <p:cNvSpPr txBox="1"/>
              <p:nvPr/>
            </p:nvSpPr>
            <p:spPr>
              <a:xfrm>
                <a:off x="1542307" y="2253776"/>
                <a:ext cx="929095" cy="287464"/>
              </a:xfrm>
              <a:prstGeom prst="rect">
                <a:avLst/>
              </a:prstGeom>
            </p:spPr>
            <p:txBody>
              <a:bodyPr vert="horz" wrap="square" lIns="91427" tIns="91427" rIns="91427" bIns="91427" rtlCol="0" anchor="t">
                <a:noAutofit/>
              </a:bodyPr>
              <a:lstStyle/>
              <a:p>
                <a:pPr marL="233318" indent="-233318" algn="ctr" defTabSz="914367">
                  <a:defRPr/>
                </a:pPr>
                <a:r>
                  <a:rPr lang="en-US" sz="1100">
                    <a:solidFill>
                      <a:srgbClr val="505050"/>
                    </a:solidFill>
                    <a:ea typeface="Segoe UI" pitchFamily="34" charset="0"/>
                    <a:cs typeface="Segoe UI" pitchFamily="34" charset="0"/>
                  </a:rPr>
                  <a:t>Web </a:t>
                </a:r>
              </a:p>
              <a:p>
                <a:pPr marL="233318" indent="-233318" algn="ctr" defTabSz="914367">
                  <a:defRPr/>
                </a:pPr>
                <a:r>
                  <a:rPr lang="en-US" sz="1100">
                    <a:solidFill>
                      <a:srgbClr val="505050"/>
                    </a:solidFill>
                    <a:ea typeface="Segoe UI" pitchFamily="34" charset="0"/>
                    <a:cs typeface="Segoe UI" pitchFamily="34" charset="0"/>
                  </a:rPr>
                  <a:t>Hooks</a:t>
                </a:r>
              </a:p>
            </p:txBody>
          </p:sp>
        </p:grpSp>
        <p:grpSp>
          <p:nvGrpSpPr>
            <p:cNvPr id="88" name="Group 87"/>
            <p:cNvGrpSpPr/>
            <p:nvPr/>
          </p:nvGrpSpPr>
          <p:grpSpPr>
            <a:xfrm>
              <a:off x="543700" y="1819576"/>
              <a:ext cx="1085684" cy="1422476"/>
              <a:chOff x="790884" y="1495706"/>
              <a:chExt cx="1085684" cy="1422476"/>
            </a:xfrm>
          </p:grpSpPr>
          <p:grpSp>
            <p:nvGrpSpPr>
              <p:cNvPr id="87" name="Group 86"/>
              <p:cNvGrpSpPr/>
              <p:nvPr/>
            </p:nvGrpSpPr>
            <p:grpSpPr>
              <a:xfrm>
                <a:off x="790884" y="1912252"/>
                <a:ext cx="1085684" cy="1005930"/>
                <a:chOff x="746014" y="1462061"/>
                <a:chExt cx="1085684" cy="1005930"/>
              </a:xfrm>
            </p:grpSpPr>
            <p:grpSp>
              <p:nvGrpSpPr>
                <p:cNvPr id="51" name="Group 50"/>
                <p:cNvGrpSpPr/>
                <p:nvPr/>
              </p:nvGrpSpPr>
              <p:grpSpPr>
                <a:xfrm>
                  <a:off x="861774" y="1462061"/>
                  <a:ext cx="801016" cy="793924"/>
                  <a:chOff x="955490" y="1460989"/>
                  <a:chExt cx="801016" cy="793924"/>
                </a:xfrm>
              </p:grpSpPr>
              <p:pic>
                <p:nvPicPr>
                  <p:cNvPr id="78" name="Picture 77" descr="Storage queue.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955490" y="1476192"/>
                    <a:ext cx="361147" cy="361148"/>
                  </a:xfrm>
                  <a:prstGeom prst="rect">
                    <a:avLst/>
                  </a:prstGeom>
                  <a:solidFill>
                    <a:schemeClr val="bg2">
                      <a:lumMod val="75000"/>
                    </a:schemeClr>
                  </a:solidFill>
                </p:spPr>
              </p:pic>
              <p:pic>
                <p:nvPicPr>
                  <p:cNvPr id="79" name="Picture 78" descr="Storage blob.png"/>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955490" y="1887456"/>
                    <a:ext cx="367455" cy="367457"/>
                  </a:xfrm>
                  <a:prstGeom prst="rect">
                    <a:avLst/>
                  </a:prstGeom>
                  <a:solidFill>
                    <a:srgbClr val="005AA1"/>
                  </a:solidFill>
                </p:spPr>
              </p:pic>
              <p:pic>
                <p:nvPicPr>
                  <p:cNvPr id="80" name="Picture 79"/>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1382572" y="1872954"/>
                    <a:ext cx="373934" cy="373934"/>
                  </a:xfrm>
                  <a:prstGeom prst="rect">
                    <a:avLst/>
                  </a:prstGeom>
                  <a:solidFill>
                    <a:srgbClr val="005AA1"/>
                  </a:solidFill>
                </p:spPr>
              </p:pic>
              <p:pic>
                <p:nvPicPr>
                  <p:cNvPr id="81" name="Picture 80"/>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1398871" y="1460989"/>
                    <a:ext cx="357634" cy="362902"/>
                  </a:xfrm>
                  <a:prstGeom prst="rect">
                    <a:avLst/>
                  </a:prstGeom>
                  <a:solidFill>
                    <a:srgbClr val="005AA1"/>
                  </a:solidFill>
                </p:spPr>
              </p:pic>
            </p:grpSp>
            <p:sp>
              <p:nvSpPr>
                <p:cNvPr id="85" name="TextBox 84"/>
                <p:cNvSpPr txBox="1"/>
                <p:nvPr/>
              </p:nvSpPr>
              <p:spPr>
                <a:xfrm>
                  <a:off x="746014" y="2180527"/>
                  <a:ext cx="1085684" cy="287464"/>
                </a:xfrm>
                <a:prstGeom prst="rect">
                  <a:avLst/>
                </a:prstGeom>
              </p:spPr>
              <p:txBody>
                <a:bodyPr vert="horz" wrap="square" lIns="91427" tIns="91427" rIns="91427" bIns="91427" rtlCol="0" anchor="t">
                  <a:noAutofit/>
                </a:bodyPr>
                <a:lstStyle/>
                <a:p>
                  <a:pPr marL="233318" indent="-233318" defTabSz="914367">
                    <a:defRPr/>
                  </a:pPr>
                  <a:r>
                    <a:rPr lang="en-US" sz="1100">
                      <a:solidFill>
                        <a:srgbClr val="505050"/>
                      </a:solidFill>
                      <a:ea typeface="Segoe UI" pitchFamily="34" charset="0"/>
                      <a:cs typeface="Segoe UI" pitchFamily="34" charset="0"/>
                    </a:rPr>
                    <a:t>Azure Services</a:t>
                  </a:r>
                </a:p>
              </p:txBody>
            </p:sp>
          </p:grpSp>
          <p:pic>
            <p:nvPicPr>
              <p:cNvPr id="98" name="Picture 97" descr="Service Bus.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1113367" y="1495706"/>
                <a:ext cx="370431" cy="370431"/>
              </a:xfrm>
              <a:prstGeom prst="rect">
                <a:avLst/>
              </a:prstGeom>
              <a:solidFill>
                <a:srgbClr val="005AA1"/>
              </a:solidFill>
            </p:spPr>
          </p:pic>
        </p:grpSp>
        <p:grpSp>
          <p:nvGrpSpPr>
            <p:cNvPr id="114" name="Group 113"/>
            <p:cNvGrpSpPr/>
            <p:nvPr/>
          </p:nvGrpSpPr>
          <p:grpSpPr>
            <a:xfrm>
              <a:off x="2785607" y="1798133"/>
              <a:ext cx="1085684" cy="1440947"/>
              <a:chOff x="2950495" y="1474263"/>
              <a:chExt cx="1085684" cy="1440947"/>
            </a:xfrm>
          </p:grpSpPr>
          <p:sp>
            <p:nvSpPr>
              <p:cNvPr id="91" name="TextBox 90"/>
              <p:cNvSpPr txBox="1"/>
              <p:nvPr/>
            </p:nvSpPr>
            <p:spPr>
              <a:xfrm>
                <a:off x="2950495" y="2627746"/>
                <a:ext cx="1085684" cy="287464"/>
              </a:xfrm>
              <a:prstGeom prst="rect">
                <a:avLst/>
              </a:prstGeom>
            </p:spPr>
            <p:txBody>
              <a:bodyPr vert="horz" wrap="square" lIns="91427" tIns="91427" rIns="91427" bIns="91427" rtlCol="0" anchor="t">
                <a:noAutofit/>
              </a:bodyPr>
              <a:lstStyle/>
              <a:p>
                <a:pPr marL="233318" indent="-233318" defTabSz="914367">
                  <a:defRPr/>
                </a:pPr>
                <a:r>
                  <a:rPr lang="en-US" sz="1100">
                    <a:solidFill>
                      <a:srgbClr val="505050"/>
                    </a:solidFill>
                    <a:ea typeface="Segoe UI" pitchFamily="34" charset="0"/>
                    <a:cs typeface="Segoe UI" pitchFamily="34" charset="0"/>
                  </a:rPr>
                  <a:t>Azure Services</a:t>
                </a:r>
              </a:p>
            </p:txBody>
          </p:sp>
          <p:grpSp>
            <p:nvGrpSpPr>
              <p:cNvPr id="99" name="Group 98"/>
              <p:cNvGrpSpPr/>
              <p:nvPr/>
            </p:nvGrpSpPr>
            <p:grpSpPr>
              <a:xfrm>
                <a:off x="3121300" y="1474263"/>
                <a:ext cx="802784" cy="1208251"/>
                <a:chOff x="2969480" y="1482016"/>
                <a:chExt cx="802784" cy="1208251"/>
              </a:xfrm>
            </p:grpSpPr>
            <p:pic>
              <p:nvPicPr>
                <p:cNvPr id="92" name="Picture 91" descr="Storage queue.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2971248" y="1484743"/>
                  <a:ext cx="361147" cy="361148"/>
                </a:xfrm>
                <a:prstGeom prst="rect">
                  <a:avLst/>
                </a:prstGeom>
                <a:solidFill>
                  <a:schemeClr val="bg2">
                    <a:lumMod val="75000"/>
                  </a:schemeClr>
                </a:solidFill>
              </p:spPr>
            </p:pic>
            <p:pic>
              <p:nvPicPr>
                <p:cNvPr id="93" name="Picture 92" descr="Storage blob.png"/>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2971248" y="1896007"/>
                  <a:ext cx="367455" cy="367457"/>
                </a:xfrm>
                <a:prstGeom prst="rect">
                  <a:avLst/>
                </a:prstGeom>
                <a:solidFill>
                  <a:srgbClr val="005AA1"/>
                </a:solidFill>
              </p:spPr>
            </p:pic>
            <p:pic>
              <p:nvPicPr>
                <p:cNvPr id="94" name="Picture 93"/>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3398330" y="1881505"/>
                  <a:ext cx="373934" cy="373934"/>
                </a:xfrm>
                <a:prstGeom prst="rect">
                  <a:avLst/>
                </a:prstGeom>
                <a:solidFill>
                  <a:srgbClr val="005AA1"/>
                </a:solidFill>
              </p:spPr>
            </p:pic>
            <p:pic>
              <p:nvPicPr>
                <p:cNvPr id="96" name="Picture 95"/>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3372122" y="1482016"/>
                  <a:ext cx="393021" cy="358628"/>
                </a:xfrm>
                <a:prstGeom prst="rect">
                  <a:avLst/>
                </a:prstGeom>
                <a:solidFill>
                  <a:srgbClr val="005AA1"/>
                </a:solidFill>
              </p:spPr>
            </p:pic>
            <p:pic>
              <p:nvPicPr>
                <p:cNvPr id="97" name="Picture 96"/>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2969480" y="2318229"/>
                  <a:ext cx="372037" cy="372038"/>
                </a:xfrm>
                <a:prstGeom prst="rect">
                  <a:avLst/>
                </a:prstGeom>
                <a:solidFill>
                  <a:srgbClr val="005AA1"/>
                </a:solidFill>
              </p:spPr>
            </p:pic>
            <p:pic>
              <p:nvPicPr>
                <p:cNvPr id="100" name="Picture 99" descr="Storage table.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3406406" y="2311700"/>
                  <a:ext cx="331908" cy="378567"/>
                </a:xfrm>
                <a:prstGeom prst="rect">
                  <a:avLst/>
                </a:prstGeom>
                <a:solidFill>
                  <a:srgbClr val="005AA1"/>
                </a:solidFill>
              </p:spPr>
            </p:pic>
          </p:grpSp>
        </p:grpSp>
        <p:grpSp>
          <p:nvGrpSpPr>
            <p:cNvPr id="101" name="Group 100"/>
            <p:cNvGrpSpPr/>
            <p:nvPr/>
          </p:nvGrpSpPr>
          <p:grpSpPr>
            <a:xfrm>
              <a:off x="7651112" y="1902223"/>
              <a:ext cx="1085684" cy="1040129"/>
              <a:chOff x="9695591" y="3636099"/>
              <a:chExt cx="1085684" cy="1040129"/>
            </a:xfrm>
          </p:grpSpPr>
          <p:grpSp>
            <p:nvGrpSpPr>
              <p:cNvPr id="103" name="Group 102"/>
              <p:cNvGrpSpPr/>
              <p:nvPr/>
            </p:nvGrpSpPr>
            <p:grpSpPr>
              <a:xfrm>
                <a:off x="9807936" y="3636099"/>
                <a:ext cx="918421" cy="846401"/>
                <a:chOff x="827088" y="-3463925"/>
                <a:chExt cx="3833812" cy="3816350"/>
              </a:xfrm>
            </p:grpSpPr>
            <p:sp>
              <p:nvSpPr>
                <p:cNvPr id="104" name="Freeform 5"/>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endParaRPr>
                </a:p>
              </p:txBody>
            </p:sp>
            <p:sp>
              <p:nvSpPr>
                <p:cNvPr id="105" name="Freeform 6"/>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endParaRPr>
                </a:p>
              </p:txBody>
            </p:sp>
            <p:sp>
              <p:nvSpPr>
                <p:cNvPr id="106" name="Freeform 7"/>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endParaRPr>
                </a:p>
              </p:txBody>
            </p:sp>
            <p:sp>
              <p:nvSpPr>
                <p:cNvPr id="107" name="Freeform 8"/>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endParaRPr>
                </a:p>
              </p:txBody>
            </p:sp>
            <p:sp>
              <p:nvSpPr>
                <p:cNvPr id="108" name="Freeform 9"/>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endParaRPr>
                </a:p>
              </p:txBody>
            </p:sp>
            <p:sp>
              <p:nvSpPr>
                <p:cNvPr id="109" name="Freeform 10"/>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endParaRPr>
                </a:p>
              </p:txBody>
            </p:sp>
            <p:sp>
              <p:nvSpPr>
                <p:cNvPr id="110" name="Freeform 11"/>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endParaRPr>
                </a:p>
              </p:txBody>
            </p:sp>
            <p:sp>
              <p:nvSpPr>
                <p:cNvPr id="111" name="Freeform 12"/>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endParaRPr>
                </a:p>
              </p:txBody>
            </p:sp>
          </p:grpSp>
          <p:sp>
            <p:nvSpPr>
              <p:cNvPr id="113" name="TextBox 112"/>
              <p:cNvSpPr txBox="1"/>
              <p:nvPr/>
            </p:nvSpPr>
            <p:spPr>
              <a:xfrm>
                <a:off x="9695591" y="4388764"/>
                <a:ext cx="1085684" cy="287464"/>
              </a:xfrm>
              <a:prstGeom prst="rect">
                <a:avLst/>
              </a:prstGeom>
            </p:spPr>
            <p:txBody>
              <a:bodyPr vert="horz" wrap="square" lIns="91427" tIns="91427" rIns="91427" bIns="91427" rtlCol="0" anchor="t">
                <a:noAutofit/>
              </a:bodyPr>
              <a:lstStyle/>
              <a:p>
                <a:pPr marL="233318" indent="-233318" algn="ctr" defTabSz="914367">
                  <a:defRPr/>
                </a:pPr>
                <a:r>
                  <a:rPr lang="en-US" sz="1100">
                    <a:solidFill>
                      <a:srgbClr val="505050"/>
                    </a:solidFill>
                    <a:ea typeface="Segoe UI" pitchFamily="34" charset="0"/>
                    <a:cs typeface="Segoe UI" pitchFamily="34" charset="0"/>
                  </a:rPr>
                  <a:t>App Services</a:t>
                </a:r>
              </a:p>
              <a:p>
                <a:pPr marL="233318" indent="-233318" algn="ctr" defTabSz="914367">
                  <a:defRPr/>
                </a:pPr>
                <a:r>
                  <a:rPr lang="en-US" sz="1100">
                    <a:solidFill>
                      <a:srgbClr val="505050"/>
                    </a:solidFill>
                    <a:ea typeface="Segoe UI" pitchFamily="34" charset="0"/>
                    <a:cs typeface="Segoe UI" pitchFamily="34" charset="0"/>
                  </a:rPr>
                  <a:t>Hosting Plans</a:t>
                </a:r>
              </a:p>
            </p:txBody>
          </p:sp>
        </p:grpSp>
        <p:grpSp>
          <p:nvGrpSpPr>
            <p:cNvPr id="116" name="Group 115"/>
            <p:cNvGrpSpPr/>
            <p:nvPr/>
          </p:nvGrpSpPr>
          <p:grpSpPr>
            <a:xfrm>
              <a:off x="9986779" y="1790629"/>
              <a:ext cx="1085684" cy="1440947"/>
              <a:chOff x="2950495" y="1474263"/>
              <a:chExt cx="1085684" cy="1440947"/>
            </a:xfrm>
          </p:grpSpPr>
          <p:sp>
            <p:nvSpPr>
              <p:cNvPr id="117" name="TextBox 116"/>
              <p:cNvSpPr txBox="1"/>
              <p:nvPr/>
            </p:nvSpPr>
            <p:spPr>
              <a:xfrm>
                <a:off x="2950495" y="2627746"/>
                <a:ext cx="1085684" cy="287464"/>
              </a:xfrm>
              <a:prstGeom prst="rect">
                <a:avLst/>
              </a:prstGeom>
            </p:spPr>
            <p:txBody>
              <a:bodyPr vert="horz" wrap="square" lIns="91427" tIns="91427" rIns="91427" bIns="91427" rtlCol="0" anchor="t">
                <a:noAutofit/>
              </a:bodyPr>
              <a:lstStyle/>
              <a:p>
                <a:pPr marL="233318" indent="-233318" defTabSz="914367">
                  <a:defRPr/>
                </a:pPr>
                <a:r>
                  <a:rPr lang="en-US" sz="1100">
                    <a:solidFill>
                      <a:srgbClr val="505050"/>
                    </a:solidFill>
                    <a:ea typeface="Segoe UI" pitchFamily="34" charset="0"/>
                    <a:cs typeface="Segoe UI" pitchFamily="34" charset="0"/>
                  </a:rPr>
                  <a:t>Azure Services</a:t>
                </a:r>
              </a:p>
            </p:txBody>
          </p:sp>
          <p:grpSp>
            <p:nvGrpSpPr>
              <p:cNvPr id="118" name="Group 117"/>
              <p:cNvGrpSpPr/>
              <p:nvPr/>
            </p:nvGrpSpPr>
            <p:grpSpPr>
              <a:xfrm>
                <a:off x="3121300" y="1474263"/>
                <a:ext cx="802784" cy="1208251"/>
                <a:chOff x="2969480" y="1482016"/>
                <a:chExt cx="802784" cy="1208251"/>
              </a:xfrm>
            </p:grpSpPr>
            <p:pic>
              <p:nvPicPr>
                <p:cNvPr id="119" name="Picture 118" descr="Storage queue.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2971248" y="1484743"/>
                  <a:ext cx="361147" cy="361148"/>
                </a:xfrm>
                <a:prstGeom prst="rect">
                  <a:avLst/>
                </a:prstGeom>
                <a:solidFill>
                  <a:schemeClr val="bg2">
                    <a:lumMod val="75000"/>
                  </a:schemeClr>
                </a:solidFill>
              </p:spPr>
            </p:pic>
            <p:pic>
              <p:nvPicPr>
                <p:cNvPr id="120" name="Picture 119" descr="Storage blob.png"/>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2971248" y="1896007"/>
                  <a:ext cx="367455" cy="367457"/>
                </a:xfrm>
                <a:prstGeom prst="rect">
                  <a:avLst/>
                </a:prstGeom>
                <a:solidFill>
                  <a:srgbClr val="005AA1"/>
                </a:solidFill>
              </p:spPr>
            </p:pic>
            <p:pic>
              <p:nvPicPr>
                <p:cNvPr id="121" name="Picture 120"/>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3398330" y="1881505"/>
                  <a:ext cx="373934" cy="373934"/>
                </a:xfrm>
                <a:prstGeom prst="rect">
                  <a:avLst/>
                </a:prstGeom>
                <a:solidFill>
                  <a:srgbClr val="005AA1"/>
                </a:solidFill>
              </p:spPr>
            </p:pic>
            <p:pic>
              <p:nvPicPr>
                <p:cNvPr id="122" name="Picture 121"/>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3372122" y="1482016"/>
                  <a:ext cx="393021" cy="358628"/>
                </a:xfrm>
                <a:prstGeom prst="rect">
                  <a:avLst/>
                </a:prstGeom>
                <a:solidFill>
                  <a:srgbClr val="005AA1"/>
                </a:solidFill>
              </p:spPr>
            </p:pic>
            <p:pic>
              <p:nvPicPr>
                <p:cNvPr id="123" name="Picture 122"/>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2969480" y="2318229"/>
                  <a:ext cx="372037" cy="372038"/>
                </a:xfrm>
                <a:prstGeom prst="rect">
                  <a:avLst/>
                </a:prstGeom>
                <a:solidFill>
                  <a:srgbClr val="005AA1"/>
                </a:solidFill>
              </p:spPr>
            </p:pic>
            <p:pic>
              <p:nvPicPr>
                <p:cNvPr id="124" name="Picture 123" descr="Storage table.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3406406" y="2311700"/>
                  <a:ext cx="331908" cy="378567"/>
                </a:xfrm>
                <a:prstGeom prst="rect">
                  <a:avLst/>
                </a:prstGeom>
                <a:solidFill>
                  <a:srgbClr val="005AA1"/>
                </a:solidFill>
              </p:spPr>
            </p:pic>
          </p:grpSp>
        </p:grpSp>
        <p:pic>
          <p:nvPicPr>
            <p:cNvPr id="125" name="Picture 124"/>
            <p:cNvPicPr>
              <a:picLocks noChangeAspect="1"/>
            </p:cNvPicPr>
            <p:nvPr/>
          </p:nvPicPr>
          <p:blipFill>
            <a:blip r:embed="rId20"/>
            <a:stretch>
              <a:fillRect/>
            </a:stretch>
          </p:blipFill>
          <p:spPr>
            <a:xfrm rot="19807083">
              <a:off x="10978974" y="2243927"/>
              <a:ext cx="610838" cy="305419"/>
            </a:xfrm>
            <a:prstGeom prst="rect">
              <a:avLst/>
            </a:prstGeom>
          </p:spPr>
        </p:pic>
        <p:pic>
          <p:nvPicPr>
            <p:cNvPr id="127" name="Picture 126"/>
            <p:cNvPicPr>
              <a:picLocks noChangeAspect="1"/>
            </p:cNvPicPr>
            <p:nvPr/>
          </p:nvPicPr>
          <p:blipFill>
            <a:blip r:embed="rId20"/>
            <a:stretch>
              <a:fillRect/>
            </a:stretch>
          </p:blipFill>
          <p:spPr>
            <a:xfrm rot="20391909">
              <a:off x="1471452" y="2645211"/>
              <a:ext cx="610838" cy="305419"/>
            </a:xfrm>
            <a:prstGeom prst="rect">
              <a:avLst/>
            </a:prstGeom>
          </p:spPr>
        </p:pic>
        <p:pic>
          <p:nvPicPr>
            <p:cNvPr id="130" name="Picture 129"/>
            <p:cNvPicPr>
              <a:picLocks noChangeAspect="1"/>
            </p:cNvPicPr>
            <p:nvPr/>
          </p:nvPicPr>
          <p:blipFill>
            <a:blip r:embed="rId4"/>
            <a:stretch>
              <a:fillRect/>
            </a:stretch>
          </p:blipFill>
          <p:spPr>
            <a:xfrm>
              <a:off x="7523944" y="4455150"/>
              <a:ext cx="1586914" cy="1523310"/>
            </a:xfrm>
            <a:prstGeom prst="rect">
              <a:avLst/>
            </a:prstGeom>
            <a:ln>
              <a:noFill/>
            </a:ln>
          </p:spPr>
        </p:pic>
      </p:grpSp>
    </p:spTree>
    <p:extLst>
      <p:ext uri="{BB962C8B-B14F-4D97-AF65-F5344CB8AC3E}">
        <p14:creationId xmlns:p14="http://schemas.microsoft.com/office/powerpoint/2010/main" val="261332977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8" y="120930"/>
            <a:ext cx="10515600" cy="1325563"/>
          </a:xfrm>
        </p:spPr>
        <p:txBody>
          <a:bodyPr/>
          <a:lstStyle/>
          <a:p>
            <a:r>
              <a:rPr lang="en-US" dirty="0"/>
              <a:t>Get started and reach out!</a:t>
            </a:r>
          </a:p>
        </p:txBody>
      </p:sp>
      <p:sp>
        <p:nvSpPr>
          <p:cNvPr id="3" name="Text Placeholder 2"/>
          <p:cNvSpPr>
            <a:spLocks noGrp="1"/>
          </p:cNvSpPr>
          <p:nvPr>
            <p:ph type="body" sz="quarter" idx="10"/>
          </p:nvPr>
        </p:nvSpPr>
        <p:spPr>
          <a:xfrm>
            <a:off x="269239" y="1189177"/>
            <a:ext cx="11653523" cy="2055114"/>
          </a:xfrm>
        </p:spPr>
        <p:txBody>
          <a:bodyPr/>
          <a:lstStyle/>
          <a:p>
            <a:r>
              <a:rPr lang="en-US" dirty="0"/>
              <a:t>Try Functions – </a:t>
            </a:r>
            <a:r>
              <a:rPr lang="en-US" dirty="0">
                <a:hlinkClick r:id="rId2"/>
              </a:rPr>
              <a:t>https://functions.azure.com</a:t>
            </a:r>
            <a:endParaRPr lang="en-US" dirty="0"/>
          </a:p>
          <a:p>
            <a:r>
              <a:rPr lang="en-US" dirty="0"/>
              <a:t>Try App Service – </a:t>
            </a:r>
            <a:r>
              <a:rPr lang="en-US" dirty="0">
                <a:hlinkClick r:id="rId3"/>
              </a:rPr>
              <a:t>https://tryappservice.azure.com</a:t>
            </a:r>
            <a:endParaRPr lang="en-US" dirty="0"/>
          </a:p>
          <a:p>
            <a:endParaRPr lang="en-US" dirty="0"/>
          </a:p>
        </p:txBody>
      </p:sp>
      <p:pic>
        <p:nvPicPr>
          <p:cNvPr id="5" name="Picture 6"/>
          <p:cNvPicPr>
            <a:picLocks noChangeAspect="1"/>
          </p:cNvPicPr>
          <p:nvPr/>
        </p:nvPicPr>
        <p:blipFill>
          <a:blip r:embed="rId4"/>
          <a:stretch>
            <a:fillRect/>
          </a:stretch>
        </p:blipFill>
        <p:spPr>
          <a:xfrm>
            <a:off x="1435409" y="2711872"/>
            <a:ext cx="4266582" cy="3765128"/>
          </a:xfrm>
          <a:prstGeom prst="rect">
            <a:avLst/>
          </a:prstGeom>
        </p:spPr>
      </p:pic>
      <p:grpSp>
        <p:nvGrpSpPr>
          <p:cNvPr id="7" name="Group 6"/>
          <p:cNvGrpSpPr/>
          <p:nvPr/>
        </p:nvGrpSpPr>
        <p:grpSpPr>
          <a:xfrm>
            <a:off x="6868161" y="3003971"/>
            <a:ext cx="3341395" cy="3079329"/>
            <a:chOff x="827088" y="-3463925"/>
            <a:chExt cx="3833812" cy="3816350"/>
          </a:xfrm>
          <a:solidFill>
            <a:srgbClr val="00B0F0"/>
          </a:solidFill>
        </p:grpSpPr>
        <p:sp>
          <p:nvSpPr>
            <p:cNvPr id="8" name="Freeform 5"/>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dirty="0">
                <a:solidFill>
                  <a:srgbClr val="FFFFFF"/>
                </a:solidFill>
                <a:latin typeface="Segoe UI Light" charset="0"/>
              </a:endParaRPr>
            </a:p>
          </p:txBody>
        </p:sp>
        <p:sp>
          <p:nvSpPr>
            <p:cNvPr id="9" name="Freeform 6"/>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dirty="0">
                <a:solidFill>
                  <a:srgbClr val="FFFFFF"/>
                </a:solidFill>
                <a:latin typeface="Segoe UI Light" charset="0"/>
              </a:endParaRPr>
            </a:p>
          </p:txBody>
        </p:sp>
        <p:sp>
          <p:nvSpPr>
            <p:cNvPr id="10" name="Freeform 7"/>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dirty="0">
                <a:solidFill>
                  <a:srgbClr val="FFFFFF"/>
                </a:solidFill>
                <a:latin typeface="Segoe UI Light" charset="0"/>
              </a:endParaRPr>
            </a:p>
          </p:txBody>
        </p:sp>
        <p:sp>
          <p:nvSpPr>
            <p:cNvPr id="11" name="Freeform 8"/>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dirty="0">
                <a:solidFill>
                  <a:srgbClr val="FFFFFF"/>
                </a:solidFill>
                <a:latin typeface="Segoe UI Light" charset="0"/>
              </a:endParaRPr>
            </a:p>
          </p:txBody>
        </p:sp>
      </p:grpSp>
    </p:spTree>
    <p:extLst>
      <p:ext uri="{BB962C8B-B14F-4D97-AF65-F5344CB8AC3E}">
        <p14:creationId xmlns:p14="http://schemas.microsoft.com/office/powerpoint/2010/main" val="3338977723"/>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0285" y="149225"/>
            <a:ext cx="10515600" cy="1325563"/>
          </a:xfrm>
        </p:spPr>
        <p:txBody>
          <a:bodyPr>
            <a:normAutofit/>
          </a:bodyPr>
          <a:lstStyle/>
          <a:p>
            <a:r>
              <a:rPr lang="en-US" dirty="0">
                <a:latin typeface="Segoe UI Light" panose="020B0502040204020203" pitchFamily="34" charset="0"/>
                <a:cs typeface="Segoe UI Light" panose="020B0502040204020203" pitchFamily="34" charset="0"/>
              </a:rPr>
              <a:t>Challenge</a:t>
            </a:r>
            <a:r>
              <a:rPr lang="en-US" sz="4400" dirty="0">
                <a:solidFill>
                  <a:schemeClr val="tx1"/>
                </a:solidFill>
                <a:latin typeface="Segoe UI Light" panose="020B0502040204020203" pitchFamily="34" charset="0"/>
                <a:cs typeface="Segoe UI Light" panose="020B0502040204020203" pitchFamily="34" charset="0"/>
              </a:rPr>
              <a:t> 10: Accelerate development &amp; take advantage of serverless</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1945148"/>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Moved product details over to microservices &amp; serverless</a:t>
            </a:r>
          </a:p>
          <a:p>
            <a:pPr>
              <a:lnSpc>
                <a:spcPct val="90000"/>
              </a:lnSpc>
              <a:spcAft>
                <a:spcPts val="600"/>
              </a:spcAft>
            </a:pPr>
            <a:endParaRPr lang="en-US" sz="2400" dirty="0"/>
          </a:p>
        </p:txBody>
      </p:sp>
      <p:sp>
        <p:nvSpPr>
          <p:cNvPr id="4" name="Rectangle 3">
            <a:extLst>
              <a:ext uri="{FF2B5EF4-FFF2-40B4-BE49-F238E27FC236}">
                <a16:creationId xmlns:a16="http://schemas.microsoft.com/office/drawing/2014/main" id="{3BFA33DF-0944-3841-B744-8FB9E9DAFB29}"/>
              </a:ext>
            </a:extLst>
          </p:cNvPr>
          <p:cNvSpPr/>
          <p:nvPr/>
        </p:nvSpPr>
        <p:spPr>
          <a:xfrm>
            <a:off x="7815042" y="4528412"/>
            <a:ext cx="4110038" cy="2200602"/>
          </a:xfrm>
          <a:prstGeom prst="rect">
            <a:avLst/>
          </a:prstGeom>
        </p:spPr>
        <p:txBody>
          <a:bodyPr wrap="square">
            <a:spAutoFit/>
          </a:bodyPr>
          <a:lstStyle/>
          <a:p>
            <a:pPr marR="288290">
              <a:spcBef>
                <a:spcPts val="600"/>
              </a:spcBef>
            </a:pPr>
            <a:r>
              <a:rPr lang="en-US" sz="2400" dirty="0">
                <a:ea typeface="Segoe UI"/>
                <a:cs typeface="Segoe UI"/>
              </a:rPr>
              <a:t>Default Accounts</a:t>
            </a:r>
          </a:p>
          <a:p>
            <a:pPr marR="288290">
              <a:spcBef>
                <a:spcPts val="600"/>
              </a:spcBef>
            </a:pPr>
            <a:r>
              <a:rPr lang="en-US" dirty="0">
                <a:ea typeface="Segoe UI"/>
                <a:cs typeface="Segoe UI"/>
              </a:rPr>
              <a:t>Admin User Name: sysadmin</a:t>
            </a:r>
            <a:br>
              <a:rPr lang="en-US" dirty="0">
                <a:ea typeface="Segoe UI"/>
                <a:cs typeface="Segoe UI"/>
              </a:rPr>
            </a:br>
            <a:r>
              <a:rPr lang="en-US" dirty="0">
                <a:ea typeface="Segoe UI"/>
                <a:cs typeface="Segoe UI"/>
              </a:rPr>
              <a:t>Admin User Password: Password$123</a:t>
            </a:r>
          </a:p>
          <a:p>
            <a:pPr marR="288290"/>
            <a:r>
              <a:rPr lang="en-US" dirty="0" err="1">
                <a:ea typeface="Segoe UI"/>
                <a:cs typeface="Segoe UI"/>
              </a:rPr>
              <a:t>db</a:t>
            </a:r>
            <a:r>
              <a:rPr lang="en-US" dirty="0">
                <a:ea typeface="Segoe UI"/>
                <a:cs typeface="Segoe UI"/>
              </a:rPr>
              <a:t> Login Name: </a:t>
            </a:r>
            <a:r>
              <a:rPr lang="en-US" dirty="0" err="1">
                <a:ea typeface="Segoe UI"/>
                <a:cs typeface="Segoe UI"/>
              </a:rPr>
              <a:t>workshopServiceAcc</a:t>
            </a:r>
            <a:br>
              <a:rPr lang="en-US" dirty="0">
                <a:ea typeface="Segoe UI"/>
                <a:cs typeface="Segoe UI"/>
              </a:rPr>
            </a:br>
            <a:r>
              <a:rPr lang="en-US" dirty="0" err="1">
                <a:ea typeface="Segoe UI"/>
                <a:cs typeface="Segoe UI"/>
              </a:rPr>
              <a:t>db</a:t>
            </a:r>
            <a:r>
              <a:rPr lang="en-US" dirty="0">
                <a:ea typeface="Segoe UI"/>
                <a:cs typeface="Segoe UI"/>
              </a:rPr>
              <a:t> User Name: </a:t>
            </a:r>
            <a:r>
              <a:rPr lang="en-US" dirty="0" err="1">
                <a:ea typeface="Segoe UI"/>
                <a:cs typeface="Segoe UI"/>
              </a:rPr>
              <a:t>workshopServiceAcc</a:t>
            </a:r>
            <a:br>
              <a:rPr lang="en-US" dirty="0">
                <a:ea typeface="Segoe UI"/>
                <a:cs typeface="Segoe UI"/>
              </a:rPr>
            </a:br>
            <a:r>
              <a:rPr lang="en-US" dirty="0" err="1">
                <a:ea typeface="Segoe UI"/>
                <a:cs typeface="Segoe UI"/>
              </a:rPr>
              <a:t>db</a:t>
            </a:r>
            <a:r>
              <a:rPr lang="en-US" dirty="0">
                <a:ea typeface="Segoe UI"/>
                <a:cs typeface="Segoe UI"/>
              </a:rPr>
              <a:t> User Password: P2ssw0rd</a:t>
            </a:r>
          </a:p>
          <a:p>
            <a:pPr marR="288290">
              <a:spcAft>
                <a:spcPts val="600"/>
              </a:spcAft>
            </a:pPr>
            <a:r>
              <a:rPr lang="en-US" dirty="0">
                <a:ea typeface="Segoe UI"/>
                <a:cs typeface="Segoe UI"/>
              </a:rPr>
              <a:t>Database Name: </a:t>
            </a:r>
            <a:r>
              <a:rPr lang="en-US" dirty="0" err="1">
                <a:ea typeface="Segoe UI"/>
                <a:cs typeface="Segoe UI"/>
              </a:rPr>
              <a:t>partsUnlimitedDB</a:t>
            </a:r>
            <a:endParaRPr lang="en-US" dirty="0">
              <a:ea typeface="Segoe UI"/>
              <a:cs typeface="Segoe UI"/>
            </a:endParaRPr>
          </a:p>
        </p:txBody>
      </p:sp>
      <p:sp>
        <p:nvSpPr>
          <p:cNvPr id="3" name="Rectangle 2">
            <a:extLst>
              <a:ext uri="{FF2B5EF4-FFF2-40B4-BE49-F238E27FC236}">
                <a16:creationId xmlns:a16="http://schemas.microsoft.com/office/drawing/2014/main" id="{8AD09F89-A4A0-EB4A-BE16-D9293A581747}"/>
              </a:ext>
            </a:extLst>
          </p:cNvPr>
          <p:cNvSpPr/>
          <p:nvPr/>
        </p:nvSpPr>
        <p:spPr>
          <a:xfrm>
            <a:off x="266920" y="4528412"/>
            <a:ext cx="7247965" cy="1477328"/>
          </a:xfrm>
          <a:prstGeom prst="rect">
            <a:avLst/>
          </a:prstGeom>
        </p:spPr>
        <p:txBody>
          <a:bodyPr wrap="square">
            <a:spAutoFit/>
          </a:bodyPr>
          <a:lstStyle/>
          <a:p>
            <a:r>
              <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3"/>
              </a:rPr>
              <a:t>https://docs.microsoft.com/en-us/azure/azure-functions/</a:t>
            </a:r>
            <a:endPar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endParaRPr>
          </a:p>
          <a:p>
            <a:endPar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endParaRPr>
          </a:p>
          <a:p>
            <a:r>
              <a:rPr lang="en-US" u="sng" dirty="0">
                <a:hlinkClick r:id="rId4"/>
              </a:rPr>
              <a:t>https://docs.microsoft.com/en-us/azure/azure-functions/functions-create-first-azure-function</a:t>
            </a:r>
            <a:endParaRPr lang="en-US" dirty="0"/>
          </a:p>
          <a:p>
            <a:r>
              <a:rPr lang="en-US" dirty="0">
                <a:latin typeface="Calibri" panose="020F0502020204030204" pitchFamily="34" charset="0"/>
                <a:ea typeface="Calibri" panose="020F0502020204030204" pitchFamily="34" charset="0"/>
                <a:cs typeface="Times New Roman" panose="02020603050405020304" pitchFamily="18" charset="0"/>
              </a:rPr>
              <a:t> </a:t>
            </a:r>
            <a:endParaRPr lang="en-US" dirty="0"/>
          </a:p>
        </p:txBody>
      </p:sp>
    </p:spTree>
    <p:extLst>
      <p:ext uri="{BB962C8B-B14F-4D97-AF65-F5344CB8AC3E}">
        <p14:creationId xmlns:p14="http://schemas.microsoft.com/office/powerpoint/2010/main" val="11398334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2C4BFA1-2075-4901-9E24-E41D1FDD51F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55481" y="498348"/>
            <a:ext cx="9902663" cy="5861304"/>
            <a:chOff x="1155481" y="498348"/>
            <a:chExt cx="9902663" cy="5861304"/>
          </a:xfrm>
        </p:grpSpPr>
        <p:sp>
          <p:nvSpPr>
            <p:cNvPr id="8" name="Oval 5">
              <a:extLst>
                <a:ext uri="{FF2B5EF4-FFF2-40B4-BE49-F238E27FC236}">
                  <a16:creationId xmlns:a16="http://schemas.microsoft.com/office/drawing/2014/main" id="{985A7375-E3AF-4F5C-85AE-17E8832952CA}"/>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1155481" y="498348"/>
              <a:ext cx="5861304" cy="5861304"/>
            </a:xfrm>
            <a:prstGeom prst="ellipse">
              <a:avLst/>
            </a:prstGeom>
            <a:solidFill>
              <a:schemeClr val="accent1">
                <a:alpha val="55000"/>
              </a:schemeClr>
            </a:solidFill>
            <a:ln>
              <a:noFill/>
            </a:ln>
          </p:spPr>
        </p:sp>
        <p:sp>
          <p:nvSpPr>
            <p:cNvPr id="9" name="Oval 8">
              <a:extLst>
                <a:ext uri="{FF2B5EF4-FFF2-40B4-BE49-F238E27FC236}">
                  <a16:creationId xmlns:a16="http://schemas.microsoft.com/office/drawing/2014/main" id="{F0307F65-8304-4FA8-A841-D4D7625411BE}"/>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5196840" y="498348"/>
              <a:ext cx="5861304" cy="5861304"/>
            </a:xfrm>
            <a:prstGeom prst="ellipse">
              <a:avLst/>
            </a:prstGeom>
            <a:solidFill>
              <a:schemeClr val="accent1">
                <a:alpha val="55000"/>
              </a:schemeClr>
            </a:solidFill>
            <a:ln>
              <a:noFill/>
            </a:ln>
          </p:spPr>
        </p:sp>
        <p:sp>
          <p:nvSpPr>
            <p:cNvPr id="10" name="Oval 5">
              <a:extLst>
                <a:ext uri="{FF2B5EF4-FFF2-40B4-BE49-F238E27FC236}">
                  <a16:creationId xmlns:a16="http://schemas.microsoft.com/office/drawing/2014/main" id="{C8B8394C-136F-4E05-A002-D93A5E79CD50}"/>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3165348" y="498348"/>
              <a:ext cx="5861304" cy="5861304"/>
            </a:xfrm>
            <a:prstGeom prst="ellipse">
              <a:avLst/>
            </a:prstGeom>
            <a:solidFill>
              <a:schemeClr val="accent1">
                <a:alpha val="70000"/>
              </a:schemeClr>
            </a:solidFill>
            <a:ln>
              <a:noFill/>
            </a:ln>
          </p:spPr>
        </p:sp>
      </p:grpSp>
      <p:sp>
        <p:nvSpPr>
          <p:cNvPr id="12" name="Rectangle 11">
            <a:extLst>
              <a:ext uri="{FF2B5EF4-FFF2-40B4-BE49-F238E27FC236}">
                <a16:creationId xmlns:a16="http://schemas.microsoft.com/office/drawing/2014/main" id="{053FB2EE-284F-4C87-AB3D-BBF87A9FAB9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514600"/>
            <a:ext cx="12192000" cy="182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ADED0D47-0CDA-4869-A11B-62A48FEE0C6A}"/>
              </a:ext>
            </a:extLst>
          </p:cNvPr>
          <p:cNvSpPr>
            <a:spLocks noGrp="1"/>
          </p:cNvSpPr>
          <p:nvPr>
            <p:ph type="title"/>
          </p:nvPr>
        </p:nvSpPr>
        <p:spPr>
          <a:xfrm>
            <a:off x="1524000" y="2776538"/>
            <a:ext cx="9144000" cy="1381188"/>
          </a:xfrm>
        </p:spPr>
        <p:txBody>
          <a:bodyPr vert="horz" lIns="91440" tIns="45720" rIns="91440" bIns="45720" rtlCol="0" anchor="ctr">
            <a:normAutofit/>
          </a:bodyPr>
          <a:lstStyle/>
          <a:p>
            <a:pPr algn="ctr"/>
            <a:r>
              <a:rPr lang="en-US" sz="4000" kern="1200">
                <a:solidFill>
                  <a:schemeClr val="bg2"/>
                </a:solidFill>
                <a:latin typeface="+mj-lt"/>
                <a:ea typeface="+mj-ea"/>
                <a:cs typeface="+mj-cs"/>
              </a:rPr>
              <a:t>What is API Management?</a:t>
            </a:r>
          </a:p>
        </p:txBody>
      </p:sp>
    </p:spTree>
    <p:extLst>
      <p:ext uri="{BB962C8B-B14F-4D97-AF65-F5344CB8AC3E}">
        <p14:creationId xmlns:p14="http://schemas.microsoft.com/office/powerpoint/2010/main" val="11876097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2285737-90EE-47DC-AC80-8AE156B1196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1" y="-1"/>
            <a:ext cx="4403709" cy="6858001"/>
          </a:xfrm>
          <a:custGeom>
            <a:avLst/>
            <a:gdLst>
              <a:gd name="connsiteX0" fmla="*/ 3223890 w 4403709"/>
              <a:gd name="connsiteY0" fmla="*/ 6858001 h 6858001"/>
              <a:gd name="connsiteX1" fmla="*/ 4101908 w 4403709"/>
              <a:gd name="connsiteY1" fmla="*/ 6858001 h 6858001"/>
              <a:gd name="connsiteX2" fmla="*/ 3254950 w 4403709"/>
              <a:gd name="connsiteY2" fmla="*/ 1599356 h 6858001"/>
              <a:gd name="connsiteX3" fmla="*/ 3254950 w 4403709"/>
              <a:gd name="connsiteY3" fmla="*/ 1594062 h 6858001"/>
              <a:gd name="connsiteX4" fmla="*/ 4403709 w 4403709"/>
              <a:gd name="connsiteY4" fmla="*/ 0 h 6858001"/>
              <a:gd name="connsiteX5" fmla="*/ 3254950 w 4403709"/>
              <a:gd name="connsiteY5" fmla="*/ 0 h 6858001"/>
              <a:gd name="connsiteX6" fmla="*/ 2903520 w 4403709"/>
              <a:gd name="connsiteY6" fmla="*/ 0 h 6858001"/>
              <a:gd name="connsiteX7" fmla="*/ 0 w 4403709"/>
              <a:gd name="connsiteY7" fmla="*/ 0 h 6858001"/>
              <a:gd name="connsiteX8" fmla="*/ 0 w 4403709"/>
              <a:gd name="connsiteY8" fmla="*/ 6858000 h 6858001"/>
              <a:gd name="connsiteX9" fmla="*/ 3223890 w 4403709"/>
              <a:gd name="connsiteY9"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03709" h="6858001">
                <a:moveTo>
                  <a:pt x="3223890" y="6858001"/>
                </a:moveTo>
                <a:lnTo>
                  <a:pt x="4101908" y="6858001"/>
                </a:lnTo>
                <a:lnTo>
                  <a:pt x="3254950" y="1599356"/>
                </a:lnTo>
                <a:lnTo>
                  <a:pt x="3254950" y="1594062"/>
                </a:lnTo>
                <a:lnTo>
                  <a:pt x="4403709" y="0"/>
                </a:lnTo>
                <a:lnTo>
                  <a:pt x="3254950" y="0"/>
                </a:lnTo>
                <a:lnTo>
                  <a:pt x="2903520" y="0"/>
                </a:lnTo>
                <a:lnTo>
                  <a:pt x="0" y="0"/>
                </a:lnTo>
                <a:lnTo>
                  <a:pt x="0" y="6858000"/>
                </a:lnTo>
                <a:lnTo>
                  <a:pt x="3223890" y="6858000"/>
                </a:lnTo>
                <a:close/>
              </a:path>
            </a:pathLst>
          </a:custGeom>
          <a:ln>
            <a:noFill/>
          </a:ln>
        </p:spPr>
        <p:style>
          <a:lnRef idx="2">
            <a:schemeClr val="accent1">
              <a:shade val="50000"/>
            </a:schemeClr>
          </a:lnRef>
          <a:fillRef idx="1002">
            <a:schemeClr val="dk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2" name="Group 11">
            <a:extLst>
              <a:ext uri="{FF2B5EF4-FFF2-40B4-BE49-F238E27FC236}">
                <a16:creationId xmlns:a16="http://schemas.microsoft.com/office/drawing/2014/main" id="{B57BDC17-F1B3-455F-BBF1-680AA1F25C0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3315292" y="0"/>
            <a:ext cx="2436813" cy="6858001"/>
            <a:chOff x="1320800" y="0"/>
            <a:chExt cx="2436813" cy="6858001"/>
          </a:xfrm>
        </p:grpSpPr>
        <p:sp>
          <p:nvSpPr>
            <p:cNvPr id="13" name="Freeform 6">
              <a:extLst>
                <a:ext uri="{FF2B5EF4-FFF2-40B4-BE49-F238E27FC236}">
                  <a16:creationId xmlns:a16="http://schemas.microsoft.com/office/drawing/2014/main" id="{64E2FA9A-FEF7-4501-B0EB-5E45EDD2177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27188" y="0"/>
              <a:ext cx="1122363" cy="5329238"/>
            </a:xfrm>
            <a:custGeom>
              <a:avLst/>
              <a:gdLst/>
              <a:ahLst/>
              <a:cxnLst/>
              <a:rect l="0" t="0" r="r" b="b"/>
              <a:pathLst>
                <a:path w="707" h="3357">
                  <a:moveTo>
                    <a:pt x="0" y="3330"/>
                  </a:moveTo>
                  <a:lnTo>
                    <a:pt x="156" y="3357"/>
                  </a:lnTo>
                  <a:lnTo>
                    <a:pt x="707" y="0"/>
                  </a:lnTo>
                  <a:lnTo>
                    <a:pt x="547" y="0"/>
                  </a:lnTo>
                  <a:lnTo>
                    <a:pt x="0" y="3330"/>
                  </a:lnTo>
                  <a:close/>
                </a:path>
              </a:pathLst>
            </a:custGeom>
            <a:solidFill>
              <a:schemeClr val="accent1"/>
            </a:solidFill>
            <a:ln>
              <a:noFill/>
            </a:ln>
          </p:spPr>
        </p:sp>
        <p:sp>
          <p:nvSpPr>
            <p:cNvPr id="14" name="Freeform 7">
              <a:extLst>
                <a:ext uri="{FF2B5EF4-FFF2-40B4-BE49-F238E27FC236}">
                  <a16:creationId xmlns:a16="http://schemas.microsoft.com/office/drawing/2014/main" id="{BC38192B-B4CB-47D4-A3B1-10010247F1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20800" y="0"/>
              <a:ext cx="1117600" cy="5276850"/>
            </a:xfrm>
            <a:custGeom>
              <a:avLst/>
              <a:gdLst/>
              <a:ahLst/>
              <a:cxnLst/>
              <a:rect l="0" t="0" r="r" b="b"/>
              <a:pathLst>
                <a:path w="704" h="3324">
                  <a:moveTo>
                    <a:pt x="704" y="0"/>
                  </a:moveTo>
                  <a:lnTo>
                    <a:pt x="545" y="0"/>
                  </a:lnTo>
                  <a:lnTo>
                    <a:pt x="0" y="3300"/>
                  </a:lnTo>
                  <a:lnTo>
                    <a:pt x="157" y="3324"/>
                  </a:lnTo>
                  <a:lnTo>
                    <a:pt x="704" y="0"/>
                  </a:lnTo>
                  <a:close/>
                </a:path>
              </a:pathLst>
            </a:custGeom>
            <a:solidFill>
              <a:srgbClr val="595959"/>
            </a:solidFill>
            <a:ln>
              <a:noFill/>
            </a:ln>
          </p:spPr>
        </p:sp>
        <p:sp>
          <p:nvSpPr>
            <p:cNvPr id="15" name="Freeform 8">
              <a:extLst>
                <a:ext uri="{FF2B5EF4-FFF2-40B4-BE49-F238E27FC236}">
                  <a16:creationId xmlns:a16="http://schemas.microsoft.com/office/drawing/2014/main" id="{96330E33-E171-4B0F-82B5-AF7230399B5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20800" y="5238750"/>
              <a:ext cx="1228725" cy="1619250"/>
            </a:xfrm>
            <a:custGeom>
              <a:avLst/>
              <a:gdLst/>
              <a:ahLst/>
              <a:cxnLst/>
              <a:rect l="0" t="0" r="r" b="b"/>
              <a:pathLst>
                <a:path w="774" h="1020">
                  <a:moveTo>
                    <a:pt x="0" y="0"/>
                  </a:moveTo>
                  <a:lnTo>
                    <a:pt x="740" y="1020"/>
                  </a:lnTo>
                  <a:lnTo>
                    <a:pt x="774" y="1020"/>
                  </a:lnTo>
                  <a:lnTo>
                    <a:pt x="0" y="0"/>
                  </a:lnTo>
                  <a:close/>
                </a:path>
              </a:pathLst>
            </a:custGeom>
            <a:solidFill>
              <a:srgbClr val="262626"/>
            </a:solidFill>
            <a:ln>
              <a:noFill/>
            </a:ln>
          </p:spPr>
        </p:sp>
        <p:sp>
          <p:nvSpPr>
            <p:cNvPr id="16" name="Freeform 9">
              <a:extLst>
                <a:ext uri="{FF2B5EF4-FFF2-40B4-BE49-F238E27FC236}">
                  <a16:creationId xmlns:a16="http://schemas.microsoft.com/office/drawing/2014/main" id="{332B1723-69BF-42D7-B757-0FA059E1525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27188" y="5291138"/>
              <a:ext cx="1495425" cy="1566863"/>
            </a:xfrm>
            <a:custGeom>
              <a:avLst/>
              <a:gdLst/>
              <a:ahLst/>
              <a:cxnLst/>
              <a:rect l="0" t="0" r="r" b="b"/>
              <a:pathLst>
                <a:path w="942" h="987">
                  <a:moveTo>
                    <a:pt x="0" y="0"/>
                  </a:moveTo>
                  <a:lnTo>
                    <a:pt x="909" y="987"/>
                  </a:lnTo>
                  <a:lnTo>
                    <a:pt x="942" y="987"/>
                  </a:lnTo>
                  <a:lnTo>
                    <a:pt x="0" y="0"/>
                  </a:lnTo>
                  <a:close/>
                </a:path>
              </a:pathLst>
            </a:custGeom>
            <a:solidFill>
              <a:schemeClr val="accent1">
                <a:lumMod val="50000"/>
              </a:schemeClr>
            </a:solidFill>
            <a:ln>
              <a:noFill/>
            </a:ln>
          </p:spPr>
        </p:sp>
        <p:sp>
          <p:nvSpPr>
            <p:cNvPr id="17" name="Freeform 10">
              <a:extLst>
                <a:ext uri="{FF2B5EF4-FFF2-40B4-BE49-F238E27FC236}">
                  <a16:creationId xmlns:a16="http://schemas.microsoft.com/office/drawing/2014/main" id="{F115D62D-1E96-48D1-A78D-D370A0BFB9B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27188" y="5286375"/>
              <a:ext cx="2130425" cy="1571625"/>
            </a:xfrm>
            <a:custGeom>
              <a:avLst/>
              <a:gdLst/>
              <a:ahLst/>
              <a:cxnLst/>
              <a:rect l="0" t="0" r="r" b="b"/>
              <a:pathLst>
                <a:path w="1342" h="990">
                  <a:moveTo>
                    <a:pt x="0" y="3"/>
                  </a:moveTo>
                  <a:lnTo>
                    <a:pt x="942" y="990"/>
                  </a:lnTo>
                  <a:lnTo>
                    <a:pt x="1342" y="990"/>
                  </a:lnTo>
                  <a:lnTo>
                    <a:pt x="156" y="27"/>
                  </a:lnTo>
                  <a:lnTo>
                    <a:pt x="0" y="0"/>
                  </a:lnTo>
                  <a:lnTo>
                    <a:pt x="0" y="3"/>
                  </a:lnTo>
                  <a:close/>
                </a:path>
              </a:pathLst>
            </a:custGeom>
            <a:solidFill>
              <a:schemeClr val="accent1">
                <a:lumMod val="75000"/>
              </a:schemeClr>
            </a:solidFill>
            <a:ln>
              <a:noFill/>
            </a:ln>
          </p:spPr>
        </p:sp>
        <p:sp>
          <p:nvSpPr>
            <p:cNvPr id="18" name="Freeform 11">
              <a:extLst>
                <a:ext uri="{FF2B5EF4-FFF2-40B4-BE49-F238E27FC236}">
                  <a16:creationId xmlns:a16="http://schemas.microsoft.com/office/drawing/2014/main" id="{91C2876A-169D-4822-A766-C00578C88B4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20800" y="5238750"/>
              <a:ext cx="1695450" cy="1619250"/>
            </a:xfrm>
            <a:custGeom>
              <a:avLst/>
              <a:gdLst/>
              <a:ahLst/>
              <a:cxnLst/>
              <a:rect l="0" t="0" r="r" b="b"/>
              <a:pathLst>
                <a:path w="1068" h="1020">
                  <a:moveTo>
                    <a:pt x="1068" y="1020"/>
                  </a:moveTo>
                  <a:lnTo>
                    <a:pt x="184" y="60"/>
                  </a:lnTo>
                  <a:lnTo>
                    <a:pt x="154" y="27"/>
                  </a:lnTo>
                  <a:lnTo>
                    <a:pt x="157" y="27"/>
                  </a:lnTo>
                  <a:lnTo>
                    <a:pt x="157" y="24"/>
                  </a:lnTo>
                  <a:lnTo>
                    <a:pt x="154" y="24"/>
                  </a:lnTo>
                  <a:lnTo>
                    <a:pt x="0" y="0"/>
                  </a:lnTo>
                  <a:lnTo>
                    <a:pt x="0" y="0"/>
                  </a:lnTo>
                  <a:lnTo>
                    <a:pt x="774" y="1020"/>
                  </a:lnTo>
                  <a:lnTo>
                    <a:pt x="1068" y="1020"/>
                  </a:lnTo>
                  <a:close/>
                </a:path>
              </a:pathLst>
            </a:custGeom>
            <a:solidFill>
              <a:srgbClr val="404040"/>
            </a:solidFill>
            <a:ln>
              <a:noFill/>
            </a:ln>
          </p:spPr>
        </p:sp>
      </p:grpSp>
      <p:sp>
        <p:nvSpPr>
          <p:cNvPr id="2" name="Title 1">
            <a:extLst>
              <a:ext uri="{FF2B5EF4-FFF2-40B4-BE49-F238E27FC236}">
                <a16:creationId xmlns:a16="http://schemas.microsoft.com/office/drawing/2014/main" id="{072D2678-DB30-D845-A0D1-E5E5C94D0DFE}"/>
              </a:ext>
            </a:extLst>
          </p:cNvPr>
          <p:cNvSpPr>
            <a:spLocks noGrp="1"/>
          </p:cNvSpPr>
          <p:nvPr>
            <p:ph type="title"/>
          </p:nvPr>
        </p:nvSpPr>
        <p:spPr>
          <a:xfrm>
            <a:off x="535020" y="685800"/>
            <a:ext cx="2780271" cy="5105400"/>
          </a:xfrm>
        </p:spPr>
        <p:txBody>
          <a:bodyPr>
            <a:normAutofit/>
          </a:bodyPr>
          <a:lstStyle/>
          <a:p>
            <a:r>
              <a:rPr lang="en-US" sz="4000">
                <a:solidFill>
                  <a:srgbClr val="FFFFFF"/>
                </a:solidFill>
              </a:rPr>
              <a:t>CEO Ask….</a:t>
            </a:r>
          </a:p>
        </p:txBody>
      </p:sp>
      <p:graphicFrame>
        <p:nvGraphicFramePr>
          <p:cNvPr id="5" name="Content Placeholder 2">
            <a:extLst>
              <a:ext uri="{FF2B5EF4-FFF2-40B4-BE49-F238E27FC236}">
                <a16:creationId xmlns:a16="http://schemas.microsoft.com/office/drawing/2014/main" id="{67BCF4D0-646A-41EA-AA3B-37F4DAA61E31}"/>
              </a:ext>
            </a:extLst>
          </p:cNvPr>
          <p:cNvGraphicFramePr>
            <a:graphicFrameLocks noGrp="1"/>
          </p:cNvGraphicFramePr>
          <p:nvPr>
            <p:ph idx="1"/>
            <p:extLst>
              <p:ext uri="{D42A27DB-BD31-4B8C-83A1-F6EECF244321}">
                <p14:modId xmlns:p14="http://schemas.microsoft.com/office/powerpoint/2010/main" val="3981387343"/>
              </p:ext>
            </p:extLst>
          </p:nvPr>
        </p:nvGraphicFramePr>
        <p:xfrm>
          <a:off x="5010150" y="685800"/>
          <a:ext cx="6492875" cy="5105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1395072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r>
              <a:rPr lang="en-US" dirty="0"/>
              <a:t>APIs and API economy</a:t>
            </a:r>
          </a:p>
        </p:txBody>
      </p:sp>
      <p:sp>
        <p:nvSpPr>
          <p:cNvPr id="3" name="Text Placeholder 2"/>
          <p:cNvSpPr>
            <a:spLocks noGrp="1"/>
          </p:cNvSpPr>
          <p:nvPr>
            <p:ph type="body" sz="quarter" idx="10"/>
          </p:nvPr>
        </p:nvSpPr>
        <p:spPr>
          <a:xfrm>
            <a:off x="6880723" y="1189495"/>
            <a:ext cx="5041213" cy="4849871"/>
          </a:xfrm>
        </p:spPr>
        <p:txBody>
          <a:bodyPr>
            <a:normAutofit lnSpcReduction="10000"/>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sz="2000" dirty="0"/>
              <a:t>“Application programming interfaces (APIs) have been elevated from a development technique to a business model driver and boardroom consideration.</a:t>
            </a:r>
          </a:p>
          <a:p>
            <a:r>
              <a:rPr lang="en-US" sz="2000" dirty="0"/>
              <a:t>An organization’s core assets can be reused, shared, and monetized through APIs that can extend the reach of existing services or provide new revenue streams.</a:t>
            </a:r>
          </a:p>
          <a:p>
            <a:r>
              <a:rPr lang="en-US" sz="2000" dirty="0"/>
              <a:t>APIs should be managed like a product - one built on top of a potentially complex technical footprint that includes legacy and third-party systems and data.</a:t>
            </a:r>
          </a:p>
          <a:p>
            <a:endParaRPr lang="en-US" sz="2000" dirty="0"/>
          </a:p>
          <a:p>
            <a:r>
              <a:rPr lang="en-US" sz="2000" dirty="0"/>
              <a:t>		</a:t>
            </a:r>
            <a:r>
              <a:rPr lang="en-US" sz="1400" dirty="0"/>
              <a:t>From the </a:t>
            </a:r>
            <a:r>
              <a:rPr lang="en-US" sz="1400" dirty="0">
                <a:hlinkClick r:id="rId3"/>
              </a:rPr>
              <a:t>“API Economy”</a:t>
            </a:r>
            <a:endParaRPr lang="en-US" sz="1400" dirty="0"/>
          </a:p>
          <a:p>
            <a:r>
              <a:rPr lang="en-US" sz="1400" dirty="0"/>
              <a:t>		by George Collins and David Sisk </a:t>
            </a:r>
          </a:p>
          <a:p>
            <a:r>
              <a:rPr lang="en-US" sz="1400" dirty="0"/>
              <a:t>		Deloitte Consulting LLP, 2015</a:t>
            </a:r>
          </a:p>
        </p:txBody>
      </p:sp>
      <p:pic>
        <p:nvPicPr>
          <p:cNvPr id="18" name="Picture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0492" y="244719"/>
            <a:ext cx="7029188" cy="9096593"/>
          </a:xfrm>
          <a:prstGeom prst="rect">
            <a:avLst/>
          </a:prstGeom>
        </p:spPr>
      </p:pic>
      <p:pic>
        <p:nvPicPr>
          <p:cNvPr id="19" name="Picture 18"/>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452865" y="394403"/>
            <a:ext cx="350204" cy="802854"/>
          </a:xfrm>
          <a:prstGeom prst="rect">
            <a:avLst/>
          </a:prstGeom>
        </p:spPr>
      </p:pic>
      <p:pic>
        <p:nvPicPr>
          <p:cNvPr id="20" name="Picture 19"/>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5538339" y="2004770"/>
            <a:ext cx="1116707" cy="3547022"/>
          </a:xfrm>
          <a:prstGeom prst="rect">
            <a:avLst/>
          </a:prstGeom>
        </p:spPr>
      </p:pic>
      <p:pic>
        <p:nvPicPr>
          <p:cNvPr id="21" name="Picture 20"/>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4005211" y="670443"/>
            <a:ext cx="1364320" cy="3694333"/>
          </a:xfrm>
          <a:prstGeom prst="rect">
            <a:avLst/>
          </a:prstGeom>
        </p:spPr>
      </p:pic>
      <p:grpSp>
        <p:nvGrpSpPr>
          <p:cNvPr id="22" name="Group 21"/>
          <p:cNvGrpSpPr/>
          <p:nvPr/>
        </p:nvGrpSpPr>
        <p:grpSpPr>
          <a:xfrm>
            <a:off x="2484251" y="564307"/>
            <a:ext cx="675207" cy="3686695"/>
            <a:chOff x="2483226" y="169953"/>
            <a:chExt cx="675398" cy="3687741"/>
          </a:xfrm>
        </p:grpSpPr>
        <p:pic>
          <p:nvPicPr>
            <p:cNvPr id="23" name="Picture 22"/>
            <p:cNvPicPr>
              <a:picLocks noChangeAspect="1"/>
            </p:cNvPicPr>
            <p:nvPr/>
          </p:nvPicPr>
          <p:blipFill rotWithShape="1">
            <a:blip r:embed="rId8" cstate="print">
              <a:extLst>
                <a:ext uri="{28A0092B-C50C-407E-A947-70E740481C1C}">
                  <a14:useLocalDpi xmlns:a14="http://schemas.microsoft.com/office/drawing/2010/main" val="0"/>
                </a:ext>
              </a:extLst>
            </a:blip>
            <a:srcRect b="4343"/>
            <a:stretch/>
          </p:blipFill>
          <p:spPr>
            <a:xfrm>
              <a:off x="2487244" y="169953"/>
              <a:ext cx="671380" cy="1870006"/>
            </a:xfrm>
            <a:prstGeom prst="rect">
              <a:avLst/>
            </a:prstGeom>
          </p:spPr>
        </p:pic>
        <p:pic>
          <p:nvPicPr>
            <p:cNvPr id="24" name="Picture 23"/>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487240" y="2049150"/>
              <a:ext cx="671380" cy="585771"/>
            </a:xfrm>
            <a:prstGeom prst="rect">
              <a:avLst/>
            </a:prstGeom>
          </p:spPr>
        </p:pic>
        <p:pic>
          <p:nvPicPr>
            <p:cNvPr id="25" name="Picture 24"/>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2483226" y="2694844"/>
              <a:ext cx="671380" cy="1162850"/>
            </a:xfrm>
            <a:prstGeom prst="rect">
              <a:avLst/>
            </a:prstGeom>
          </p:spPr>
        </p:pic>
      </p:grpSp>
      <p:pic>
        <p:nvPicPr>
          <p:cNvPr id="26" name="Picture 25"/>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1604981" y="1275350"/>
            <a:ext cx="1352334" cy="4482348"/>
          </a:xfrm>
          <a:prstGeom prst="rect">
            <a:avLst/>
          </a:prstGeom>
        </p:spPr>
      </p:pic>
      <p:sp>
        <p:nvSpPr>
          <p:cNvPr id="27" name="TextBox 26"/>
          <p:cNvSpPr txBox="1"/>
          <p:nvPr/>
        </p:nvSpPr>
        <p:spPr>
          <a:xfrm flipH="1">
            <a:off x="5502840" y="1405562"/>
            <a:ext cx="1377884" cy="690925"/>
          </a:xfrm>
          <a:prstGeom prst="rect">
            <a:avLst/>
          </a:prstGeom>
          <a:noFill/>
        </p:spPr>
        <p:txBody>
          <a:bodyPr wrap="square" lIns="182854" tIns="146284" rIns="182854" bIns="146284"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B0F0"/>
                </a:solidFill>
                <a:effectLst/>
                <a:uLnTx/>
                <a:uFillTx/>
                <a:latin typeface="Segoe UI Light"/>
                <a:ea typeface="+mn-ea"/>
                <a:cs typeface="+mn-cs"/>
              </a:rPr>
              <a:t>Cloud</a:t>
            </a:r>
          </a:p>
        </p:txBody>
      </p:sp>
      <p:sp>
        <p:nvSpPr>
          <p:cNvPr id="28" name="TextBox 27"/>
          <p:cNvSpPr txBox="1"/>
          <p:nvPr/>
        </p:nvSpPr>
        <p:spPr>
          <a:xfrm flipH="1">
            <a:off x="193812" y="1410041"/>
            <a:ext cx="2161147" cy="572383"/>
          </a:xfrm>
          <a:prstGeom prst="rect">
            <a:avLst/>
          </a:prstGeom>
          <a:noFill/>
        </p:spPr>
        <p:txBody>
          <a:bodyPr wrap="square" lIns="182854" tIns="146284" rIns="182854" bIns="146284"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a:ln>
                  <a:noFill/>
                </a:ln>
                <a:solidFill>
                  <a:srgbClr val="D83B01">
                    <a:lumMod val="75000"/>
                  </a:srgbClr>
                </a:solidFill>
                <a:effectLst/>
                <a:uLnTx/>
                <a:uFillTx/>
                <a:latin typeface="Segoe UI Light"/>
                <a:ea typeface="+mn-ea"/>
                <a:cs typeface="+mn-cs"/>
              </a:rPr>
              <a:t>2-speed </a:t>
            </a:r>
            <a:r>
              <a:rPr kumimoji="0" lang="en-US" sz="2000" b="1" i="0" u="none" strike="noStrike" kern="1200" cap="none" spc="0" normalizeH="0" baseline="0" noProof="0" dirty="0">
                <a:ln>
                  <a:noFill/>
                </a:ln>
                <a:solidFill>
                  <a:srgbClr val="D83B01">
                    <a:lumMod val="75000"/>
                  </a:srgbClr>
                </a:solidFill>
                <a:effectLst/>
                <a:uLnTx/>
                <a:uFillTx/>
                <a:latin typeface="Segoe UI Light"/>
                <a:ea typeface="+mn-ea"/>
                <a:cs typeface="+mn-cs"/>
              </a:rPr>
              <a:t>IT</a:t>
            </a:r>
          </a:p>
        </p:txBody>
      </p:sp>
      <p:sp>
        <p:nvSpPr>
          <p:cNvPr id="29" name="TextBox 28"/>
          <p:cNvSpPr txBox="1"/>
          <p:nvPr/>
        </p:nvSpPr>
        <p:spPr>
          <a:xfrm flipH="1">
            <a:off x="486365" y="244720"/>
            <a:ext cx="1791963" cy="747471"/>
          </a:xfrm>
          <a:prstGeom prst="rect">
            <a:avLst/>
          </a:prstGeom>
          <a:noFill/>
        </p:spPr>
        <p:txBody>
          <a:bodyPr wrap="square" lIns="182854" tIns="146284" rIns="182854" bIns="146284"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a:ln>
                  <a:noFill/>
                </a:ln>
                <a:solidFill>
                  <a:srgbClr val="7030A0"/>
                </a:solidFill>
                <a:effectLst/>
                <a:uLnTx/>
                <a:uFillTx/>
                <a:latin typeface="Segoe UI Light"/>
                <a:ea typeface="+mn-ea"/>
                <a:cs typeface="+mn-cs"/>
              </a:rPr>
              <a:t>Mobile</a:t>
            </a:r>
            <a:endParaRPr kumimoji="0" lang="en-US" sz="3200" b="1" i="0" u="none" strike="noStrike" kern="1200" cap="none" spc="0" normalizeH="0" baseline="0" noProof="0" dirty="0">
              <a:ln>
                <a:noFill/>
              </a:ln>
              <a:solidFill>
                <a:srgbClr val="7030A0"/>
              </a:solidFill>
              <a:effectLst/>
              <a:uLnTx/>
              <a:uFillTx/>
              <a:latin typeface="Segoe UI Light"/>
              <a:ea typeface="+mn-ea"/>
              <a:cs typeface="+mn-cs"/>
            </a:endParaRPr>
          </a:p>
        </p:txBody>
      </p:sp>
      <p:sp>
        <p:nvSpPr>
          <p:cNvPr id="30" name="TextBox 29"/>
          <p:cNvSpPr txBox="1"/>
          <p:nvPr/>
        </p:nvSpPr>
        <p:spPr>
          <a:xfrm flipH="1">
            <a:off x="4230915" y="2559839"/>
            <a:ext cx="1758547" cy="634443"/>
          </a:xfrm>
          <a:prstGeom prst="rect">
            <a:avLst/>
          </a:prstGeom>
          <a:noFill/>
        </p:spPr>
        <p:txBody>
          <a:bodyPr wrap="square" lIns="182854" tIns="146284" rIns="182854" bIns="146284"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0070C0"/>
                </a:solidFill>
                <a:effectLst/>
                <a:uLnTx/>
                <a:uFillTx/>
                <a:latin typeface="Segoe UI Light"/>
                <a:ea typeface="+mn-ea"/>
                <a:cs typeface="+mn-cs"/>
              </a:rPr>
              <a:t>Analytics</a:t>
            </a:r>
            <a:endParaRPr kumimoji="0" lang="en-US" sz="2400" b="1" i="0" u="none" strike="noStrike" kern="1200" cap="none" spc="0" normalizeH="0" baseline="0" noProof="0" dirty="0">
              <a:ln>
                <a:noFill/>
              </a:ln>
              <a:solidFill>
                <a:srgbClr val="0070C0"/>
              </a:solidFill>
              <a:effectLst/>
              <a:uLnTx/>
              <a:uFillTx/>
              <a:latin typeface="Segoe UI Light"/>
              <a:ea typeface="+mn-ea"/>
              <a:cs typeface="+mn-cs"/>
            </a:endParaRPr>
          </a:p>
        </p:txBody>
      </p:sp>
      <p:sp>
        <p:nvSpPr>
          <p:cNvPr id="31" name="TextBox 30"/>
          <p:cNvSpPr txBox="1"/>
          <p:nvPr/>
        </p:nvSpPr>
        <p:spPr>
          <a:xfrm flipH="1">
            <a:off x="3952420" y="42669"/>
            <a:ext cx="1264198" cy="634443"/>
          </a:xfrm>
          <a:prstGeom prst="rect">
            <a:avLst/>
          </a:prstGeom>
          <a:noFill/>
        </p:spPr>
        <p:txBody>
          <a:bodyPr wrap="square" lIns="182854" tIns="146284" rIns="182854" bIns="146284"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err="1">
                <a:ln>
                  <a:noFill/>
                </a:ln>
                <a:solidFill>
                  <a:srgbClr val="00B050"/>
                </a:solidFill>
                <a:effectLst/>
                <a:uLnTx/>
                <a:uFillTx/>
                <a:latin typeface="Segoe UI Light"/>
                <a:ea typeface="+mn-ea"/>
                <a:cs typeface="+mn-cs"/>
              </a:rPr>
              <a:t>IoT</a:t>
            </a:r>
            <a:endParaRPr kumimoji="0" lang="en-US" sz="2400" b="1" i="0" u="none" strike="noStrike" kern="1200" cap="none" spc="0" normalizeH="0" baseline="0" noProof="0" dirty="0">
              <a:ln>
                <a:noFill/>
              </a:ln>
              <a:solidFill>
                <a:srgbClr val="00B050"/>
              </a:solidFill>
              <a:effectLst/>
              <a:uLnTx/>
              <a:uFillTx/>
              <a:latin typeface="Segoe UI Light"/>
              <a:ea typeface="+mn-ea"/>
              <a:cs typeface="+mn-cs"/>
            </a:endParaRPr>
          </a:p>
        </p:txBody>
      </p:sp>
      <p:sp>
        <p:nvSpPr>
          <p:cNvPr id="32" name="TextBox 31"/>
          <p:cNvSpPr txBox="1"/>
          <p:nvPr/>
        </p:nvSpPr>
        <p:spPr>
          <a:xfrm flipH="1">
            <a:off x="4959429" y="3296908"/>
            <a:ext cx="1956261" cy="544688"/>
          </a:xfrm>
          <a:prstGeom prst="rect">
            <a:avLst/>
          </a:prstGeom>
          <a:noFill/>
        </p:spPr>
        <p:txBody>
          <a:bodyPr wrap="square" lIns="182854" tIns="146284" rIns="182854" bIns="146284"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a:ln>
                  <a:noFill/>
                </a:ln>
                <a:solidFill>
                  <a:srgbClr val="002060"/>
                </a:solidFill>
                <a:effectLst/>
                <a:uLnTx/>
                <a:uFillTx/>
                <a:latin typeface="Segoe UI Light"/>
                <a:ea typeface="+mn-ea"/>
                <a:cs typeface="+mn-cs"/>
              </a:rPr>
              <a:t>Microservices</a:t>
            </a:r>
            <a:endParaRPr kumimoji="0" lang="en-US" sz="1800" b="1" i="0" u="none" strike="noStrike" kern="1200" cap="none" spc="0" normalizeH="0" baseline="0" noProof="0" dirty="0">
              <a:ln>
                <a:noFill/>
              </a:ln>
              <a:solidFill>
                <a:srgbClr val="002060"/>
              </a:solidFill>
              <a:effectLst/>
              <a:uLnTx/>
              <a:uFillTx/>
              <a:latin typeface="Segoe UI Light"/>
              <a:ea typeface="+mn-ea"/>
              <a:cs typeface="+mn-cs"/>
            </a:endParaRPr>
          </a:p>
        </p:txBody>
      </p:sp>
    </p:spTree>
    <p:extLst>
      <p:ext uri="{BB962C8B-B14F-4D97-AF65-F5344CB8AC3E}">
        <p14:creationId xmlns:p14="http://schemas.microsoft.com/office/powerpoint/2010/main" val="933383074"/>
      </p:ext>
    </p:extLst>
  </p:cSld>
  <p:clrMapOvr>
    <a:masterClrMapping/>
  </p:clrMapOvr>
  <p:transition spd="slow">
    <p:cover/>
  </p:transition>
</p:sld>
</file>

<file path=ppt/slides/slide8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bwMode="auto">
          <a:xfrm>
            <a:off x="270066" y="2536956"/>
            <a:ext cx="10606190" cy="261424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 name="TextBox 5"/>
          <p:cNvSpPr txBox="1"/>
          <p:nvPr/>
        </p:nvSpPr>
        <p:spPr>
          <a:xfrm>
            <a:off x="419451" y="3223816"/>
            <a:ext cx="2468176" cy="1769730"/>
          </a:xfrm>
          <a:prstGeom prst="rect">
            <a:avLst/>
          </a:prstGeom>
          <a:solidFill>
            <a:srgbClr val="5C2D91"/>
          </a:solidFill>
        </p:spPr>
        <p:txBody>
          <a:bodyPr wrap="square" lIns="182828" tIns="146263" rIns="182828" bIns="146263" rtlCol="0" anchor="ctr" anchorCtr="0">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2745"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Abstraction</a:t>
            </a:r>
          </a:p>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156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decouple</a:t>
            </a:r>
          </a:p>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156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modernize</a:t>
            </a:r>
          </a:p>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156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optimize</a:t>
            </a:r>
          </a:p>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156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a:t>
            </a:r>
            <a:endParaRPr kumimoji="0" lang="en-US" sz="2745"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endParaRPr>
          </a:p>
        </p:txBody>
      </p:sp>
      <p:sp>
        <p:nvSpPr>
          <p:cNvPr id="8" name="TextBox 7"/>
          <p:cNvSpPr txBox="1"/>
          <p:nvPr/>
        </p:nvSpPr>
        <p:spPr>
          <a:xfrm>
            <a:off x="3037011" y="3223816"/>
            <a:ext cx="2468176" cy="1769730"/>
          </a:xfrm>
          <a:prstGeom prst="rect">
            <a:avLst/>
          </a:prstGeom>
          <a:solidFill>
            <a:srgbClr val="0078D7"/>
          </a:solidFill>
        </p:spPr>
        <p:txBody>
          <a:bodyPr wrap="square" lIns="182828" tIns="146263" rIns="182828" bIns="146263" rtlCol="0" anchor="ctr" anchorCtr="0">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2745"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Middleware</a:t>
            </a:r>
          </a:p>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156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secure</a:t>
            </a:r>
          </a:p>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156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protect</a:t>
            </a:r>
          </a:p>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156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cache</a:t>
            </a:r>
          </a:p>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156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a:t>
            </a:r>
          </a:p>
        </p:txBody>
      </p:sp>
      <p:sp>
        <p:nvSpPr>
          <p:cNvPr id="9" name="TextBox 8"/>
          <p:cNvSpPr txBox="1"/>
          <p:nvPr/>
        </p:nvSpPr>
        <p:spPr>
          <a:xfrm>
            <a:off x="5644496" y="3223816"/>
            <a:ext cx="2468176" cy="1769730"/>
          </a:xfrm>
          <a:prstGeom prst="rect">
            <a:avLst/>
          </a:prstGeom>
          <a:solidFill>
            <a:srgbClr val="008272"/>
          </a:solidFill>
        </p:spPr>
        <p:txBody>
          <a:bodyPr wrap="square" lIns="182828" tIns="146263" rIns="182828" bIns="146263" rtlCol="0" anchor="ctr" anchorCtr="0">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2745"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Monitoring</a:t>
            </a:r>
          </a:p>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156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usage</a:t>
            </a:r>
          </a:p>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156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health</a:t>
            </a:r>
          </a:p>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156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monetization</a:t>
            </a:r>
          </a:p>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156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a:t>
            </a:r>
          </a:p>
        </p:txBody>
      </p:sp>
      <p:sp>
        <p:nvSpPr>
          <p:cNvPr id="10" name="TextBox 9"/>
          <p:cNvSpPr txBox="1"/>
          <p:nvPr/>
        </p:nvSpPr>
        <p:spPr>
          <a:xfrm>
            <a:off x="8262055" y="3223816"/>
            <a:ext cx="2468176" cy="1769730"/>
          </a:xfrm>
          <a:prstGeom prst="rect">
            <a:avLst/>
          </a:prstGeom>
          <a:solidFill>
            <a:srgbClr val="107C10"/>
          </a:solidFill>
          <a:ln>
            <a:solidFill>
              <a:schemeClr val="accent4">
                <a:lumMod val="50000"/>
              </a:schemeClr>
            </a:solidFill>
          </a:ln>
        </p:spPr>
        <p:txBody>
          <a:bodyPr wrap="square" lIns="182828" tIns="146263" rIns="182828" bIns="146263" rtlCol="0" anchor="ctr" anchorCtr="0">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2745"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Developer</a:t>
            </a:r>
          </a:p>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156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discover</a:t>
            </a:r>
          </a:p>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156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document</a:t>
            </a:r>
          </a:p>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156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on-board</a:t>
            </a:r>
          </a:p>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156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a:t>
            </a:r>
          </a:p>
        </p:txBody>
      </p:sp>
      <p:sp>
        <p:nvSpPr>
          <p:cNvPr id="5" name="Title 4"/>
          <p:cNvSpPr>
            <a:spLocks noGrp="1"/>
          </p:cNvSpPr>
          <p:nvPr>
            <p:ph type="title"/>
          </p:nvPr>
        </p:nvSpPr>
        <p:spPr>
          <a:xfrm>
            <a:off x="315361" y="120798"/>
            <a:ext cx="10515600" cy="1325563"/>
          </a:xfrm>
        </p:spPr>
        <p:txBody>
          <a:bodyPr>
            <a:norm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sz="4000" dirty="0"/>
              <a:t>Azure API Management</a:t>
            </a:r>
          </a:p>
        </p:txBody>
      </p:sp>
      <p:sp>
        <p:nvSpPr>
          <p:cNvPr id="16" name="Rectangle 15"/>
          <p:cNvSpPr/>
          <p:nvPr/>
        </p:nvSpPr>
        <p:spPr>
          <a:xfrm>
            <a:off x="5765604" y="5507079"/>
            <a:ext cx="2311687" cy="1070506"/>
          </a:xfrm>
          <a:prstGeom prst="rect">
            <a:avLst/>
          </a:prstGeom>
          <a:solidFill>
            <a:schemeClr val="accent4">
              <a:lumMod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On-prem APIs</a:t>
            </a:r>
          </a:p>
        </p:txBody>
      </p:sp>
      <p:sp>
        <p:nvSpPr>
          <p:cNvPr id="17" name="Rectangle 16"/>
          <p:cNvSpPr/>
          <p:nvPr/>
        </p:nvSpPr>
        <p:spPr>
          <a:xfrm>
            <a:off x="8418545" y="5507079"/>
            <a:ext cx="2311687" cy="1070506"/>
          </a:xfrm>
          <a:prstGeom prst="rect">
            <a:avLst/>
          </a:prstGeom>
          <a:solidFill>
            <a:schemeClr val="accent4">
              <a:lumMod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3</a:t>
            </a:r>
            <a:r>
              <a:rPr kumimoji="0" lang="en-US" sz="1800" b="0" i="0" u="none" strike="noStrike" kern="1200" cap="none" spc="0" normalizeH="0" baseline="30000" noProof="0" dirty="0">
                <a:ln>
                  <a:noFill/>
                </a:ln>
                <a:solidFill>
                  <a:srgbClr val="FFFFFF"/>
                </a:solidFill>
                <a:effectLst/>
                <a:uLnTx/>
                <a:uFillTx/>
                <a:latin typeface="Segoe UI Light"/>
                <a:ea typeface="+mn-ea"/>
                <a:cs typeface="+mn-cs"/>
              </a:rPr>
              <a:t>rd</a:t>
            </a:r>
            <a:r>
              <a:rPr kumimoji="0" lang="en-US" sz="1800" b="0" i="0" u="none" strike="noStrike" kern="1200" cap="none" spc="0" normalizeH="0" baseline="0" noProof="0" dirty="0">
                <a:ln>
                  <a:noFill/>
                </a:ln>
                <a:solidFill>
                  <a:srgbClr val="FFFFFF"/>
                </a:solidFill>
                <a:effectLst/>
                <a:uLnTx/>
                <a:uFillTx/>
                <a:latin typeface="Segoe UI Light"/>
                <a:ea typeface="+mn-ea"/>
                <a:cs typeface="+mn-cs"/>
              </a:rPr>
              <a:t> party APIs</a:t>
            </a:r>
          </a:p>
        </p:txBody>
      </p:sp>
      <p:sp>
        <p:nvSpPr>
          <p:cNvPr id="21" name="TextBox 20"/>
          <p:cNvSpPr txBox="1"/>
          <p:nvPr/>
        </p:nvSpPr>
        <p:spPr>
          <a:xfrm>
            <a:off x="963030" y="2663935"/>
            <a:ext cx="3849194" cy="504987"/>
          </a:xfrm>
          <a:prstGeom prst="rect">
            <a:avLst/>
          </a:prstGeom>
          <a:noFill/>
        </p:spPr>
        <p:txBody>
          <a:bodyPr wrap="square" lIns="179234" tIns="143387" rIns="179234" bIns="143387"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Light"/>
                <a:ea typeface="+mn-ea"/>
                <a:cs typeface="+mn-cs"/>
              </a:rPr>
              <a:t>AZURE </a:t>
            </a:r>
            <a:r>
              <a:rPr kumimoji="0" lang="en-US" sz="1400" b="0" i="0" u="none" strike="noStrike" kern="1200" cap="none" spc="0" normalizeH="0" baseline="0" noProof="0">
                <a:ln>
                  <a:noFill/>
                </a:ln>
                <a:solidFill>
                  <a:srgbClr val="0078D7"/>
                </a:solidFill>
                <a:effectLst/>
                <a:uLnTx/>
                <a:uFillTx/>
                <a:latin typeface="Segoe UI Light"/>
                <a:ea typeface="+mn-ea"/>
                <a:cs typeface="+mn-cs"/>
              </a:rPr>
              <a:t>API MANAGEMENT</a:t>
            </a:r>
            <a:endParaRPr kumimoji="0" lang="en-US" sz="1400" b="0" i="0" u="none" strike="noStrike" kern="1200" cap="none" spc="0" normalizeH="0" baseline="0" noProof="0" dirty="0">
              <a:ln>
                <a:noFill/>
              </a:ln>
              <a:solidFill>
                <a:srgbClr val="0078D7"/>
              </a:solidFill>
              <a:effectLst/>
              <a:uLnTx/>
              <a:uFillTx/>
              <a:latin typeface="Segoe UI Light"/>
              <a:ea typeface="+mn-ea"/>
              <a:cs typeface="+mn-cs"/>
            </a:endParaRP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9720" y="2701093"/>
            <a:ext cx="520056" cy="433849"/>
          </a:xfrm>
          <a:prstGeom prst="rect">
            <a:avLst/>
          </a:prstGeom>
        </p:spPr>
      </p:pic>
      <p:sp>
        <p:nvSpPr>
          <p:cNvPr id="24" name="Rectangle 23"/>
          <p:cNvSpPr/>
          <p:nvPr/>
        </p:nvSpPr>
        <p:spPr>
          <a:xfrm>
            <a:off x="459721" y="5507079"/>
            <a:ext cx="2311687" cy="1070506"/>
          </a:xfrm>
          <a:prstGeom prst="rect">
            <a:avLst/>
          </a:prstGeom>
          <a:solidFill>
            <a:schemeClr val="accent4">
              <a:lumMod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APIs on Azure</a:t>
            </a:r>
          </a:p>
        </p:txBody>
      </p:sp>
      <p:sp>
        <p:nvSpPr>
          <p:cNvPr id="25" name="Rectangle 24"/>
          <p:cNvSpPr/>
          <p:nvPr/>
        </p:nvSpPr>
        <p:spPr>
          <a:xfrm>
            <a:off x="3112663" y="5507079"/>
            <a:ext cx="2311687" cy="1070506"/>
          </a:xfrm>
          <a:prstGeom prst="rect">
            <a:avLst/>
          </a:prstGeom>
          <a:solidFill>
            <a:schemeClr val="accent4">
              <a:lumMod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Azure APIs</a:t>
            </a:r>
          </a:p>
        </p:txBody>
      </p:sp>
      <p:sp>
        <p:nvSpPr>
          <p:cNvPr id="14" name="Rectangle 13"/>
          <p:cNvSpPr/>
          <p:nvPr/>
        </p:nvSpPr>
        <p:spPr>
          <a:xfrm>
            <a:off x="419451" y="1189494"/>
            <a:ext cx="10456805" cy="1070506"/>
          </a:xfrm>
          <a:prstGeom prst="rect">
            <a:avLst/>
          </a:prstGeom>
          <a:solidFill>
            <a:schemeClr val="tx1">
              <a:lumMod val="60000"/>
              <a:lumOff val="4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API consumers</a:t>
            </a:r>
          </a:p>
        </p:txBody>
      </p:sp>
    </p:spTree>
    <p:extLst>
      <p:ext uri="{BB962C8B-B14F-4D97-AF65-F5344CB8AC3E}">
        <p14:creationId xmlns:p14="http://schemas.microsoft.com/office/powerpoint/2010/main" val="1068217000"/>
      </p:ext>
    </p:extLst>
  </p:cSld>
  <p:clrMapOvr>
    <a:masterClrMapping/>
  </p:clrMapOvr>
  <p:transition spd="slow">
    <p:cover/>
  </p:transition>
</p:sld>
</file>

<file path=ppt/slides/slide8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24" name="Straight Connector 23"/>
          <p:cNvCxnSpPr/>
          <p:nvPr/>
        </p:nvCxnSpPr>
        <p:spPr>
          <a:xfrm>
            <a:off x="262625" y="2233471"/>
            <a:ext cx="6778301" cy="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3713748" y="1374995"/>
            <a:ext cx="911031" cy="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a:off x="3634712" y="3203685"/>
            <a:ext cx="925315" cy="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3713748" y="5345772"/>
            <a:ext cx="911031" cy="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a:off x="1117212" y="2233472"/>
            <a:ext cx="8724" cy="313631"/>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p:nvPicPr>
        <p:blipFill>
          <a:blip r:embed="rId3">
            <a:duotone>
              <a:prstClr val="black"/>
              <a:schemeClr val="tx2">
                <a:tint val="45000"/>
                <a:satMod val="400000"/>
              </a:schemeClr>
            </a:duotone>
          </a:blip>
          <a:stretch>
            <a:fillRect/>
          </a:stretch>
        </p:blipFill>
        <p:spPr>
          <a:xfrm>
            <a:off x="297147" y="828658"/>
            <a:ext cx="2941500" cy="1010649"/>
          </a:xfrm>
          <a:prstGeom prst="rect">
            <a:avLst/>
          </a:prstGeom>
        </p:spPr>
      </p:pic>
      <p:pic>
        <p:nvPicPr>
          <p:cNvPr id="6" name="Picture 5"/>
          <p:cNvPicPr>
            <a:picLocks noChangeAspect="1"/>
          </p:cNvPicPr>
          <p:nvPr/>
        </p:nvPicPr>
        <p:blipFill>
          <a:blip r:embed="rId4">
            <a:duotone>
              <a:prstClr val="black"/>
              <a:schemeClr val="accent1">
                <a:tint val="45000"/>
                <a:satMod val="400000"/>
              </a:schemeClr>
            </a:duotone>
          </a:blip>
          <a:stretch>
            <a:fillRect/>
          </a:stretch>
        </p:blipFill>
        <p:spPr>
          <a:xfrm>
            <a:off x="262625" y="4395900"/>
            <a:ext cx="2952555" cy="1578254"/>
          </a:xfrm>
          <a:prstGeom prst="rect">
            <a:avLst/>
          </a:prstGeom>
        </p:spPr>
      </p:pic>
      <p:sp>
        <p:nvSpPr>
          <p:cNvPr id="71" name="TextBox 70"/>
          <p:cNvSpPr txBox="1"/>
          <p:nvPr/>
        </p:nvSpPr>
        <p:spPr>
          <a:xfrm>
            <a:off x="339638" y="1854282"/>
            <a:ext cx="1627687" cy="584775"/>
          </a:xfrm>
          <a:prstGeom prst="rect">
            <a:avLst/>
          </a:prstGeom>
          <a:noFill/>
        </p:spPr>
        <p:txBody>
          <a:bodyPr wrap="square"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Light"/>
                <a:ea typeface="+mn-ea"/>
                <a:cs typeface="+mn-cs"/>
              </a:rPr>
              <a:t>APP </a:t>
            </a:r>
            <a:r>
              <a:rPr kumimoji="0" lang="en-US" sz="1600" b="0" i="0" u="none" strike="noStrike" kern="1200" cap="none" spc="0" normalizeH="0" baseline="0" noProof="0" dirty="0">
                <a:ln>
                  <a:noFill/>
                </a:ln>
                <a:solidFill>
                  <a:srgbClr val="505050"/>
                </a:solidFill>
                <a:effectLst/>
                <a:uLnTx/>
                <a:uFillTx/>
                <a:latin typeface="Segoe UI Light"/>
                <a:ea typeface="+mn-ea"/>
                <a:cs typeface="+mn-cs"/>
              </a:rPr>
              <a:t>DEVELOPERS</a:t>
            </a:r>
          </a:p>
        </p:txBody>
      </p:sp>
      <p:sp>
        <p:nvSpPr>
          <p:cNvPr id="73" name="TextBox 72"/>
          <p:cNvSpPr txBox="1"/>
          <p:nvPr/>
        </p:nvSpPr>
        <p:spPr>
          <a:xfrm>
            <a:off x="339635" y="3896814"/>
            <a:ext cx="605339" cy="584775"/>
          </a:xfrm>
          <a:prstGeom prst="rect">
            <a:avLst/>
          </a:prstGeom>
          <a:noFill/>
        </p:spPr>
        <p:txBody>
          <a:bodyPr wrap="square"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Light"/>
                <a:ea typeface="+mn-ea"/>
                <a:cs typeface="+mn-cs"/>
              </a:rPr>
              <a:t>APPS</a:t>
            </a:r>
          </a:p>
        </p:txBody>
      </p:sp>
      <p:sp>
        <p:nvSpPr>
          <p:cNvPr id="81" name="TextBox 80"/>
          <p:cNvSpPr txBox="1"/>
          <p:nvPr/>
        </p:nvSpPr>
        <p:spPr>
          <a:xfrm>
            <a:off x="339637" y="5951951"/>
            <a:ext cx="1517306" cy="584775"/>
          </a:xfrm>
          <a:prstGeom prst="rect">
            <a:avLst/>
          </a:prstGeom>
          <a:noFill/>
        </p:spPr>
        <p:txBody>
          <a:bodyPr wrap="square"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Light"/>
                <a:ea typeface="+mn-ea"/>
                <a:cs typeface="+mn-cs"/>
              </a:rPr>
              <a:t>API PUBLISHERS</a:t>
            </a:r>
          </a:p>
        </p:txBody>
      </p:sp>
      <p:pic>
        <p:nvPicPr>
          <p:cNvPr id="82" name="Picture 81"/>
          <p:cNvPicPr>
            <a:picLocks noChangeAspect="1"/>
          </p:cNvPicPr>
          <p:nvPr/>
        </p:nvPicPr>
        <p:blipFill>
          <a:blip r:embed="rId5">
            <a:duotone>
              <a:prstClr val="black"/>
              <a:schemeClr val="accent1">
                <a:tint val="45000"/>
                <a:satMod val="400000"/>
              </a:schemeClr>
            </a:duotone>
          </a:blip>
          <a:stretch>
            <a:fillRect/>
          </a:stretch>
        </p:blipFill>
        <p:spPr>
          <a:xfrm>
            <a:off x="450990" y="2570290"/>
            <a:ext cx="2461283" cy="1428013"/>
          </a:xfrm>
          <a:prstGeom prst="rect">
            <a:avLst/>
          </a:prstGeom>
        </p:spPr>
      </p:pic>
      <p:cxnSp>
        <p:nvCxnSpPr>
          <p:cNvPr id="83" name="Straight Connector 82"/>
          <p:cNvCxnSpPr/>
          <p:nvPr/>
        </p:nvCxnSpPr>
        <p:spPr>
          <a:xfrm>
            <a:off x="262625" y="4318855"/>
            <a:ext cx="6778301" cy="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7443855" y="3203685"/>
            <a:ext cx="925315" cy="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4" name="Picture 33"/>
          <p:cNvPicPr>
            <a:picLocks noChangeAspect="1"/>
          </p:cNvPicPr>
          <p:nvPr/>
        </p:nvPicPr>
        <p:blipFill>
          <a:blip r:embed="rId6">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9633993" y="2056976"/>
            <a:ext cx="1006732" cy="2091767"/>
          </a:xfrm>
          <a:prstGeom prst="rect">
            <a:avLst/>
          </a:prstGeom>
        </p:spPr>
      </p:pic>
      <p:pic>
        <p:nvPicPr>
          <p:cNvPr id="35" name="Picture 34"/>
          <p:cNvPicPr>
            <a:picLocks noChangeAspect="1"/>
          </p:cNvPicPr>
          <p:nvPr/>
        </p:nvPicPr>
        <p:blipFill>
          <a:blip r:embed="rId7">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rot="10800000">
            <a:off x="8901002" y="3078920"/>
            <a:ext cx="748994" cy="304676"/>
          </a:xfrm>
          <a:prstGeom prst="rect">
            <a:avLst/>
          </a:prstGeom>
        </p:spPr>
      </p:pic>
      <p:sp>
        <p:nvSpPr>
          <p:cNvPr id="42" name="TextBox 41"/>
          <p:cNvSpPr txBox="1"/>
          <p:nvPr/>
        </p:nvSpPr>
        <p:spPr>
          <a:xfrm>
            <a:off x="8876218" y="4549373"/>
            <a:ext cx="2593671" cy="1096657"/>
          </a:xfrm>
          <a:prstGeom prst="rect">
            <a:avLst/>
          </a:prstGeom>
          <a:noFill/>
        </p:spPr>
        <p:txBody>
          <a:bodyPr wrap="square"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Light"/>
                <a:ea typeface="+mn-ea"/>
                <a:cs typeface="+mn-cs"/>
              </a:rPr>
              <a:t>Hosted </a:t>
            </a:r>
            <a:r>
              <a:rPr kumimoji="0" lang="en-US" sz="1600" b="1" i="0" u="none" strike="noStrike" kern="1200" cap="none" spc="0" normalizeH="0" baseline="0" noProof="0" dirty="0">
                <a:ln>
                  <a:noFill/>
                </a:ln>
                <a:solidFill>
                  <a:srgbClr val="505050"/>
                </a:solidFill>
                <a:effectLst/>
                <a:uLnTx/>
                <a:uFillTx/>
                <a:latin typeface="Segoe UI Light"/>
                <a:ea typeface="+mn-ea"/>
                <a:cs typeface="+mn-cs"/>
              </a:rPr>
              <a:t>anywhere</a:t>
            </a:r>
            <a:r>
              <a:rPr kumimoji="0" lang="en-US" sz="1600" b="0" i="0" u="none" strike="noStrike" kern="1200" cap="none" spc="0" normalizeH="0" baseline="0" noProof="0" dirty="0">
                <a:ln>
                  <a:noFill/>
                </a:ln>
                <a:solidFill>
                  <a:srgbClr val="505050"/>
                </a:solidFill>
                <a:effectLst/>
                <a:uLnTx/>
                <a:uFillTx/>
                <a:latin typeface="Segoe UI Light"/>
                <a:ea typeface="+mn-ea"/>
                <a:cs typeface="+mn-cs"/>
              </a:rPr>
              <a:t>.</a:t>
            </a:r>
          </a:p>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Light"/>
                <a:ea typeface="+mn-ea"/>
                <a:cs typeface="+mn-cs"/>
              </a:rPr>
              <a:t>Developed using </a:t>
            </a:r>
            <a:r>
              <a:rPr kumimoji="0" lang="en-US" sz="1600" b="1" i="0" u="none" strike="noStrike" kern="1200" cap="none" spc="0" normalizeH="0" baseline="0" noProof="0" dirty="0">
                <a:ln>
                  <a:noFill/>
                </a:ln>
                <a:solidFill>
                  <a:srgbClr val="505050"/>
                </a:solidFill>
                <a:effectLst/>
                <a:uLnTx/>
                <a:uFillTx/>
                <a:latin typeface="Segoe UI Light"/>
                <a:ea typeface="+mn-ea"/>
                <a:cs typeface="+mn-cs"/>
              </a:rPr>
              <a:t>any</a:t>
            </a:r>
            <a:r>
              <a:rPr kumimoji="0" lang="en-US" sz="1600" b="0" i="0" u="none" strike="noStrike" kern="1200" cap="none" spc="0" normalizeH="0" baseline="0" noProof="0" dirty="0">
                <a:ln>
                  <a:noFill/>
                </a:ln>
                <a:solidFill>
                  <a:srgbClr val="505050"/>
                </a:solidFill>
                <a:effectLst/>
                <a:uLnTx/>
                <a:uFillTx/>
                <a:latin typeface="Segoe UI Light"/>
                <a:ea typeface="+mn-ea"/>
                <a:cs typeface="+mn-cs"/>
              </a:rPr>
              <a:t> technology.</a:t>
            </a:r>
          </a:p>
        </p:txBody>
      </p:sp>
      <p:sp>
        <p:nvSpPr>
          <p:cNvPr id="43" name="TextBox 42"/>
          <p:cNvSpPr txBox="1"/>
          <p:nvPr/>
        </p:nvSpPr>
        <p:spPr>
          <a:xfrm>
            <a:off x="8712107" y="3460574"/>
            <a:ext cx="882173" cy="738664"/>
          </a:xfrm>
          <a:prstGeom prst="rect">
            <a:avLst/>
          </a:prstGeom>
          <a:noFill/>
        </p:spPr>
        <p:txBody>
          <a:bodyPr wrap="square"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Light"/>
                <a:ea typeface="+mn-ea"/>
                <a:cs typeface="+mn-cs"/>
              </a:rPr>
              <a:t>BACKEND</a:t>
            </a:r>
          </a:p>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Light"/>
                <a:ea typeface="+mn-ea"/>
                <a:cs typeface="+mn-cs"/>
              </a:rPr>
              <a:t>APIs</a:t>
            </a:r>
          </a:p>
        </p:txBody>
      </p:sp>
      <p:sp>
        <p:nvSpPr>
          <p:cNvPr id="28" name="TextBox 27"/>
          <p:cNvSpPr txBox="1"/>
          <p:nvPr/>
        </p:nvSpPr>
        <p:spPr>
          <a:xfrm>
            <a:off x="7455180" y="3469262"/>
            <a:ext cx="902665" cy="738664"/>
          </a:xfrm>
          <a:prstGeom prst="rect">
            <a:avLst/>
          </a:prstGeom>
          <a:noFill/>
        </p:spPr>
        <p:txBody>
          <a:bodyPr wrap="square"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Light"/>
                <a:ea typeface="+mn-ea"/>
                <a:cs typeface="+mn-cs"/>
              </a:rPr>
              <a:t>DIRECT or</a:t>
            </a:r>
          </a:p>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Light"/>
                <a:ea typeface="+mn-ea"/>
                <a:cs typeface="+mn-cs"/>
              </a:rPr>
              <a:t>VPN</a:t>
            </a:r>
          </a:p>
        </p:txBody>
      </p:sp>
      <p:pic>
        <p:nvPicPr>
          <p:cNvPr id="3" name="Picture 2"/>
          <p:cNvPicPr>
            <a:picLocks noChangeAspect="1"/>
          </p:cNvPicPr>
          <p:nvPr/>
        </p:nvPicPr>
        <p:blipFill>
          <a:blip r:embed="rId8">
            <a:biLevel thresh="75000"/>
          </a:blip>
          <a:stretch>
            <a:fillRect/>
          </a:stretch>
        </p:blipFill>
        <p:spPr>
          <a:xfrm>
            <a:off x="3713750" y="5969119"/>
            <a:ext cx="338378" cy="338378"/>
          </a:xfrm>
          <a:prstGeom prst="rect">
            <a:avLst/>
          </a:prstGeom>
        </p:spPr>
      </p:pic>
      <p:pic>
        <p:nvPicPr>
          <p:cNvPr id="5" name="Picture 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666063" y="5483020"/>
            <a:ext cx="445594" cy="445594"/>
          </a:xfrm>
          <a:prstGeom prst="rect">
            <a:avLst/>
          </a:prstGeom>
        </p:spPr>
      </p:pic>
      <p:pic>
        <p:nvPicPr>
          <p:cNvPr id="9" name="Picture 8"/>
          <p:cNvPicPr>
            <a:picLocks noChangeAspect="1"/>
          </p:cNvPicPr>
          <p:nvPr/>
        </p:nvPicPr>
        <p:blipFill>
          <a:blip r:embed="rId10">
            <a:biLevel thresh="75000"/>
          </a:blip>
          <a:stretch>
            <a:fillRect/>
          </a:stretch>
        </p:blipFill>
        <p:spPr>
          <a:xfrm>
            <a:off x="3728033" y="6372689"/>
            <a:ext cx="754914" cy="314548"/>
          </a:xfrm>
          <a:prstGeom prst="rect">
            <a:avLst/>
          </a:prstGeom>
        </p:spPr>
      </p:pic>
      <p:grpSp>
        <p:nvGrpSpPr>
          <p:cNvPr id="36" name="Group 35"/>
          <p:cNvGrpSpPr/>
          <p:nvPr/>
        </p:nvGrpSpPr>
        <p:grpSpPr>
          <a:xfrm>
            <a:off x="5024541" y="-22415"/>
            <a:ext cx="2192298" cy="6879443"/>
            <a:chOff x="5024388" y="-22905"/>
            <a:chExt cx="2192609" cy="6880419"/>
          </a:xfrm>
        </p:grpSpPr>
        <p:sp>
          <p:nvSpPr>
            <p:cNvPr id="7" name="Rectangle 6"/>
            <p:cNvSpPr/>
            <p:nvPr/>
          </p:nvSpPr>
          <p:spPr bwMode="auto">
            <a:xfrm>
              <a:off x="5024388" y="487"/>
              <a:ext cx="2192609" cy="6857027"/>
            </a:xfrm>
            <a:prstGeom prst="rect">
              <a:avLst/>
            </a:prstGeom>
            <a:ln>
              <a:solidFill>
                <a:schemeClr val="accent1"/>
              </a:solid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vert="horz" wrap="square" lIns="0" tIns="45706" rIns="0" bIns="45706" numCol="1" rtlCol="0" anchor="ctr"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solidFill>
                  <a:srgbClr val="2F3781"/>
                </a:solidFill>
                <a:effectLst/>
                <a:uLnTx/>
                <a:uFillTx/>
                <a:latin typeface="Segoe UI Light"/>
                <a:ea typeface="+mn-ea"/>
                <a:cs typeface="+mn-cs"/>
              </a:endParaRPr>
            </a:p>
          </p:txBody>
        </p:sp>
        <p:sp>
          <p:nvSpPr>
            <p:cNvPr id="8" name="TextBox 7"/>
            <p:cNvSpPr txBox="1"/>
            <p:nvPr/>
          </p:nvSpPr>
          <p:spPr>
            <a:xfrm>
              <a:off x="5606513" y="-22905"/>
              <a:ext cx="1610484" cy="729094"/>
            </a:xfrm>
            <a:prstGeom prst="rect">
              <a:avLst/>
            </a:prstGeom>
            <a:noFill/>
          </p:spPr>
          <p:txBody>
            <a:bodyPr wrap="square" lIns="179234" tIns="143387" rIns="179234" bIns="143387"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AZURE API </a:t>
              </a:r>
            </a:p>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MANAGEMENT</a:t>
              </a:r>
            </a:p>
          </p:txBody>
        </p:sp>
        <p:pic>
          <p:nvPicPr>
            <p:cNvPr id="13" name="Picture 12"/>
            <p:cNvPicPr>
              <a:picLocks noChangeAspect="1"/>
            </p:cNvPicPr>
            <p:nvPr/>
          </p:nvPicPr>
          <p:blipFill>
            <a:blip r:embed="rId11"/>
            <a:stretch>
              <a:fillRect/>
            </a:stretch>
          </p:blipFill>
          <p:spPr>
            <a:xfrm>
              <a:off x="5329376" y="2631624"/>
              <a:ext cx="1304621" cy="1144057"/>
            </a:xfrm>
            <a:prstGeom prst="rect">
              <a:avLst/>
            </a:prstGeom>
          </p:spPr>
        </p:pic>
        <p:pic>
          <p:nvPicPr>
            <p:cNvPr id="14" name="Picture 13"/>
            <p:cNvPicPr>
              <a:picLocks noChangeAspect="1"/>
            </p:cNvPicPr>
            <p:nvPr/>
          </p:nvPicPr>
          <p:blipFill>
            <a:blip r:embed="rId12"/>
            <a:stretch>
              <a:fillRect/>
            </a:stretch>
          </p:blipFill>
          <p:spPr>
            <a:xfrm>
              <a:off x="5311780" y="4833590"/>
              <a:ext cx="1329931" cy="1024909"/>
            </a:xfrm>
            <a:prstGeom prst="rect">
              <a:avLst/>
            </a:prstGeom>
          </p:spPr>
        </p:pic>
        <p:sp>
          <p:nvSpPr>
            <p:cNvPr id="15" name="TextBox 14"/>
            <p:cNvSpPr txBox="1"/>
            <p:nvPr/>
          </p:nvSpPr>
          <p:spPr>
            <a:xfrm>
              <a:off x="5238789" y="5898890"/>
              <a:ext cx="1511952" cy="343492"/>
            </a:xfrm>
            <a:prstGeom prst="rect">
              <a:avLst/>
            </a:prstGeom>
            <a:noFill/>
          </p:spPr>
          <p:txBody>
            <a:bodyPr wrap="none"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Light"/>
                  <a:ea typeface="+mn-ea"/>
                  <a:cs typeface="+mn-cs"/>
                </a:rPr>
                <a:t>Publisher portal</a:t>
              </a:r>
            </a:p>
          </p:txBody>
        </p:sp>
        <p:sp>
          <p:nvSpPr>
            <p:cNvPr id="65" name="TextBox 64"/>
            <p:cNvSpPr txBox="1"/>
            <p:nvPr/>
          </p:nvSpPr>
          <p:spPr>
            <a:xfrm>
              <a:off x="5502760" y="3896881"/>
              <a:ext cx="926857" cy="343492"/>
            </a:xfrm>
            <a:prstGeom prst="rect">
              <a:avLst/>
            </a:prstGeom>
            <a:noFill/>
          </p:spPr>
          <p:txBody>
            <a:bodyPr wrap="none"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Light"/>
                  <a:ea typeface="+mn-ea"/>
                  <a:cs typeface="+mn-cs"/>
                </a:rPr>
                <a:t>Gateway</a:t>
              </a:r>
            </a:p>
          </p:txBody>
        </p:sp>
        <p:sp>
          <p:nvSpPr>
            <p:cNvPr id="70" name="TextBox 69"/>
            <p:cNvSpPr txBox="1"/>
            <p:nvPr/>
          </p:nvSpPr>
          <p:spPr>
            <a:xfrm>
              <a:off x="5220880" y="1854059"/>
              <a:ext cx="1604927" cy="343492"/>
            </a:xfrm>
            <a:prstGeom prst="rect">
              <a:avLst/>
            </a:prstGeom>
            <a:noFill/>
          </p:spPr>
          <p:txBody>
            <a:bodyPr wrap="none"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Light"/>
                  <a:ea typeface="+mn-ea"/>
                  <a:cs typeface="+mn-cs"/>
                </a:rPr>
                <a:t>Developer Portal</a:t>
              </a:r>
            </a:p>
          </p:txBody>
        </p:sp>
        <p:pic>
          <p:nvPicPr>
            <p:cNvPr id="32" name="Picture 31"/>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350810" y="769171"/>
              <a:ext cx="1305189" cy="1044150"/>
            </a:xfrm>
            <a:prstGeom prst="rect">
              <a:avLst/>
            </a:prstGeom>
          </p:spPr>
        </p:pic>
        <p:pic>
          <p:nvPicPr>
            <p:cNvPr id="33" name="Picture 32"/>
            <p:cNvPicPr>
              <a:picLocks noChangeAspect="1"/>
            </p:cNvPicPr>
            <p:nvPr/>
          </p:nvPicPr>
          <p:blipFill>
            <a:blip r:embed="rId14">
              <a:biLevel thresh="25000"/>
              <a:extLst>
                <a:ext uri="{28A0092B-C50C-407E-A947-70E740481C1C}">
                  <a14:useLocalDpi xmlns:a14="http://schemas.microsoft.com/office/drawing/2010/main" val="0"/>
                </a:ext>
              </a:extLst>
            </a:blip>
            <a:stretch>
              <a:fillRect/>
            </a:stretch>
          </p:blipFill>
          <p:spPr>
            <a:xfrm>
              <a:off x="5180243" y="118279"/>
              <a:ext cx="520130" cy="433911"/>
            </a:xfrm>
            <a:prstGeom prst="rect">
              <a:avLst/>
            </a:prstGeom>
          </p:spPr>
        </p:pic>
      </p:grpSp>
      <p:grpSp>
        <p:nvGrpSpPr>
          <p:cNvPr id="30" name="Group 29"/>
          <p:cNvGrpSpPr/>
          <p:nvPr/>
        </p:nvGrpSpPr>
        <p:grpSpPr>
          <a:xfrm>
            <a:off x="6644394" y="1304749"/>
            <a:ext cx="150575" cy="4054224"/>
            <a:chOff x="6633997" y="1291246"/>
            <a:chExt cx="150596" cy="4054799"/>
          </a:xfrm>
        </p:grpSpPr>
        <p:cxnSp>
          <p:nvCxnSpPr>
            <p:cNvPr id="17" name="Elbow Connector 16"/>
            <p:cNvCxnSpPr/>
            <p:nvPr/>
          </p:nvCxnSpPr>
          <p:spPr>
            <a:xfrm flipH="1" flipV="1">
              <a:off x="6641711" y="1291246"/>
              <a:ext cx="142882" cy="4054799"/>
            </a:xfrm>
            <a:prstGeom prst="bentConnector3">
              <a:avLst>
                <a:gd name="adj1" fmla="val -19999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21"/>
            <p:cNvCxnSpPr>
              <a:stCxn id="14" idx="3"/>
              <a:endCxn id="13" idx="3"/>
            </p:cNvCxnSpPr>
            <p:nvPr/>
          </p:nvCxnSpPr>
          <p:spPr>
            <a:xfrm flipH="1" flipV="1">
              <a:off x="6633997" y="3203653"/>
              <a:ext cx="7714" cy="2142392"/>
            </a:xfrm>
            <a:prstGeom prst="bentConnector3">
              <a:avLst>
                <a:gd name="adj1" fmla="val -2963443"/>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38297053"/>
      </p:ext>
    </p:extLst>
  </p:cSld>
  <p:clrMapOvr>
    <a:masterClrMapping/>
  </p:clrMapOvr>
  <p:transition spd="slow">
    <p:cover/>
  </p:transition>
</p:sld>
</file>

<file path=ppt/slides/slide8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304800" y="139347"/>
            <a:ext cx="10515600" cy="1325563"/>
          </a:xfrm>
        </p:spPr>
        <p:txBody>
          <a:bodyPr>
            <a:norm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sz="3600" dirty="0"/>
              <a:t>Policies and expressions</a:t>
            </a:r>
          </a:p>
        </p:txBody>
      </p:sp>
      <p:sp>
        <p:nvSpPr>
          <p:cNvPr id="5" name="Text Placeholder 4"/>
          <p:cNvSpPr>
            <a:spLocks noGrp="1"/>
          </p:cNvSpPr>
          <p:nvPr>
            <p:ph type="body" sz="quarter" idx="10"/>
          </p:nvPr>
        </p:nvSpPr>
        <p:spPr>
          <a:xfrm>
            <a:off x="3078181" y="1189495"/>
            <a:ext cx="11651870" cy="4421865"/>
          </a:xfrm>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sz="3600" dirty="0"/>
              <a:t>Policies</a:t>
            </a:r>
          </a:p>
          <a:p>
            <a:pPr marL="336080" lvl="1"/>
            <a:r>
              <a:rPr lang="en-US" sz="2000" dirty="0">
                <a:latin typeface="+mj-lt"/>
              </a:rPr>
              <a:t>Encapsulate common API management capabilities</a:t>
            </a:r>
          </a:p>
          <a:p>
            <a:pPr marL="336080" lvl="1"/>
            <a:r>
              <a:rPr lang="en-US" sz="2000" dirty="0">
                <a:latin typeface="+mj-lt"/>
              </a:rPr>
              <a:t>Mutate request context or change API behavior </a:t>
            </a:r>
          </a:p>
          <a:p>
            <a:pPr marL="336080" lvl="1"/>
            <a:r>
              <a:rPr lang="en-US" sz="2000" dirty="0">
                <a:latin typeface="+mj-lt"/>
              </a:rPr>
              <a:t>Can be set in the inbound and outbound directions</a:t>
            </a:r>
          </a:p>
          <a:p>
            <a:pPr marL="336080" lvl="1"/>
            <a:r>
              <a:rPr lang="en-US" sz="2000" dirty="0">
                <a:latin typeface="+mj-lt"/>
              </a:rPr>
              <a:t>Have global, product, API or operation scope</a:t>
            </a:r>
          </a:p>
          <a:p>
            <a:pPr marL="336080" lvl="1"/>
            <a:endParaRPr lang="en-US" sz="2000" dirty="0">
              <a:latin typeface="+mj-lt"/>
            </a:endParaRPr>
          </a:p>
          <a:p>
            <a:r>
              <a:rPr lang="en-US" sz="3600" dirty="0"/>
              <a:t>Expressions</a:t>
            </a:r>
          </a:p>
          <a:p>
            <a:pPr marL="336080" lvl="1"/>
            <a:r>
              <a:rPr lang="en-US" sz="2000" dirty="0">
                <a:latin typeface="+mj-lt"/>
              </a:rPr>
              <a:t>C# “snippets” embedded in policies</a:t>
            </a:r>
          </a:p>
          <a:p>
            <a:pPr marL="336080" lvl="1"/>
            <a:r>
              <a:rPr lang="en-US" sz="2000" dirty="0">
                <a:latin typeface="+mj-lt"/>
              </a:rPr>
              <a:t>Have read-only access to the request context</a:t>
            </a:r>
          </a:p>
          <a:p>
            <a:pPr marL="336080" lvl="1"/>
            <a:r>
              <a:rPr lang="en-US" sz="2000" dirty="0">
                <a:latin typeface="+mj-lt"/>
              </a:rPr>
              <a:t>Can use whitelisted .NET types only</a:t>
            </a:r>
          </a:p>
          <a:p>
            <a:pPr marL="336080" lvl="1"/>
            <a:r>
              <a:rPr lang="en-US" sz="2000" dirty="0">
                <a:latin typeface="+mj-lt"/>
              </a:rPr>
              <a:t>Are used to dynamically configure policies</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3664" y="1189494"/>
            <a:ext cx="2431074" cy="5529159"/>
          </a:xfrm>
          <a:prstGeom prst="rect">
            <a:avLst/>
          </a:prstGeom>
        </p:spPr>
      </p:pic>
    </p:spTree>
    <p:extLst>
      <p:ext uri="{BB962C8B-B14F-4D97-AF65-F5344CB8AC3E}">
        <p14:creationId xmlns:p14="http://schemas.microsoft.com/office/powerpoint/2010/main" val="100320060"/>
      </p:ext>
    </p:extLst>
  </p:cSld>
  <p:clrMapOvr>
    <a:masterClrMapping/>
  </p:clrMapOvr>
  <p:transition spd="med">
    <p:pull/>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3376" y="142110"/>
            <a:ext cx="11655840" cy="899537"/>
          </a:xfrm>
        </p:spPr>
        <p:txBody>
          <a:bodyPr>
            <a:norm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sz="3200" dirty="0"/>
              <a:t>Microsoft Enterprise Integration</a:t>
            </a:r>
          </a:p>
        </p:txBody>
      </p:sp>
      <p:pic>
        <p:nvPicPr>
          <p:cNvPr id="9" name="Picture 8"/>
          <p:cNvPicPr>
            <a:picLocks noChangeAspect="1"/>
          </p:cNvPicPr>
          <p:nvPr/>
        </p:nvPicPr>
        <p:blipFill>
          <a:blip r:embed="rId3">
            <a:biLevel thresh="25000"/>
          </a:blip>
          <a:stretch>
            <a:fillRect/>
          </a:stretch>
        </p:blipFill>
        <p:spPr>
          <a:xfrm>
            <a:off x="2511038" y="1875345"/>
            <a:ext cx="481011" cy="481009"/>
          </a:xfrm>
          <a:prstGeom prst="rect">
            <a:avLst/>
          </a:prstGeom>
        </p:spPr>
      </p:pic>
      <p:pic>
        <p:nvPicPr>
          <p:cNvPr id="10" name="Picture 9"/>
          <p:cNvPicPr>
            <a:picLocks noChangeAspect="1"/>
          </p:cNvPicPr>
          <p:nvPr/>
        </p:nvPicPr>
        <p:blipFill>
          <a:blip r:embed="rId4">
            <a:biLevel thresh="25000"/>
          </a:blip>
          <a:stretch>
            <a:fillRect/>
          </a:stretch>
        </p:blipFill>
        <p:spPr>
          <a:xfrm>
            <a:off x="8197108" y="1839809"/>
            <a:ext cx="580415" cy="580415"/>
          </a:xfrm>
          <a:prstGeom prst="rect">
            <a:avLst/>
          </a:prstGeom>
        </p:spPr>
      </p:pic>
      <p:pic>
        <p:nvPicPr>
          <p:cNvPr id="11" name="Picture 10"/>
          <p:cNvPicPr>
            <a:picLocks noChangeAspect="1"/>
          </p:cNvPicPr>
          <p:nvPr/>
        </p:nvPicPr>
        <p:blipFill>
          <a:blip r:embed="rId5">
            <a:biLevel thresh="25000"/>
          </a:blip>
          <a:stretch>
            <a:fillRect/>
          </a:stretch>
        </p:blipFill>
        <p:spPr>
          <a:xfrm>
            <a:off x="11168018" y="1898301"/>
            <a:ext cx="495399" cy="495399"/>
          </a:xfrm>
          <a:prstGeom prst="rect">
            <a:avLst/>
          </a:prstGeom>
        </p:spPr>
      </p:pic>
      <p:sp>
        <p:nvSpPr>
          <p:cNvPr id="12" name="Freeform 5"/>
          <p:cNvSpPr>
            <a:spLocks noChangeAspect="1" noEditPoints="1"/>
          </p:cNvSpPr>
          <p:nvPr/>
        </p:nvSpPr>
        <p:spPr bwMode="auto">
          <a:xfrm>
            <a:off x="5600904" y="1857899"/>
            <a:ext cx="308107" cy="576558"/>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chemeClr val="bg1"/>
          </a:solidFill>
          <a:ln w="2540">
            <a:solidFill>
              <a:schemeClr val="bg1"/>
            </a:solidFill>
          </a:ln>
        </p:spPr>
        <p:txBody>
          <a:bodyPr vert="horz" wrap="square" lIns="89630" tIns="44814" rIns="89630" bIns="44814"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Light"/>
              <a:ea typeface="+mn-ea"/>
              <a:cs typeface="+mn-cs"/>
            </a:endParaRPr>
          </a:p>
        </p:txBody>
      </p:sp>
      <p:graphicFrame>
        <p:nvGraphicFramePr>
          <p:cNvPr id="21" name="Table 20"/>
          <p:cNvGraphicFramePr>
            <a:graphicFrameLocks noGrp="1"/>
          </p:cNvGraphicFramePr>
          <p:nvPr>
            <p:extLst/>
          </p:nvPr>
        </p:nvGraphicFramePr>
        <p:xfrm>
          <a:off x="183376" y="1717956"/>
          <a:ext cx="2886751" cy="3525402"/>
        </p:xfrm>
        <a:graphic>
          <a:graphicData uri="http://schemas.openxmlformats.org/drawingml/2006/table">
            <a:tbl>
              <a:tblPr firstRow="1" bandRow="1">
                <a:tableStyleId>{5C22544A-7EE6-4342-B048-85BDC9FD1C3A}</a:tableStyleId>
              </a:tblPr>
              <a:tblGrid>
                <a:gridCol w="2886751">
                  <a:extLst>
                    <a:ext uri="{9D8B030D-6E8A-4147-A177-3AD203B41FA5}">
                      <a16:colId xmlns:a16="http://schemas.microsoft.com/office/drawing/2014/main" val="245742986"/>
                    </a:ext>
                  </a:extLst>
                </a:gridCol>
              </a:tblGrid>
              <a:tr h="896170">
                <a:tc>
                  <a:txBody>
                    <a:bodyPr/>
                    <a:lstStyle/>
                    <a:p>
                      <a:pPr>
                        <a:lnSpc>
                          <a:spcPct val="90000"/>
                        </a:lnSpc>
                      </a:pPr>
                      <a:r>
                        <a:rPr lang="en-US" sz="2400" b="0" dirty="0">
                          <a:gradFill>
                            <a:gsLst>
                              <a:gs pos="89130">
                                <a:schemeClr val="bg1"/>
                              </a:gs>
                              <a:gs pos="65000">
                                <a:schemeClr val="bg1"/>
                              </a:gs>
                            </a:gsLst>
                            <a:lin ang="5400000" scaled="0"/>
                          </a:gradFill>
                          <a:latin typeface="+mj-lt"/>
                          <a:cs typeface="Segoe UI Semilight" panose="020B0402040204020203" pitchFamily="34" charset="0"/>
                        </a:rPr>
                        <a:t>API </a:t>
                      </a:r>
                      <a:br>
                        <a:rPr lang="en-US" sz="2400" b="0" dirty="0">
                          <a:gradFill>
                            <a:gsLst>
                              <a:gs pos="89130">
                                <a:schemeClr val="bg1"/>
                              </a:gs>
                              <a:gs pos="65000">
                                <a:schemeClr val="bg1"/>
                              </a:gs>
                            </a:gsLst>
                            <a:lin ang="5400000" scaled="0"/>
                          </a:gradFill>
                          <a:latin typeface="+mj-lt"/>
                          <a:cs typeface="Segoe UI Semilight" panose="020B0402040204020203" pitchFamily="34" charset="0"/>
                        </a:rPr>
                      </a:br>
                      <a:r>
                        <a:rPr lang="en-US" sz="2400" b="0" dirty="0">
                          <a:gradFill>
                            <a:gsLst>
                              <a:gs pos="89130">
                                <a:schemeClr val="bg1"/>
                              </a:gs>
                              <a:gs pos="65000">
                                <a:schemeClr val="bg1"/>
                              </a:gs>
                            </a:gsLst>
                            <a:lin ang="5400000" scaled="0"/>
                          </a:gradFill>
                          <a:latin typeface="+mj-lt"/>
                          <a:cs typeface="Segoe UI Semilight" panose="020B0402040204020203" pitchFamily="34" charset="0"/>
                        </a:rPr>
                        <a:t>Management               </a:t>
                      </a:r>
                    </a:p>
                  </a:txBody>
                  <a:tcPr marL="179234" marR="0" marT="89617" marB="896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202762852"/>
                  </a:ext>
                </a:extLst>
              </a:tr>
              <a:tr h="2629232">
                <a:tc>
                  <a:txBody>
                    <a:bodyPr/>
                    <a:lstStyle/>
                    <a:p>
                      <a:pPr marL="0" indent="0" algn="l" defTabSz="932742" rtl="0" eaLnBrk="1" latinLnBrk="0" hangingPunct="1">
                        <a:lnSpc>
                          <a:spcPct val="90000"/>
                        </a:lnSpc>
                        <a:spcBef>
                          <a:spcPts val="2400"/>
                        </a:spcBef>
                        <a:buFont typeface="Arial" panose="020B0604020202020204" pitchFamily="34" charset="0"/>
                        <a:buNone/>
                      </a:pPr>
                      <a:r>
                        <a:rPr lang="en-US" sz="1800" kern="1200" dirty="0">
                          <a:gradFill>
                            <a:gsLst>
                              <a:gs pos="2899">
                                <a:schemeClr val="tx1"/>
                              </a:gs>
                              <a:gs pos="18116">
                                <a:schemeClr val="tx1"/>
                              </a:gs>
                            </a:gsLst>
                            <a:lin ang="5400000" scaled="0"/>
                          </a:gradFill>
                          <a:latin typeface="+mj-lt"/>
                          <a:ea typeface="+mn-ea"/>
                          <a:cs typeface="+mn-cs"/>
                        </a:rPr>
                        <a:t>Create API frontends </a:t>
                      </a:r>
                      <a:r>
                        <a:rPr lang="en-US" sz="1800" kern="1200" baseline="0" dirty="0">
                          <a:gradFill>
                            <a:gsLst>
                              <a:gs pos="2899">
                                <a:schemeClr val="tx1"/>
                              </a:gs>
                              <a:gs pos="18116">
                                <a:schemeClr val="tx1"/>
                              </a:gs>
                            </a:gsLst>
                            <a:lin ang="5400000" scaled="0"/>
                          </a:gradFill>
                          <a:latin typeface="+mj-lt"/>
                          <a:ea typeface="+mn-ea"/>
                          <a:cs typeface="+mn-cs"/>
                        </a:rPr>
                        <a:t>  </a:t>
                      </a:r>
                      <a:r>
                        <a:rPr lang="en-US" sz="1800" kern="1200" dirty="0">
                          <a:gradFill>
                            <a:gsLst>
                              <a:gs pos="2899">
                                <a:schemeClr val="tx1"/>
                              </a:gs>
                              <a:gs pos="18116">
                                <a:schemeClr val="tx1"/>
                              </a:gs>
                            </a:gsLst>
                            <a:lin ang="5400000" scaled="0"/>
                          </a:gradFill>
                          <a:latin typeface="+mj-lt"/>
                          <a:ea typeface="+mn-ea"/>
                          <a:cs typeface="+mn-cs"/>
                        </a:rPr>
                        <a:t>for backends in the cloud and</a:t>
                      </a:r>
                      <a:r>
                        <a:rPr lang="en-US" sz="1800" kern="1200" baseline="0" dirty="0">
                          <a:gradFill>
                            <a:gsLst>
                              <a:gs pos="2899">
                                <a:schemeClr val="tx1"/>
                              </a:gs>
                              <a:gs pos="18116">
                                <a:schemeClr val="tx1"/>
                              </a:gs>
                            </a:gsLst>
                            <a:lin ang="5400000" scaled="0"/>
                          </a:gradFill>
                          <a:latin typeface="+mj-lt"/>
                          <a:ea typeface="+mn-ea"/>
                          <a:cs typeface="+mn-cs"/>
                        </a:rPr>
                        <a:t> on-premises</a:t>
                      </a:r>
                      <a:endParaRPr lang="en-US" sz="1800" kern="1200" dirty="0">
                        <a:gradFill>
                          <a:gsLst>
                            <a:gs pos="2899">
                              <a:schemeClr val="tx1"/>
                            </a:gs>
                            <a:gs pos="18116">
                              <a:schemeClr val="tx1"/>
                            </a:gs>
                          </a:gsLst>
                          <a:lin ang="5400000" scaled="0"/>
                        </a:gradFill>
                        <a:latin typeface="+mj-lt"/>
                        <a:ea typeface="+mn-ea"/>
                        <a:cs typeface="+mn-cs"/>
                      </a:endParaRPr>
                    </a:p>
                    <a:p>
                      <a:pPr marL="0" indent="0" algn="l" defTabSz="932742" rtl="0" eaLnBrk="1" latinLnBrk="0" hangingPunct="1">
                        <a:lnSpc>
                          <a:spcPct val="90000"/>
                        </a:lnSpc>
                        <a:spcBef>
                          <a:spcPts val="2400"/>
                        </a:spcBef>
                        <a:buFont typeface="Arial" panose="020B0604020202020204" pitchFamily="34" charset="0"/>
                        <a:buNone/>
                      </a:pPr>
                      <a:r>
                        <a:rPr lang="en-US" sz="1800" kern="1200" dirty="0">
                          <a:gradFill>
                            <a:gsLst>
                              <a:gs pos="2899">
                                <a:schemeClr val="tx1"/>
                              </a:gs>
                              <a:gs pos="18116">
                                <a:schemeClr val="tx1"/>
                              </a:gs>
                            </a:gsLst>
                            <a:lin ang="5400000" scaled="0"/>
                          </a:gradFill>
                          <a:latin typeface="+mj-lt"/>
                          <a:ea typeface="+mn-ea"/>
                          <a:cs typeface="+mn-cs"/>
                        </a:rPr>
                        <a:t>Protect</a:t>
                      </a:r>
                      <a:r>
                        <a:rPr lang="en-US" sz="1800" kern="1200" baseline="0" dirty="0">
                          <a:gradFill>
                            <a:gsLst>
                              <a:gs pos="2899">
                                <a:schemeClr val="tx1"/>
                              </a:gs>
                              <a:gs pos="18116">
                                <a:schemeClr val="tx1"/>
                              </a:gs>
                            </a:gsLst>
                            <a:lin ang="5400000" scaled="0"/>
                          </a:gradFill>
                          <a:latin typeface="+mj-lt"/>
                          <a:ea typeface="+mn-ea"/>
                          <a:cs typeface="+mn-cs"/>
                        </a:rPr>
                        <a:t>, </a:t>
                      </a:r>
                      <a:r>
                        <a:rPr lang="en-US" sz="1800" kern="1200" dirty="0">
                          <a:gradFill>
                            <a:gsLst>
                              <a:gs pos="2899">
                                <a:schemeClr val="tx1"/>
                              </a:gs>
                              <a:gs pos="18116">
                                <a:schemeClr val="tx1"/>
                              </a:gs>
                            </a:gsLst>
                            <a:lin ang="5400000" scaled="0"/>
                          </a:gradFill>
                          <a:latin typeface="+mj-lt"/>
                          <a:ea typeface="+mn-ea"/>
                          <a:cs typeface="+mn-cs"/>
                        </a:rPr>
                        <a:t>monitor and monetize the APIs</a:t>
                      </a:r>
                    </a:p>
                    <a:p>
                      <a:pPr marL="0" indent="0" algn="l" defTabSz="932742" rtl="0" eaLnBrk="1" latinLnBrk="0" hangingPunct="1">
                        <a:lnSpc>
                          <a:spcPct val="90000"/>
                        </a:lnSpc>
                        <a:spcBef>
                          <a:spcPts val="2400"/>
                        </a:spcBef>
                        <a:buFont typeface="Arial" panose="020B0604020202020204" pitchFamily="34" charset="0"/>
                        <a:buNone/>
                      </a:pPr>
                      <a:r>
                        <a:rPr lang="en-US" sz="1800" kern="1200" dirty="0">
                          <a:gradFill>
                            <a:gsLst>
                              <a:gs pos="2899">
                                <a:schemeClr val="tx1"/>
                              </a:gs>
                              <a:gs pos="18116">
                                <a:schemeClr val="tx1"/>
                              </a:gs>
                            </a:gsLst>
                            <a:lin ang="5400000" scaled="0"/>
                          </a:gradFill>
                          <a:latin typeface="+mj-lt"/>
                          <a:ea typeface="+mn-ea"/>
                          <a:cs typeface="+mn-cs"/>
                        </a:rPr>
                        <a:t>Onboard external</a:t>
                      </a:r>
                      <a:r>
                        <a:rPr lang="en-US" sz="1800" kern="1200" baseline="0" dirty="0">
                          <a:gradFill>
                            <a:gsLst>
                              <a:gs pos="2899">
                                <a:schemeClr val="tx1"/>
                              </a:gs>
                              <a:gs pos="18116">
                                <a:schemeClr val="tx1"/>
                              </a:gs>
                            </a:gsLst>
                            <a:lin ang="5400000" scaled="0"/>
                          </a:gradFill>
                          <a:latin typeface="+mj-lt"/>
                          <a:ea typeface="+mn-ea"/>
                          <a:cs typeface="+mn-cs"/>
                        </a:rPr>
                        <a:t> and internal app developers</a:t>
                      </a:r>
                      <a:endParaRPr lang="en-US" sz="1800" kern="1200" dirty="0">
                        <a:gradFill>
                          <a:gsLst>
                            <a:gs pos="2899">
                              <a:schemeClr val="tx1"/>
                            </a:gs>
                            <a:gs pos="18116">
                              <a:schemeClr val="tx1"/>
                            </a:gs>
                          </a:gsLst>
                          <a:lin ang="5400000" scaled="0"/>
                        </a:gradFill>
                        <a:latin typeface="+mj-lt"/>
                        <a:ea typeface="+mn-ea"/>
                        <a:cs typeface="+mn-cs"/>
                      </a:endParaRPr>
                    </a:p>
                  </a:txBody>
                  <a:tcPr marL="179234" marR="0" marT="143387" marB="896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35981791"/>
                  </a:ext>
                </a:extLst>
              </a:tr>
            </a:tbl>
          </a:graphicData>
        </a:graphic>
      </p:graphicFrame>
      <p:graphicFrame>
        <p:nvGraphicFramePr>
          <p:cNvPr id="22" name="Table 21"/>
          <p:cNvGraphicFramePr>
            <a:graphicFrameLocks noGrp="1"/>
          </p:cNvGraphicFramePr>
          <p:nvPr>
            <p:extLst/>
          </p:nvPr>
        </p:nvGraphicFramePr>
        <p:xfrm>
          <a:off x="3170596" y="1722879"/>
          <a:ext cx="2886751" cy="3520479"/>
        </p:xfrm>
        <a:graphic>
          <a:graphicData uri="http://schemas.openxmlformats.org/drawingml/2006/table">
            <a:tbl>
              <a:tblPr firstRow="1" bandRow="1">
                <a:tableStyleId>{5C22544A-7EE6-4342-B048-85BDC9FD1C3A}</a:tableStyleId>
              </a:tblPr>
              <a:tblGrid>
                <a:gridCol w="2886751">
                  <a:extLst>
                    <a:ext uri="{9D8B030D-6E8A-4147-A177-3AD203B41FA5}">
                      <a16:colId xmlns:a16="http://schemas.microsoft.com/office/drawing/2014/main" val="862505283"/>
                    </a:ext>
                  </a:extLst>
                </a:gridCol>
              </a:tblGrid>
              <a:tr h="896170">
                <a:tc>
                  <a:txBody>
                    <a:bodyPr/>
                    <a:lstStyle/>
                    <a:p>
                      <a:pPr>
                        <a:lnSpc>
                          <a:spcPct val="90000"/>
                        </a:lnSpc>
                      </a:pPr>
                      <a:r>
                        <a:rPr lang="en-US" sz="2400" b="0" dirty="0">
                          <a:gradFill>
                            <a:gsLst>
                              <a:gs pos="89130">
                                <a:schemeClr val="bg1"/>
                              </a:gs>
                              <a:gs pos="65000">
                                <a:schemeClr val="bg1"/>
                              </a:gs>
                            </a:gsLst>
                            <a:lin ang="5400000" scaled="0"/>
                          </a:gradFill>
                          <a:latin typeface="+mj-lt"/>
                          <a:cs typeface="Segoe UI Semilight" panose="020B0402040204020203" pitchFamily="34" charset="0"/>
                        </a:rPr>
                        <a:t>Logic</a:t>
                      </a:r>
                      <a:r>
                        <a:rPr lang="en-US" sz="2400" b="0" baseline="0" dirty="0">
                          <a:gradFill>
                            <a:gsLst>
                              <a:gs pos="89130">
                                <a:schemeClr val="bg1"/>
                              </a:gs>
                              <a:gs pos="65000">
                                <a:schemeClr val="bg1"/>
                              </a:gs>
                            </a:gsLst>
                            <a:lin ang="5400000" scaled="0"/>
                          </a:gradFill>
                          <a:latin typeface="+mj-lt"/>
                          <a:cs typeface="Segoe UI Semilight" panose="020B0402040204020203" pitchFamily="34" charset="0"/>
                        </a:rPr>
                        <a:t> </a:t>
                      </a:r>
                      <a:br>
                        <a:rPr lang="en-US" sz="2400" b="0" baseline="0" dirty="0">
                          <a:gradFill>
                            <a:gsLst>
                              <a:gs pos="89130">
                                <a:schemeClr val="bg1"/>
                              </a:gs>
                              <a:gs pos="65000">
                                <a:schemeClr val="bg1"/>
                              </a:gs>
                            </a:gsLst>
                            <a:lin ang="5400000" scaled="0"/>
                          </a:gradFill>
                          <a:latin typeface="+mj-lt"/>
                          <a:cs typeface="Segoe UI Semilight" panose="020B0402040204020203" pitchFamily="34" charset="0"/>
                        </a:rPr>
                      </a:br>
                      <a:r>
                        <a:rPr lang="en-US" sz="2400" b="0" baseline="0" dirty="0">
                          <a:gradFill>
                            <a:gsLst>
                              <a:gs pos="89130">
                                <a:schemeClr val="bg1"/>
                              </a:gs>
                              <a:gs pos="65000">
                                <a:schemeClr val="bg1"/>
                              </a:gs>
                            </a:gsLst>
                            <a:lin ang="5400000" scaled="0"/>
                          </a:gradFill>
                          <a:latin typeface="+mj-lt"/>
                          <a:cs typeface="Segoe UI Semilight" panose="020B0402040204020203" pitchFamily="34" charset="0"/>
                        </a:rPr>
                        <a:t>Apps</a:t>
                      </a:r>
                      <a:endParaRPr lang="en-US" sz="2400" b="0" dirty="0">
                        <a:gradFill>
                          <a:gsLst>
                            <a:gs pos="89130">
                              <a:schemeClr val="bg1"/>
                            </a:gs>
                            <a:gs pos="65000">
                              <a:schemeClr val="bg1"/>
                            </a:gs>
                          </a:gsLst>
                          <a:lin ang="5400000" scaled="0"/>
                        </a:gradFill>
                        <a:latin typeface="+mj-lt"/>
                        <a:cs typeface="Segoe UI Semilight" panose="020B0402040204020203" pitchFamily="34" charset="0"/>
                      </a:endParaRPr>
                    </a:p>
                  </a:txBody>
                  <a:tcPr marL="179234" marR="91401" marT="89617" marB="896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202762852"/>
                  </a:ext>
                </a:extLst>
              </a:tr>
              <a:tr h="2624309">
                <a:tc>
                  <a:txBody>
                    <a:bodyPr/>
                    <a:lstStyle/>
                    <a:p>
                      <a:pPr marL="0" indent="0">
                        <a:lnSpc>
                          <a:spcPct val="90000"/>
                        </a:lnSpc>
                        <a:spcBef>
                          <a:spcPts val="2400"/>
                        </a:spcBef>
                        <a:buFont typeface="Arial" panose="020B0604020202020204" pitchFamily="34" charset="0"/>
                        <a:buNone/>
                      </a:pPr>
                      <a:r>
                        <a:rPr lang="en-US" sz="1800" dirty="0">
                          <a:gradFill>
                            <a:gsLst>
                              <a:gs pos="2899">
                                <a:schemeClr val="tx1"/>
                              </a:gs>
                              <a:gs pos="18116">
                                <a:schemeClr val="tx1"/>
                              </a:gs>
                            </a:gsLst>
                            <a:lin ang="5400000" scaled="0"/>
                          </a:gradFill>
                          <a:latin typeface="+mj-lt"/>
                        </a:rPr>
                        <a:t>Connect</a:t>
                      </a:r>
                      <a:r>
                        <a:rPr lang="en-US" sz="1800" baseline="0" dirty="0">
                          <a:gradFill>
                            <a:gsLst>
                              <a:gs pos="2899">
                                <a:schemeClr val="tx1"/>
                              </a:gs>
                              <a:gs pos="18116">
                                <a:schemeClr val="tx1"/>
                              </a:gs>
                            </a:gsLst>
                            <a:lin ang="5400000" scaled="0"/>
                          </a:gradFill>
                          <a:latin typeface="+mj-lt"/>
                        </a:rPr>
                        <a:t> to SaaS applications and custom APIs</a:t>
                      </a:r>
                    </a:p>
                    <a:p>
                      <a:pPr marL="0" indent="0">
                        <a:lnSpc>
                          <a:spcPct val="90000"/>
                        </a:lnSpc>
                        <a:spcBef>
                          <a:spcPts val="2400"/>
                        </a:spcBef>
                        <a:buFont typeface="Arial" panose="020B0604020202020204" pitchFamily="34" charset="0"/>
                        <a:buNone/>
                      </a:pPr>
                      <a:r>
                        <a:rPr lang="en-US" sz="1800" baseline="0" dirty="0">
                          <a:gradFill>
                            <a:gsLst>
                              <a:gs pos="2899">
                                <a:schemeClr val="tx1"/>
                              </a:gs>
                              <a:gs pos="18116">
                                <a:schemeClr val="tx1"/>
                              </a:gs>
                            </a:gsLst>
                            <a:lin ang="5400000" scaled="0"/>
                          </a:gradFill>
                          <a:latin typeface="+mj-lt"/>
                        </a:rPr>
                        <a:t>Serverless flows, auto scaling, fully managed.</a:t>
                      </a:r>
                    </a:p>
                    <a:p>
                      <a:pPr marL="0" indent="0">
                        <a:lnSpc>
                          <a:spcPct val="90000"/>
                        </a:lnSpc>
                        <a:spcBef>
                          <a:spcPts val="2400"/>
                        </a:spcBef>
                        <a:buFont typeface="Arial" panose="020B0604020202020204" pitchFamily="34" charset="0"/>
                        <a:buNone/>
                      </a:pPr>
                      <a:r>
                        <a:rPr lang="en-US" sz="1800" baseline="0" dirty="0">
                          <a:gradFill>
                            <a:gsLst>
                              <a:gs pos="2899">
                                <a:schemeClr val="tx1"/>
                              </a:gs>
                              <a:gs pos="18116">
                                <a:schemeClr val="tx1"/>
                              </a:gs>
                            </a:gsLst>
                            <a:lin ang="5400000" scaled="0"/>
                          </a:gradFill>
                          <a:latin typeface="+mj-lt"/>
                        </a:rPr>
                        <a:t>Leverage Azure Services</a:t>
                      </a:r>
                    </a:p>
                  </a:txBody>
                  <a:tcPr marL="179234" marR="91401" marT="143387" marB="896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35981791"/>
                  </a:ext>
                </a:extLst>
              </a:tr>
            </a:tbl>
          </a:graphicData>
        </a:graphic>
      </p:graphicFrame>
      <p:graphicFrame>
        <p:nvGraphicFramePr>
          <p:cNvPr id="23" name="Table 22"/>
          <p:cNvGraphicFramePr>
            <a:graphicFrameLocks noGrp="1"/>
          </p:cNvGraphicFramePr>
          <p:nvPr>
            <p:extLst/>
          </p:nvPr>
        </p:nvGraphicFramePr>
        <p:xfrm>
          <a:off x="6156562" y="1710853"/>
          <a:ext cx="2886751" cy="3525402"/>
        </p:xfrm>
        <a:graphic>
          <a:graphicData uri="http://schemas.openxmlformats.org/drawingml/2006/table">
            <a:tbl>
              <a:tblPr firstRow="1" bandRow="1">
                <a:tableStyleId>{5C22544A-7EE6-4342-B048-85BDC9FD1C3A}</a:tableStyleId>
              </a:tblPr>
              <a:tblGrid>
                <a:gridCol w="2886751">
                  <a:extLst>
                    <a:ext uri="{9D8B030D-6E8A-4147-A177-3AD203B41FA5}">
                      <a16:colId xmlns:a16="http://schemas.microsoft.com/office/drawing/2014/main" val="245742986"/>
                    </a:ext>
                  </a:extLst>
                </a:gridCol>
              </a:tblGrid>
              <a:tr h="896170">
                <a:tc>
                  <a:txBody>
                    <a:bodyPr/>
                    <a:lstStyle/>
                    <a:p>
                      <a:pPr>
                        <a:lnSpc>
                          <a:spcPct val="90000"/>
                        </a:lnSpc>
                      </a:pPr>
                      <a:r>
                        <a:rPr lang="en-US" sz="2400" b="0" dirty="0">
                          <a:gradFill>
                            <a:gsLst>
                              <a:gs pos="89130">
                                <a:schemeClr val="bg1"/>
                              </a:gs>
                              <a:gs pos="65000">
                                <a:schemeClr val="bg1"/>
                              </a:gs>
                            </a:gsLst>
                            <a:lin ang="5400000" scaled="0"/>
                          </a:gradFill>
                          <a:latin typeface="+mj-lt"/>
                          <a:cs typeface="Segoe UI Semilight" panose="020B0402040204020203" pitchFamily="34" charset="0"/>
                        </a:rPr>
                        <a:t>BizTalk </a:t>
                      </a:r>
                      <a:br>
                        <a:rPr lang="en-US" sz="2400" b="0" dirty="0">
                          <a:gradFill>
                            <a:gsLst>
                              <a:gs pos="89130">
                                <a:schemeClr val="bg1"/>
                              </a:gs>
                              <a:gs pos="65000">
                                <a:schemeClr val="bg1"/>
                              </a:gs>
                            </a:gsLst>
                            <a:lin ang="5400000" scaled="0"/>
                          </a:gradFill>
                          <a:latin typeface="+mj-lt"/>
                          <a:cs typeface="Segoe UI Semilight" panose="020B0402040204020203" pitchFamily="34" charset="0"/>
                        </a:rPr>
                      </a:br>
                      <a:r>
                        <a:rPr lang="en-US" sz="2400" b="0" dirty="0">
                          <a:gradFill>
                            <a:gsLst>
                              <a:gs pos="89130">
                                <a:schemeClr val="bg1"/>
                              </a:gs>
                              <a:gs pos="65000">
                                <a:schemeClr val="bg1"/>
                              </a:gs>
                            </a:gsLst>
                            <a:lin ang="5400000" scaled="0"/>
                          </a:gradFill>
                          <a:latin typeface="+mj-lt"/>
                          <a:cs typeface="Segoe UI Semilight" panose="020B0402040204020203" pitchFamily="34" charset="0"/>
                        </a:rPr>
                        <a:t>Server               </a:t>
                      </a:r>
                    </a:p>
                  </a:txBody>
                  <a:tcPr marL="179234" marR="0" marT="89617" marB="896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202762852"/>
                  </a:ext>
                </a:extLst>
              </a:tr>
              <a:tr h="2629232">
                <a:tc>
                  <a:txBody>
                    <a:bodyPr/>
                    <a:lstStyle/>
                    <a:p>
                      <a:pPr marL="0" indent="0" algn="l" defTabSz="932742" rtl="0" eaLnBrk="1" latinLnBrk="0" hangingPunct="1">
                        <a:lnSpc>
                          <a:spcPct val="90000"/>
                        </a:lnSpc>
                        <a:spcBef>
                          <a:spcPts val="2400"/>
                        </a:spcBef>
                        <a:buFont typeface="Arial" panose="020B0604020202020204" pitchFamily="34" charset="0"/>
                        <a:buNone/>
                      </a:pPr>
                      <a:r>
                        <a:rPr lang="en-US" sz="1800" kern="1200" dirty="0">
                          <a:gradFill>
                            <a:gsLst>
                              <a:gs pos="2899">
                                <a:schemeClr val="tx1"/>
                              </a:gs>
                              <a:gs pos="18116">
                                <a:schemeClr val="tx1"/>
                              </a:gs>
                            </a:gsLst>
                            <a:lin ang="5400000" scaled="0"/>
                          </a:gradFill>
                          <a:latin typeface="+mj-lt"/>
                          <a:ea typeface="+mn-ea"/>
                          <a:cs typeface="+mn-cs"/>
                        </a:rPr>
                        <a:t>Automate mission critical processes</a:t>
                      </a:r>
                    </a:p>
                    <a:p>
                      <a:pPr marL="0" indent="0" algn="l" defTabSz="932742" rtl="0" eaLnBrk="1" latinLnBrk="0" hangingPunct="1">
                        <a:lnSpc>
                          <a:spcPct val="90000"/>
                        </a:lnSpc>
                        <a:spcBef>
                          <a:spcPts val="2400"/>
                        </a:spcBef>
                        <a:buFont typeface="Arial" panose="020B0604020202020204" pitchFamily="34" charset="0"/>
                        <a:buNone/>
                      </a:pPr>
                      <a:r>
                        <a:rPr lang="en-US" sz="1800" kern="1200" dirty="0">
                          <a:gradFill>
                            <a:gsLst>
                              <a:gs pos="2899">
                                <a:schemeClr val="tx1"/>
                              </a:gs>
                              <a:gs pos="18116">
                                <a:schemeClr val="tx1"/>
                              </a:gs>
                            </a:gsLst>
                            <a:lin ang="5400000" scaled="0"/>
                          </a:gradFill>
                          <a:latin typeface="+mj-lt"/>
                          <a:ea typeface="+mn-ea"/>
                          <a:cs typeface="+mn-cs"/>
                        </a:rPr>
                        <a:t>Integrate on-premises LOB to SaaS apps </a:t>
                      </a:r>
                    </a:p>
                    <a:p>
                      <a:pPr marL="0" indent="0" algn="l" defTabSz="932742" rtl="0" eaLnBrk="1" latinLnBrk="0" hangingPunct="1">
                        <a:lnSpc>
                          <a:spcPct val="90000"/>
                        </a:lnSpc>
                        <a:spcBef>
                          <a:spcPts val="2400"/>
                        </a:spcBef>
                        <a:buFont typeface="Arial" panose="020B0604020202020204" pitchFamily="34" charset="0"/>
                        <a:buNone/>
                      </a:pPr>
                      <a:r>
                        <a:rPr lang="en-US" sz="1800" kern="1200" dirty="0">
                          <a:gradFill>
                            <a:gsLst>
                              <a:gs pos="2899">
                                <a:schemeClr val="tx1"/>
                              </a:gs>
                              <a:gs pos="18116">
                                <a:schemeClr val="tx1"/>
                              </a:gs>
                            </a:gsLst>
                            <a:lin ang="5400000" scaled="0"/>
                          </a:gradFill>
                          <a:latin typeface="+mj-lt"/>
                          <a:ea typeface="+mn-ea"/>
                          <a:cs typeface="+mn-cs"/>
                        </a:rPr>
                        <a:t>Support for new Microsoft Platforms</a:t>
                      </a:r>
                    </a:p>
                  </a:txBody>
                  <a:tcPr marL="179234" marR="0" marT="143387" marB="896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35981791"/>
                  </a:ext>
                </a:extLst>
              </a:tr>
            </a:tbl>
          </a:graphicData>
        </a:graphic>
      </p:graphicFrame>
      <p:graphicFrame>
        <p:nvGraphicFramePr>
          <p:cNvPr id="24" name="Table 23"/>
          <p:cNvGraphicFramePr>
            <a:graphicFrameLocks noGrp="1"/>
          </p:cNvGraphicFramePr>
          <p:nvPr>
            <p:extLst/>
          </p:nvPr>
        </p:nvGraphicFramePr>
        <p:xfrm>
          <a:off x="9131644" y="1710853"/>
          <a:ext cx="2886751" cy="3524306"/>
        </p:xfrm>
        <a:graphic>
          <a:graphicData uri="http://schemas.openxmlformats.org/drawingml/2006/table">
            <a:tbl>
              <a:tblPr firstRow="1" bandRow="1">
                <a:tableStyleId>{5C22544A-7EE6-4342-B048-85BDC9FD1C3A}</a:tableStyleId>
              </a:tblPr>
              <a:tblGrid>
                <a:gridCol w="2886751">
                  <a:extLst>
                    <a:ext uri="{9D8B030D-6E8A-4147-A177-3AD203B41FA5}">
                      <a16:colId xmlns:a16="http://schemas.microsoft.com/office/drawing/2014/main" val="3728848810"/>
                    </a:ext>
                  </a:extLst>
                </a:gridCol>
              </a:tblGrid>
              <a:tr h="898842">
                <a:tc>
                  <a:txBody>
                    <a:bodyPr/>
                    <a:lstStyle/>
                    <a:p>
                      <a:pPr>
                        <a:lnSpc>
                          <a:spcPct val="90000"/>
                        </a:lnSpc>
                      </a:pPr>
                      <a:r>
                        <a:rPr lang="en-US" sz="2400" b="0" dirty="0">
                          <a:gradFill>
                            <a:gsLst>
                              <a:gs pos="89130">
                                <a:schemeClr val="bg1"/>
                              </a:gs>
                              <a:gs pos="65000">
                                <a:schemeClr val="bg1"/>
                              </a:gs>
                            </a:gsLst>
                            <a:lin ang="5400000" scaled="0"/>
                          </a:gradFill>
                          <a:latin typeface="+mj-lt"/>
                          <a:cs typeface="Segoe UI Semilight" panose="020B0402040204020203" pitchFamily="34" charset="0"/>
                        </a:rPr>
                        <a:t>Service</a:t>
                      </a:r>
                      <a:r>
                        <a:rPr lang="en-US" sz="2400" b="0" baseline="0" dirty="0">
                          <a:gradFill>
                            <a:gsLst>
                              <a:gs pos="89130">
                                <a:schemeClr val="bg1"/>
                              </a:gs>
                              <a:gs pos="65000">
                                <a:schemeClr val="bg1"/>
                              </a:gs>
                            </a:gsLst>
                            <a:lin ang="5400000" scaled="0"/>
                          </a:gradFill>
                          <a:latin typeface="+mj-lt"/>
                          <a:cs typeface="Segoe UI Semilight" panose="020B0402040204020203" pitchFamily="34" charset="0"/>
                        </a:rPr>
                        <a:t> </a:t>
                      </a:r>
                      <a:br>
                        <a:rPr lang="en-US" sz="2400" b="0" baseline="0" dirty="0">
                          <a:gradFill>
                            <a:gsLst>
                              <a:gs pos="89130">
                                <a:schemeClr val="bg1"/>
                              </a:gs>
                              <a:gs pos="65000">
                                <a:schemeClr val="bg1"/>
                              </a:gs>
                            </a:gsLst>
                            <a:lin ang="5400000" scaled="0"/>
                          </a:gradFill>
                          <a:latin typeface="+mj-lt"/>
                          <a:cs typeface="Segoe UI Semilight" panose="020B0402040204020203" pitchFamily="34" charset="0"/>
                        </a:rPr>
                      </a:br>
                      <a:r>
                        <a:rPr lang="en-US" sz="2400" b="0" baseline="0" dirty="0">
                          <a:gradFill>
                            <a:gsLst>
                              <a:gs pos="89130">
                                <a:schemeClr val="bg1"/>
                              </a:gs>
                              <a:gs pos="65000">
                                <a:schemeClr val="bg1"/>
                              </a:gs>
                            </a:gsLst>
                            <a:lin ang="5400000" scaled="0"/>
                          </a:gradFill>
                          <a:latin typeface="+mj-lt"/>
                          <a:cs typeface="Segoe UI Semilight" panose="020B0402040204020203" pitchFamily="34" charset="0"/>
                        </a:rPr>
                        <a:t>Bus</a:t>
                      </a:r>
                      <a:endParaRPr lang="en-US" sz="2400" b="0" dirty="0">
                        <a:gradFill>
                          <a:gsLst>
                            <a:gs pos="89130">
                              <a:schemeClr val="bg1"/>
                            </a:gs>
                            <a:gs pos="65000">
                              <a:schemeClr val="bg1"/>
                            </a:gs>
                          </a:gsLst>
                          <a:lin ang="5400000" scaled="0"/>
                        </a:gradFill>
                        <a:latin typeface="+mj-lt"/>
                        <a:cs typeface="Segoe UI Semilight" panose="020B0402040204020203" pitchFamily="34" charset="0"/>
                      </a:endParaRPr>
                    </a:p>
                  </a:txBody>
                  <a:tcPr marL="179234" marR="91401" marT="89617" marB="896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202762852"/>
                  </a:ext>
                </a:extLst>
              </a:tr>
              <a:tr h="2625464">
                <a:tc>
                  <a:txBody>
                    <a:bodyPr/>
                    <a:lstStyle/>
                    <a:p>
                      <a:pPr marL="0" indent="0">
                        <a:lnSpc>
                          <a:spcPct val="90000"/>
                        </a:lnSpc>
                        <a:spcBef>
                          <a:spcPts val="2400"/>
                        </a:spcBef>
                        <a:buFont typeface="Arial" panose="020B0604020202020204" pitchFamily="34" charset="0"/>
                        <a:buNone/>
                      </a:pPr>
                      <a:r>
                        <a:rPr lang="en-US" sz="1800" dirty="0">
                          <a:gradFill>
                            <a:gsLst>
                              <a:gs pos="2899">
                                <a:schemeClr val="tx1"/>
                              </a:gs>
                              <a:gs pos="18116">
                                <a:schemeClr val="tx1"/>
                              </a:gs>
                            </a:gsLst>
                            <a:lin ang="5400000" scaled="0"/>
                          </a:gradFill>
                          <a:latin typeface="+mj-lt"/>
                        </a:rPr>
                        <a:t>Cloud-based</a:t>
                      </a:r>
                      <a:r>
                        <a:rPr lang="en-US" sz="1800" baseline="0" dirty="0">
                          <a:gradFill>
                            <a:gsLst>
                              <a:gs pos="2899">
                                <a:schemeClr val="tx1"/>
                              </a:gs>
                              <a:gs pos="18116">
                                <a:schemeClr val="tx1"/>
                              </a:gs>
                            </a:gsLst>
                            <a:lin ang="5400000" scaled="0"/>
                          </a:gradFill>
                          <a:latin typeface="+mj-lt"/>
                        </a:rPr>
                        <a:t> messaging service</a:t>
                      </a:r>
                    </a:p>
                    <a:p>
                      <a:pPr marL="0" indent="0">
                        <a:lnSpc>
                          <a:spcPct val="90000"/>
                        </a:lnSpc>
                        <a:spcBef>
                          <a:spcPts val="2400"/>
                        </a:spcBef>
                        <a:buFont typeface="Arial" panose="020B0604020202020204" pitchFamily="34" charset="0"/>
                        <a:buNone/>
                      </a:pPr>
                      <a:r>
                        <a:rPr lang="en-US" sz="1800" baseline="0" dirty="0">
                          <a:gradFill>
                            <a:gsLst>
                              <a:gs pos="2899">
                                <a:schemeClr val="tx1"/>
                              </a:gs>
                              <a:gs pos="18116">
                                <a:schemeClr val="tx1"/>
                              </a:gs>
                            </a:gsLst>
                            <a:lin ang="5400000" scaled="0"/>
                          </a:gradFill>
                          <a:latin typeface="+mj-lt"/>
                        </a:rPr>
                        <a:t>Connect to the cloud</a:t>
                      </a:r>
                    </a:p>
                    <a:p>
                      <a:pPr marL="0" indent="0">
                        <a:lnSpc>
                          <a:spcPct val="90000"/>
                        </a:lnSpc>
                        <a:spcBef>
                          <a:spcPts val="2400"/>
                        </a:spcBef>
                        <a:buFont typeface="Arial" panose="020B0604020202020204" pitchFamily="34" charset="0"/>
                        <a:buNone/>
                      </a:pPr>
                      <a:r>
                        <a:rPr lang="en-US" sz="1800" dirty="0">
                          <a:gradFill>
                            <a:gsLst>
                              <a:gs pos="2899">
                                <a:schemeClr val="tx1"/>
                              </a:gs>
                              <a:gs pos="18116">
                                <a:schemeClr val="tx1"/>
                              </a:gs>
                            </a:gsLst>
                            <a:lin ang="5400000" scaled="0"/>
                          </a:gradFill>
                          <a:latin typeface="+mj-lt"/>
                        </a:rPr>
                        <a:t>Secure and predictable</a:t>
                      </a:r>
                      <a:r>
                        <a:rPr lang="en-US" sz="1800" baseline="0" dirty="0">
                          <a:gradFill>
                            <a:gsLst>
                              <a:gs pos="2899">
                                <a:schemeClr val="tx1"/>
                              </a:gs>
                              <a:gs pos="18116">
                                <a:schemeClr val="tx1"/>
                              </a:gs>
                            </a:gsLst>
                            <a:lin ang="5400000" scaled="0"/>
                          </a:gradFill>
                          <a:latin typeface="+mj-lt"/>
                        </a:rPr>
                        <a:t> message delivery</a:t>
                      </a:r>
                      <a:endParaRPr lang="en-US" sz="1800" dirty="0">
                        <a:gradFill>
                          <a:gsLst>
                            <a:gs pos="2899">
                              <a:schemeClr val="tx1"/>
                            </a:gs>
                            <a:gs pos="18116">
                              <a:schemeClr val="tx1"/>
                            </a:gs>
                          </a:gsLst>
                          <a:lin ang="5400000" scaled="0"/>
                        </a:gradFill>
                        <a:latin typeface="+mj-lt"/>
                      </a:endParaRPr>
                    </a:p>
                  </a:txBody>
                  <a:tcPr marL="179234" marR="91401" marT="143387" marB="896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35981791"/>
                  </a:ext>
                </a:extLst>
              </a:tr>
            </a:tbl>
          </a:graphicData>
        </a:graphic>
      </p:graphicFrame>
      <p:pic>
        <p:nvPicPr>
          <p:cNvPr id="25" name="Picture 24"/>
          <p:cNvPicPr>
            <a:picLocks noChangeAspect="1"/>
          </p:cNvPicPr>
          <p:nvPr/>
        </p:nvPicPr>
        <p:blipFill>
          <a:blip r:embed="rId4">
            <a:biLevel thresh="25000"/>
          </a:blip>
          <a:stretch>
            <a:fillRect/>
          </a:stretch>
        </p:blipFill>
        <p:spPr>
          <a:xfrm>
            <a:off x="2317383" y="1856026"/>
            <a:ext cx="580333" cy="580333"/>
          </a:xfrm>
          <a:prstGeom prst="rect">
            <a:avLst/>
          </a:prstGeom>
        </p:spPr>
      </p:pic>
      <p:pic>
        <p:nvPicPr>
          <p:cNvPr id="26" name="Picture 25"/>
          <p:cNvPicPr>
            <a:picLocks noChangeAspect="1"/>
          </p:cNvPicPr>
          <p:nvPr/>
        </p:nvPicPr>
        <p:blipFill>
          <a:blip r:embed="rId5">
            <a:biLevel thresh="25000"/>
          </a:blip>
          <a:stretch>
            <a:fillRect/>
          </a:stretch>
        </p:blipFill>
        <p:spPr>
          <a:xfrm>
            <a:off x="11189069" y="1898529"/>
            <a:ext cx="495329" cy="495329"/>
          </a:xfrm>
          <a:prstGeom prst="rect">
            <a:avLst/>
          </a:prstGeom>
        </p:spPr>
      </p:pic>
      <p:sp>
        <p:nvSpPr>
          <p:cNvPr id="27" name="Freeform 5"/>
          <p:cNvSpPr>
            <a:spLocks noChangeAspect="1" noEditPoints="1"/>
          </p:cNvSpPr>
          <p:nvPr/>
        </p:nvSpPr>
        <p:spPr bwMode="auto">
          <a:xfrm>
            <a:off x="8469843" y="1898529"/>
            <a:ext cx="308064" cy="576476"/>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chemeClr val="bg1"/>
          </a:solidFill>
          <a:ln w="2540">
            <a:solidFill>
              <a:schemeClr val="bg1"/>
            </a:solidFill>
          </a:ln>
        </p:spPr>
        <p:txBody>
          <a:bodyPr vert="horz" wrap="square" lIns="89617" tIns="44808" rIns="89617" bIns="44808"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Semilight"/>
              <a:ea typeface="+mn-ea"/>
              <a:cs typeface="+mn-cs"/>
            </a:endParaRPr>
          </a:p>
        </p:txBody>
      </p:sp>
      <p:pic>
        <p:nvPicPr>
          <p:cNvPr id="28" name="Picture 2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10218" y="1917787"/>
            <a:ext cx="619458" cy="483176"/>
          </a:xfrm>
          <a:prstGeom prst="rect">
            <a:avLst/>
          </a:prstGeom>
        </p:spPr>
      </p:pic>
    </p:spTree>
    <p:extLst>
      <p:ext uri="{BB962C8B-B14F-4D97-AF65-F5344CB8AC3E}">
        <p14:creationId xmlns:p14="http://schemas.microsoft.com/office/powerpoint/2010/main" val="1080723715"/>
      </p:ext>
    </p:extLst>
  </p:cSld>
  <p:clrMapOvr>
    <a:masterClrMapping/>
  </p:clrMapOvr>
  <p:transition spd="med">
    <p:pull/>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0285" y="128986"/>
            <a:ext cx="10515600" cy="1325563"/>
          </a:xfrm>
        </p:spPr>
        <p:txBody>
          <a:bodyPr>
            <a:normAutofit/>
          </a:bodyPr>
          <a:lstStyle/>
          <a:p>
            <a:r>
              <a:rPr lang="en-US" dirty="0">
                <a:latin typeface="Segoe UI Light" panose="020B0502040204020203" pitchFamily="34" charset="0"/>
                <a:cs typeface="Segoe UI Light" panose="020B0502040204020203" pitchFamily="34" charset="0"/>
              </a:rPr>
              <a:t>Challenge</a:t>
            </a:r>
            <a:r>
              <a:rPr lang="en-US" sz="4400" dirty="0">
                <a:solidFill>
                  <a:schemeClr val="tx1"/>
                </a:solidFill>
                <a:latin typeface="Segoe UI Light" panose="020B0502040204020203" pitchFamily="34" charset="0"/>
                <a:cs typeface="Segoe UI Light" panose="020B0502040204020203" pitchFamily="34" charset="0"/>
              </a:rPr>
              <a:t> 11: Monetize/Monitor data/services </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1612749"/>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Able to manage/monitor API through API Management</a:t>
            </a:r>
          </a:p>
          <a:p>
            <a:pPr>
              <a:lnSpc>
                <a:spcPct val="90000"/>
              </a:lnSpc>
              <a:spcAft>
                <a:spcPts val="600"/>
              </a:spcAft>
            </a:pPr>
            <a:endParaRPr lang="en-US" sz="2400" dirty="0"/>
          </a:p>
        </p:txBody>
      </p:sp>
      <p:sp>
        <p:nvSpPr>
          <p:cNvPr id="4" name="Rectangle 3">
            <a:extLst>
              <a:ext uri="{FF2B5EF4-FFF2-40B4-BE49-F238E27FC236}">
                <a16:creationId xmlns:a16="http://schemas.microsoft.com/office/drawing/2014/main" id="{9B56F67F-ED72-734D-8C8C-376AF04D77A1}"/>
              </a:ext>
            </a:extLst>
          </p:cNvPr>
          <p:cNvSpPr/>
          <p:nvPr/>
        </p:nvSpPr>
        <p:spPr>
          <a:xfrm>
            <a:off x="7815042" y="4528412"/>
            <a:ext cx="4110038" cy="2200602"/>
          </a:xfrm>
          <a:prstGeom prst="rect">
            <a:avLst/>
          </a:prstGeom>
        </p:spPr>
        <p:txBody>
          <a:bodyPr wrap="square">
            <a:spAutoFit/>
          </a:bodyPr>
          <a:lstStyle/>
          <a:p>
            <a:pPr marR="288290">
              <a:spcBef>
                <a:spcPts val="600"/>
              </a:spcBef>
            </a:pPr>
            <a:r>
              <a:rPr lang="en-US" sz="2400" dirty="0">
                <a:ea typeface="Segoe UI"/>
                <a:cs typeface="Segoe UI"/>
              </a:rPr>
              <a:t>Default Accounts</a:t>
            </a:r>
          </a:p>
          <a:p>
            <a:pPr marR="288290">
              <a:spcBef>
                <a:spcPts val="600"/>
              </a:spcBef>
            </a:pPr>
            <a:r>
              <a:rPr lang="en-US" dirty="0">
                <a:ea typeface="Segoe UI"/>
                <a:cs typeface="Segoe UI"/>
              </a:rPr>
              <a:t>Admin User Name: sysadmin</a:t>
            </a:r>
            <a:br>
              <a:rPr lang="en-US" dirty="0">
                <a:ea typeface="Segoe UI"/>
                <a:cs typeface="Segoe UI"/>
              </a:rPr>
            </a:br>
            <a:r>
              <a:rPr lang="en-US" dirty="0">
                <a:ea typeface="Segoe UI"/>
                <a:cs typeface="Segoe UI"/>
              </a:rPr>
              <a:t>Admin User Password: Password$123</a:t>
            </a:r>
          </a:p>
          <a:p>
            <a:pPr marR="288290"/>
            <a:r>
              <a:rPr lang="en-US" dirty="0" err="1">
                <a:ea typeface="Segoe UI"/>
                <a:cs typeface="Segoe UI"/>
              </a:rPr>
              <a:t>db</a:t>
            </a:r>
            <a:r>
              <a:rPr lang="en-US" dirty="0">
                <a:ea typeface="Segoe UI"/>
                <a:cs typeface="Segoe UI"/>
              </a:rPr>
              <a:t> Login Name: </a:t>
            </a:r>
            <a:r>
              <a:rPr lang="en-US" dirty="0" err="1">
                <a:ea typeface="Segoe UI"/>
                <a:cs typeface="Segoe UI"/>
              </a:rPr>
              <a:t>workshopServiceAcc</a:t>
            </a:r>
            <a:br>
              <a:rPr lang="en-US" dirty="0">
                <a:ea typeface="Segoe UI"/>
                <a:cs typeface="Segoe UI"/>
              </a:rPr>
            </a:br>
            <a:r>
              <a:rPr lang="en-US" dirty="0" err="1">
                <a:ea typeface="Segoe UI"/>
                <a:cs typeface="Segoe UI"/>
              </a:rPr>
              <a:t>db</a:t>
            </a:r>
            <a:r>
              <a:rPr lang="en-US" dirty="0">
                <a:ea typeface="Segoe UI"/>
                <a:cs typeface="Segoe UI"/>
              </a:rPr>
              <a:t> User Name: </a:t>
            </a:r>
            <a:r>
              <a:rPr lang="en-US" dirty="0" err="1">
                <a:ea typeface="Segoe UI"/>
                <a:cs typeface="Segoe UI"/>
              </a:rPr>
              <a:t>workshopServiceAcc</a:t>
            </a:r>
            <a:br>
              <a:rPr lang="en-US" dirty="0">
                <a:ea typeface="Segoe UI"/>
                <a:cs typeface="Segoe UI"/>
              </a:rPr>
            </a:br>
            <a:r>
              <a:rPr lang="en-US" dirty="0" err="1">
                <a:ea typeface="Segoe UI"/>
                <a:cs typeface="Segoe UI"/>
              </a:rPr>
              <a:t>db</a:t>
            </a:r>
            <a:r>
              <a:rPr lang="en-US" dirty="0">
                <a:ea typeface="Segoe UI"/>
                <a:cs typeface="Segoe UI"/>
              </a:rPr>
              <a:t> User Password: P2ssw0rd</a:t>
            </a:r>
          </a:p>
          <a:p>
            <a:pPr marR="288290">
              <a:spcAft>
                <a:spcPts val="600"/>
              </a:spcAft>
            </a:pPr>
            <a:r>
              <a:rPr lang="en-US" dirty="0">
                <a:ea typeface="Segoe UI"/>
                <a:cs typeface="Segoe UI"/>
              </a:rPr>
              <a:t>Database Name: </a:t>
            </a:r>
            <a:r>
              <a:rPr lang="en-US" dirty="0" err="1">
                <a:ea typeface="Segoe UI"/>
                <a:cs typeface="Segoe UI"/>
              </a:rPr>
              <a:t>partsUnlimitedDB</a:t>
            </a:r>
            <a:endParaRPr lang="en-US" dirty="0">
              <a:ea typeface="Segoe UI"/>
              <a:cs typeface="Segoe UI"/>
            </a:endParaRPr>
          </a:p>
        </p:txBody>
      </p:sp>
      <p:sp>
        <p:nvSpPr>
          <p:cNvPr id="3" name="Rectangle 2">
            <a:extLst>
              <a:ext uri="{FF2B5EF4-FFF2-40B4-BE49-F238E27FC236}">
                <a16:creationId xmlns:a16="http://schemas.microsoft.com/office/drawing/2014/main" id="{2D416ED3-ACFD-CA45-A4C6-A176B2C809DC}"/>
              </a:ext>
            </a:extLst>
          </p:cNvPr>
          <p:cNvSpPr/>
          <p:nvPr/>
        </p:nvSpPr>
        <p:spPr>
          <a:xfrm>
            <a:off x="340285" y="4528412"/>
            <a:ext cx="7247964" cy="369332"/>
          </a:xfrm>
          <a:prstGeom prst="rect">
            <a:avLst/>
          </a:prstGeom>
        </p:spPr>
        <p:txBody>
          <a:bodyPr wrap="square">
            <a:spAutoFit/>
          </a:bodyPr>
          <a:lstStyle/>
          <a:p>
            <a:r>
              <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3"/>
              </a:rPr>
              <a:t>https://docs.microsoft.com/en-us/azure/api-management/</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7042881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28362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F7A72E-2DB2-9A4B-8D33-D30B05AA9B0D}"/>
              </a:ext>
            </a:extLst>
          </p:cNvPr>
          <p:cNvSpPr>
            <a:spLocks noGrp="1"/>
          </p:cNvSpPr>
          <p:nvPr>
            <p:ph type="title"/>
          </p:nvPr>
        </p:nvSpPr>
        <p:spPr>
          <a:xfrm>
            <a:off x="838200" y="365125"/>
            <a:ext cx="10515600" cy="1325563"/>
          </a:xfrm>
        </p:spPr>
        <p:txBody>
          <a:bodyPr>
            <a:normAutofit/>
          </a:bodyPr>
          <a:lstStyle/>
          <a:p>
            <a:r>
              <a:rPr lang="en-US" dirty="0"/>
              <a:t>Challenges Overview</a:t>
            </a:r>
            <a:br>
              <a:rPr lang="en-US" dirty="0"/>
            </a:br>
            <a:endParaRPr lang="en-US" dirty="0"/>
          </a:p>
        </p:txBody>
      </p:sp>
      <p:graphicFrame>
        <p:nvGraphicFramePr>
          <p:cNvPr id="5" name="Content Placeholder 2">
            <a:extLst>
              <a:ext uri="{FF2B5EF4-FFF2-40B4-BE49-F238E27FC236}">
                <a16:creationId xmlns:a16="http://schemas.microsoft.com/office/drawing/2014/main" id="{B24C9C18-039B-4614-B8E4-AB08C86CA955}"/>
              </a:ext>
            </a:extLst>
          </p:cNvPr>
          <p:cNvGraphicFramePr>
            <a:graphicFrameLocks noGrp="1"/>
          </p:cNvGraphicFramePr>
          <p:nvPr>
            <p:ph idx="1"/>
            <p:extLst>
              <p:ext uri="{D42A27DB-BD31-4B8C-83A1-F6EECF244321}">
                <p14:modId xmlns:p14="http://schemas.microsoft.com/office/powerpoint/2010/main" val="683477039"/>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466180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10.xml><?xml version="1.0" encoding="utf-8"?>
<a:theme xmlns:a="http://schemas.openxmlformats.org/drawingml/2006/main" name="2_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Template  -  Read-Only" id="{526A86A8-474F-4066-ADBA-B1557018539C}" vid="{523C57D6-B72E-43BA-91D8-34B85BB8608A}"/>
    </a:ext>
  </a:extLst>
</a:theme>
</file>

<file path=ppt/theme/theme11.xml><?xml version="1.0" encoding="utf-8"?>
<a:theme xmlns:a="http://schemas.openxmlformats.org/drawingml/2006/main" name="5-30711_TR22_TR-TV_Template">
  <a:themeElements>
    <a:clrScheme name="TR20 - Generic">
      <a:dk1>
        <a:srgbClr val="505050"/>
      </a:dk1>
      <a:lt1>
        <a:srgbClr val="FFFFFF"/>
      </a:lt1>
      <a:dk2>
        <a:srgbClr val="107C10"/>
      </a:dk2>
      <a:lt2>
        <a:srgbClr val="D2D2D2"/>
      </a:lt2>
      <a:accent1>
        <a:srgbClr val="0078D7"/>
      </a:accent1>
      <a:accent2>
        <a:srgbClr val="D83B01"/>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TR-TV_SB.potx" id="{B075DD5D-43CA-439C-A6A4-0076211EEC66}" vid="{FBB4B100-2992-4F41-86B4-98D2E2C03384}"/>
    </a:ext>
  </a:extLst>
</a:theme>
</file>

<file path=ppt/theme/theme12.xml><?xml version="1.0" encoding="utf-8"?>
<a:theme xmlns:a="http://schemas.openxmlformats.org/drawingml/2006/main" name="5-30711_TR22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BO_CT_Template.potx [Read-Only]" id="{DD734164-F40E-479F-8F17-ED891B49B3DF}" vid="{0722A4C9-FF71-4C4F-8FA9-C187D878E465}"/>
    </a:ext>
  </a:extLst>
</a:theme>
</file>

<file path=ppt/theme/theme13.xml><?xml version="1.0" encoding="utf-8"?>
<a:theme xmlns:a="http://schemas.openxmlformats.org/drawingml/2006/main" name="5-30606_TR20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EB8091BA-E5A9-40E6-8123-7943DC20CA20}" vid="{F1B13A7B-B70F-4D1A-AE6D-53912D2B6EC0}"/>
    </a:ext>
  </a:extLst>
</a:theme>
</file>

<file path=ppt/theme/theme14.xml><?xml version="1.0" encoding="utf-8"?>
<a:theme xmlns:a="http://schemas.openxmlformats.org/drawingml/2006/main" name="5-50033_TR23_TR-TV_Template">
  <a:themeElements>
    <a:clrScheme name="TR23 Green">
      <a:dk1>
        <a:srgbClr val="505050"/>
      </a:dk1>
      <a:lt1>
        <a:srgbClr val="FFFFFF"/>
      </a:lt1>
      <a:dk2>
        <a:srgbClr val="107C10"/>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TR-TV_Template.potx" id="{E3790FCE-675A-42BF-A1EA-0499436E8462}" vid="{8572D5E1-BD74-4F3F-BC05-30AEC196912B}"/>
    </a:ext>
  </a:extLst>
</a:theme>
</file>

<file path=ppt/theme/theme15.xml><?xml version="1.0" encoding="utf-8"?>
<a:theme xmlns:a="http://schemas.openxmlformats.org/drawingml/2006/main" name="C+E Readiness Template">
  <a:themeElements>
    <a:clrScheme name="Custom 7">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16.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17.xml><?xml version="1.0" encoding="utf-8"?>
<a:theme xmlns:a="http://schemas.openxmlformats.org/drawingml/2006/main" name="SQL Server 2017">
  <a:themeElements>
    <a:clrScheme name="Custom 41">
      <a:dk1>
        <a:srgbClr val="000000"/>
      </a:dk1>
      <a:lt1>
        <a:srgbClr val="FFFFFF"/>
      </a:lt1>
      <a:dk2>
        <a:srgbClr val="0078D7"/>
      </a:dk2>
      <a:lt2>
        <a:srgbClr val="D2D2D2"/>
      </a:lt2>
      <a:accent1>
        <a:srgbClr val="002050"/>
      </a:accent1>
      <a:accent2>
        <a:srgbClr val="00188F"/>
      </a:accent2>
      <a:accent3>
        <a:srgbClr val="32145A"/>
      </a:accent3>
      <a:accent4>
        <a:srgbClr val="107C10"/>
      </a:accent4>
      <a:accent5>
        <a:srgbClr val="00BCF2"/>
      </a:accent5>
      <a:accent6>
        <a:srgbClr val="FFB900"/>
      </a:accent6>
      <a:hlink>
        <a:srgbClr val="00BCF2"/>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EF6B031-E4E9-47DE-A00B-C70C6050C087}" vid="{E591D91A-0F30-468B-BAC3-EA073291F391}"/>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30664_S4_Q1_FY16_Light_Template">
  <a:themeElements>
    <a:clrScheme name="Custom 40">
      <a:dk1>
        <a:srgbClr val="00000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89CAF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EF6B031-E4E9-47DE-A00B-C70C6050C087}" vid="{E591D91A-0F30-468B-BAC3-EA073291F391}"/>
    </a:ext>
  </a:extLst>
</a:theme>
</file>

<file path=ppt/theme/theme3.xml><?xml version="1.0" encoding="utf-8"?>
<a:theme xmlns:a="http://schemas.openxmlformats.org/drawingml/2006/main" name="4_COLOR TEMPLATE">
  <a:themeElements>
    <a:clrScheme name="Azure Hybrid Cloud">
      <a:dk1>
        <a:srgbClr val="505050"/>
      </a:dk1>
      <a:lt1>
        <a:srgbClr val="FFFFFF"/>
      </a:lt1>
      <a:dk2>
        <a:srgbClr val="0078D7"/>
      </a:dk2>
      <a:lt2>
        <a:srgbClr val="F2F2F2"/>
      </a:lt2>
      <a:accent1>
        <a:srgbClr val="002050"/>
      </a:accent1>
      <a:accent2>
        <a:srgbClr val="00BCF2"/>
      </a:accent2>
      <a:accent3>
        <a:srgbClr val="BAD80A"/>
      </a:accent3>
      <a:accent4>
        <a:srgbClr val="0078D7"/>
      </a:accent4>
      <a:accent5>
        <a:srgbClr val="32145A"/>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4.xml><?xml version="1.0" encoding="utf-8"?>
<a:theme xmlns:a="http://schemas.openxmlformats.org/drawingml/2006/main" name="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5-50090_S4_Q3_FY17_Dark_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6.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7.xml><?xml version="1.0" encoding="utf-8"?>
<a:theme xmlns:a="http://schemas.openxmlformats.org/drawingml/2006/main" name="2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Template_FINAL" id="{3DF8EDD9-CA93-465D-9BFB-FBF37252E002}" vid="{063DD457-B81B-4221-BCFA-8D95F1B658BA}"/>
    </a:ext>
  </a:extLst>
</a:theme>
</file>

<file path=ppt/theme/theme8.xml><?xml version="1.0" encoding="utf-8"?>
<a:theme xmlns:a="http://schemas.openxmlformats.org/drawingml/2006/main" name="1_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ACE1F860-A7C5-4F6A-9659-FD362B4E8CFA}" vid="{D991A258-702D-4C0C-9E71-E30025EE76B0}"/>
    </a:ext>
  </a:extLst>
</a:theme>
</file>

<file path=ppt/theme/theme9.xml><?xml version="1.0" encoding="utf-8"?>
<a:theme xmlns:a="http://schemas.openxmlformats.org/drawingml/2006/main" name="1_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AA42B626-3B35-4046-A6BC-5096581850B0}" vid="{E330E15E-5B58-4840-8774-74C67741ACE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48C94330ABAF843BDF1C67EDDCEF8B4" ma:contentTypeVersion="10" ma:contentTypeDescription="Create a new document." ma:contentTypeScope="" ma:versionID="b721ff01a17eb53f0331450d5ff1efb8">
  <xsd:schema xmlns:xsd="http://www.w3.org/2001/XMLSchema" xmlns:xs="http://www.w3.org/2001/XMLSchema" xmlns:p="http://schemas.microsoft.com/office/2006/metadata/properties" xmlns:ns2="23ca674c-0843-4bfd-bb1c-cab3d37c87d5" xmlns:ns3="c6b0646f-3440-4ec9-aeeb-1051ef86fdea" targetNamespace="http://schemas.microsoft.com/office/2006/metadata/properties" ma:root="true" ma:fieldsID="d72c36e7516f081fca22302a2028292d" ns2:_="" ns3:_="">
    <xsd:import namespace="23ca674c-0843-4bfd-bb1c-cab3d37c87d5"/>
    <xsd:import namespace="c6b0646f-3440-4ec9-aeeb-1051ef86fde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3:SharedWithUsers" minOccurs="0"/>
                <xsd:element ref="ns3:SharedWithDetails" minOccurs="0"/>
                <xsd:element ref="ns3:LastSharedByUser" minOccurs="0"/>
                <xsd:element ref="ns3:LastSharedByTime"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ca674c-0843-4bfd-bb1c-cab3d37c87d5"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Location" ma:index="17" nillable="true" ma:displayName="MediaServic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6b0646f-3440-4ec9-aeeb-1051ef86fde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LastSharedByUser" ma:index="14" nillable="true" ma:displayName="Last Shared By User" ma:hidden="true" ma:internalName="LastSharedByUser" ma:readOnly="true">
      <xsd:simpleType>
        <xsd:restriction base="dms:Note"/>
      </xsd:simpleType>
    </xsd:element>
    <xsd:element name="LastSharedByTime" ma:index="15"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5F4486E-6E71-4EBC-BAF8-A1AC9143CE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ca674c-0843-4bfd-bb1c-cab3d37c87d5"/>
    <ds:schemaRef ds:uri="c6b0646f-3440-4ec9-aeeb-1051ef86fde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CD6959D-A0AF-4933-8C9C-F1E8E58E1378}">
  <ds:schemaRefs>
    <ds:schemaRef ds:uri="http://schemas.microsoft.com/sharepoint/v3/contenttype/forms"/>
  </ds:schemaRefs>
</ds:datastoreItem>
</file>

<file path=customXml/itemProps3.xml><?xml version="1.0" encoding="utf-8"?>
<ds:datastoreItem xmlns:ds="http://schemas.openxmlformats.org/officeDocument/2006/customXml" ds:itemID="{EB8C3D2F-9754-4CE0-8432-3CCF2BC8F5A2}">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6</TotalTime>
  <Words>7267</Words>
  <Application>Microsoft Macintosh PowerPoint</Application>
  <PresentationFormat>Widescreen</PresentationFormat>
  <Paragraphs>1112</Paragraphs>
  <Slides>86</Slides>
  <Notes>53</Notes>
  <HiddenSlides>0</HiddenSlides>
  <MMClips>0</MMClips>
  <ScaleCrop>false</ScaleCrop>
  <HeadingPairs>
    <vt:vector size="8" baseType="variant">
      <vt:variant>
        <vt:lpstr>Fonts Used</vt:lpstr>
      </vt:variant>
      <vt:variant>
        <vt:i4>14</vt:i4>
      </vt:variant>
      <vt:variant>
        <vt:lpstr>Theme</vt:lpstr>
      </vt:variant>
      <vt:variant>
        <vt:i4>18</vt:i4>
      </vt:variant>
      <vt:variant>
        <vt:lpstr>Embedded OLE Servers</vt:lpstr>
      </vt:variant>
      <vt:variant>
        <vt:i4>1</vt:i4>
      </vt:variant>
      <vt:variant>
        <vt:lpstr>Slide Titles</vt:lpstr>
      </vt:variant>
      <vt:variant>
        <vt:i4>86</vt:i4>
      </vt:variant>
    </vt:vector>
  </HeadingPairs>
  <TitlesOfParts>
    <vt:vector size="119" baseType="lpstr">
      <vt:lpstr>MS PGothic</vt:lpstr>
      <vt:lpstr>Arial</vt:lpstr>
      <vt:lpstr>Calibri</vt:lpstr>
      <vt:lpstr>Calibri Light</vt:lpstr>
      <vt:lpstr>Consolas</vt:lpstr>
      <vt:lpstr>Segoe Semibold</vt:lpstr>
      <vt:lpstr>Segoe UI</vt:lpstr>
      <vt:lpstr>Segoe UI Black</vt:lpstr>
      <vt:lpstr>Segoe UI Light</vt:lpstr>
      <vt:lpstr>Segoe UI Semibold</vt:lpstr>
      <vt:lpstr>Segoe UI Semilight</vt:lpstr>
      <vt:lpstr>Symbol</vt:lpstr>
      <vt:lpstr>Times New Roman</vt:lpstr>
      <vt:lpstr>Wingdings</vt:lpstr>
      <vt:lpstr>1_WHITE TEMPLATE</vt:lpstr>
      <vt:lpstr>5-30664_S4_Q1_FY16_Light_Template</vt:lpstr>
      <vt:lpstr>4_COLOR TEMPLATE</vt:lpstr>
      <vt:lpstr>MSVID_White_16x9_2012-08-18</vt:lpstr>
      <vt:lpstr>5-50090_S4_Q3_FY17_Dark_Template</vt:lpstr>
      <vt:lpstr>5-30721_Build_2016_Template_Light</vt:lpstr>
      <vt:lpstr>2_BUILD CHARCOAL BACKGROUND</vt:lpstr>
      <vt:lpstr>1_5-50091_TR24_BO_CT_Template</vt:lpstr>
      <vt:lpstr>1_5-50195_Microsoft_Build_Template</vt:lpstr>
      <vt:lpstr>2_5-50195_Microsoft_Build_Template</vt:lpstr>
      <vt:lpstr>5-30711_TR22_TR-TV_Template</vt:lpstr>
      <vt:lpstr>5-30711_TR22_BO_CT_Template</vt:lpstr>
      <vt:lpstr>5-30606_TR20_BO_CT_Template</vt:lpstr>
      <vt:lpstr>5-50033_TR23_TR-TV_Template</vt:lpstr>
      <vt:lpstr>C+E Readiness Template</vt:lpstr>
      <vt:lpstr>C+E Readiness Template</vt:lpstr>
      <vt:lpstr>SQL Server 2017</vt:lpstr>
      <vt:lpstr>Office Theme</vt:lpstr>
      <vt:lpstr>think-cell Slide</vt:lpstr>
      <vt:lpstr>Application Migration and Modernization Hackathon</vt:lpstr>
      <vt:lpstr>Abstract and learning objectives</vt:lpstr>
      <vt:lpstr>But before we begin….</vt:lpstr>
      <vt:lpstr>Challenge #0 Get your “on premise” environment ready….</vt:lpstr>
      <vt:lpstr>The Journey to the Cloud</vt:lpstr>
      <vt:lpstr>Challenge Scenario</vt:lpstr>
      <vt:lpstr>Challenge Goals</vt:lpstr>
      <vt:lpstr>CEO Ask….</vt:lpstr>
      <vt:lpstr>Challenges Overview </vt:lpstr>
      <vt:lpstr>Hack Ground Rules</vt:lpstr>
      <vt:lpstr>Application Services in the Cloud</vt:lpstr>
      <vt:lpstr>   Azure App Service</vt:lpstr>
      <vt:lpstr>Benefits of moving to App Service</vt:lpstr>
      <vt:lpstr>Migrate to App Service: Assess your migration</vt:lpstr>
      <vt:lpstr>Migrate to App Service:  via Visual Studio</vt:lpstr>
      <vt:lpstr>Migrate to App Service: via the Azure Portal</vt:lpstr>
      <vt:lpstr>Data migration tools and services make it easy to migrate your data to the cloud</vt:lpstr>
      <vt:lpstr>Challenge 1: Migrate to Azure PaaS</vt:lpstr>
      <vt:lpstr>Azure Dev Ops</vt:lpstr>
      <vt:lpstr>PowerPoint Presentation</vt:lpstr>
      <vt:lpstr>Native cross platform</vt:lpstr>
      <vt:lpstr>Challenge 2: Implementing DevOps Continuous Integration / Continuous Deployment (CI/CD)</vt:lpstr>
      <vt:lpstr>Application Insights</vt:lpstr>
      <vt:lpstr>Included in App Service: Application Insights</vt:lpstr>
      <vt:lpstr>Challenge 3: Detect, Diagnose, Monitor Application Performance with Azure App Insights</vt:lpstr>
      <vt:lpstr>Challenge 4: Optimize and Protect App</vt:lpstr>
      <vt:lpstr>Microsoft Data Services</vt:lpstr>
      <vt:lpstr>Microsoft Data Platform Landscape</vt:lpstr>
      <vt:lpstr>SQL Server Cloud Continuum</vt:lpstr>
      <vt:lpstr>Azure Relational Database Platform</vt:lpstr>
      <vt:lpstr>PowerPoint Presentation</vt:lpstr>
      <vt:lpstr>SQL Database Service</vt:lpstr>
      <vt:lpstr>Azure SQL Database</vt:lpstr>
      <vt:lpstr>Your database on autopilot Built-in admin and data protection</vt:lpstr>
      <vt:lpstr>Threat and anomaly detection Advanced security and compliance</vt:lpstr>
      <vt:lpstr>Self-tuning performance Database Advisor and adaptive query processing</vt:lpstr>
      <vt:lpstr>On-the-fly scale Scale up or down with minimal app downtime</vt:lpstr>
      <vt:lpstr>Resource and tenant administration  Elastic database pools </vt:lpstr>
      <vt:lpstr>Mission critical availability  High availability at global scale</vt:lpstr>
      <vt:lpstr>Challenge 5: Optimize &amp; Protect Data</vt:lpstr>
      <vt:lpstr>Azure Content Delivery Network (CDN) </vt:lpstr>
      <vt:lpstr>Why is Azure CDN Important?</vt:lpstr>
      <vt:lpstr>Why Azure alone might not be enough</vt:lpstr>
      <vt:lpstr>PowerPoint Presentation</vt:lpstr>
      <vt:lpstr>CDN accelerates any web content</vt:lpstr>
      <vt:lpstr>Challenge 6: Optimize web application performance implementing CDN</vt:lpstr>
      <vt:lpstr>Challenge 7: Optimize web application performance implementing CDN for static assets</vt:lpstr>
      <vt:lpstr>Caching – Redis Cache</vt:lpstr>
      <vt:lpstr>What is Redis?</vt:lpstr>
      <vt:lpstr>Redis features</vt:lpstr>
      <vt:lpstr>Why Redis ? </vt:lpstr>
      <vt:lpstr>Redis Runs In-Memory Task: Read 10,000 database records concurrently from a web app  </vt:lpstr>
      <vt:lpstr>How Does It Work</vt:lpstr>
      <vt:lpstr>Challenge 8: Increase Performance/Load with Redis Cache</vt:lpstr>
      <vt:lpstr>What is Azure Search?</vt:lpstr>
      <vt:lpstr>PowerPoint Presentation</vt:lpstr>
      <vt:lpstr>Azure Search Search-as-a-Service</vt:lpstr>
      <vt:lpstr>PowerPoint Presentation</vt:lpstr>
      <vt:lpstr>Cognitive Search Architecture</vt:lpstr>
      <vt:lpstr>Built-in Skills in multiple languages</vt:lpstr>
      <vt:lpstr>Challenge 9: Improve Quality and Performance of Search</vt:lpstr>
      <vt:lpstr>Serverless Patterns  with Azure Functions</vt:lpstr>
      <vt:lpstr>What is “Serverless”</vt:lpstr>
      <vt:lpstr>How is it different</vt:lpstr>
      <vt:lpstr>Benefits of “Serverless”</vt:lpstr>
      <vt:lpstr>Signs that a serverless pattern might be useful for a given scenari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gration</vt:lpstr>
      <vt:lpstr>Functions programming concepts</vt:lpstr>
      <vt:lpstr>PowerPoint Presentation</vt:lpstr>
      <vt:lpstr>Get started and reach out!</vt:lpstr>
      <vt:lpstr>Challenge 10: Accelerate development &amp; take advantage of serverless</vt:lpstr>
      <vt:lpstr>What is API Management?</vt:lpstr>
      <vt:lpstr>APIs and API economy</vt:lpstr>
      <vt:lpstr>Azure API Management</vt:lpstr>
      <vt:lpstr>PowerPoint Presentation</vt:lpstr>
      <vt:lpstr>Policies and expressions</vt:lpstr>
      <vt:lpstr>Microsoft Enterprise Integration</vt:lpstr>
      <vt:lpstr>Challenge 11: Monetize/Monitor data/services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lication Migration and Modernization Hackathon</dc:title>
  <dc:creator>Chris Kirby</dc:creator>
  <cp:lastModifiedBy>Chris Kirby</cp:lastModifiedBy>
  <cp:revision>1</cp:revision>
  <dcterms:created xsi:type="dcterms:W3CDTF">2018-10-16T18:17:57Z</dcterms:created>
  <dcterms:modified xsi:type="dcterms:W3CDTF">2018-10-16T18:24:23Z</dcterms:modified>
</cp:coreProperties>
</file>